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5" r:id="rId4"/>
  </p:sldMasterIdLst>
  <p:notesMasterIdLst>
    <p:notesMasterId r:id="rId38"/>
  </p:notesMasterIdLst>
  <p:handoutMasterIdLst>
    <p:handoutMasterId r:id="rId39"/>
  </p:handoutMasterIdLst>
  <p:sldIdLst>
    <p:sldId id="2129" r:id="rId5"/>
    <p:sldId id="2130" r:id="rId6"/>
    <p:sldId id="2256" r:id="rId7"/>
    <p:sldId id="2236" r:id="rId8"/>
    <p:sldId id="2237" r:id="rId9"/>
    <p:sldId id="2238" r:id="rId10"/>
    <p:sldId id="2239" r:id="rId11"/>
    <p:sldId id="2240" r:id="rId12"/>
    <p:sldId id="2241" r:id="rId13"/>
    <p:sldId id="2242" r:id="rId14"/>
    <p:sldId id="2248" r:id="rId15"/>
    <p:sldId id="2249" r:id="rId16"/>
    <p:sldId id="2250" r:id="rId17"/>
    <p:sldId id="2251" r:id="rId18"/>
    <p:sldId id="2252" r:id="rId19"/>
    <p:sldId id="2257" r:id="rId20"/>
    <p:sldId id="2253" r:id="rId21"/>
    <p:sldId id="2254" r:id="rId22"/>
    <p:sldId id="2245" r:id="rId23"/>
    <p:sldId id="2246" r:id="rId24"/>
    <p:sldId id="2247" r:id="rId25"/>
    <p:sldId id="2258" r:id="rId26"/>
    <p:sldId id="2223" r:id="rId27"/>
    <p:sldId id="2224" r:id="rId28"/>
    <p:sldId id="2259" r:id="rId29"/>
    <p:sldId id="2255" r:id="rId30"/>
    <p:sldId id="2260" r:id="rId31"/>
    <p:sldId id="2261" r:id="rId32"/>
    <p:sldId id="2262" r:id="rId33"/>
    <p:sldId id="2263" r:id="rId34"/>
    <p:sldId id="2264" r:id="rId35"/>
    <p:sldId id="2265" r:id="rId36"/>
    <p:sldId id="2170" r:id="rId37"/>
  </p:sldIdLst>
  <p:sldSz cx="9144000" cy="5143500" type="screen16x9"/>
  <p:notesSz cx="7315200" cy="96012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064" userDrawn="1">
          <p15:clr>
            <a:srgbClr val="A4A3A4"/>
          </p15:clr>
        </p15:guide>
        <p15:guide id="2" orient="horz" pos="348" userDrawn="1">
          <p15:clr>
            <a:srgbClr val="A4A3A4"/>
          </p15:clr>
        </p15:guide>
        <p15:guide id="3" orient="horz" pos="267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lbach, Chris (Cognizant)" initials="AC(" lastIdx="3" clrIdx="0">
    <p:extLst>
      <p:ext uri="{19B8F6BF-5375-455C-9EA6-DF929625EA0E}">
        <p15:presenceInfo xmlns:p15="http://schemas.microsoft.com/office/powerpoint/2012/main" userId="S-1-5-21-1178368992-402679808-390482200-2418934" providerId="AD"/>
      </p:ext>
    </p:extLst>
  </p:cmAuthor>
  <p:cmAuthor id="2" name="Holsinger, Sophie (Contractor)" initials="HS(" lastIdx="2" clrIdx="1">
    <p:extLst>
      <p:ext uri="{19B8F6BF-5375-455C-9EA6-DF929625EA0E}">
        <p15:presenceInfo xmlns:p15="http://schemas.microsoft.com/office/powerpoint/2012/main" userId="S::745207@cognizant.com::be76981d-d1d7-4226-a9d6-fb7fa2b10209" providerId="AD"/>
      </p:ext>
    </p:extLst>
  </p:cmAuthor>
  <p:cmAuthor id="3" name="Martin Rajan, Stephen Jesukanth (Cognizant)" initials="MRSJ(" lastIdx="1" clrIdx="2">
    <p:extLst>
      <p:ext uri="{19B8F6BF-5375-455C-9EA6-DF929625EA0E}">
        <p15:presenceInfo xmlns:p15="http://schemas.microsoft.com/office/powerpoint/2012/main" userId="S-1-5-21-1178368992-402679808-390482200-1175615" providerId="AD"/>
      </p:ext>
    </p:extLst>
  </p:cmAuthor>
  <p:cmAuthor id="4" name="Rasool Irfan" initials="M" lastIdx="1" clrIdx="3">
    <p:extLst>
      <p:ext uri="{19B8F6BF-5375-455C-9EA6-DF929625EA0E}">
        <p15:presenceInfo xmlns:p15="http://schemas.microsoft.com/office/powerpoint/2012/main" userId="Rasool Irf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FEC"/>
    <a:srgbClr val="1B8578"/>
    <a:srgbClr val="FFC000"/>
    <a:srgbClr val="00FF99"/>
    <a:srgbClr val="7030A0"/>
    <a:srgbClr val="84BBFF"/>
    <a:srgbClr val="00B050"/>
    <a:srgbClr val="257B35"/>
    <a:srgbClr val="404040"/>
    <a:srgbClr val="0033A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426" autoAdjust="0"/>
    <p:restoredTop sz="96879" autoAdjust="0"/>
  </p:normalViewPr>
  <p:slideViewPr>
    <p:cSldViewPr snapToGrid="0">
      <p:cViewPr varScale="1">
        <p:scale>
          <a:sx n="91" d="100"/>
          <a:sy n="91" d="100"/>
        </p:scale>
        <p:origin x="300" y="56"/>
      </p:cViewPr>
      <p:guideLst>
        <p:guide pos="2064"/>
        <p:guide orient="horz" pos="348"/>
        <p:guide orient="horz" pos="2676"/>
      </p:guideLst>
    </p:cSldViewPr>
  </p:slideViewPr>
  <p:outlineViewPr>
    <p:cViewPr>
      <p:scale>
        <a:sx n="33" d="100"/>
        <a:sy n="33" d="100"/>
      </p:scale>
      <p:origin x="0" y="-11296"/>
    </p:cViewPr>
  </p:outlin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121" d="100"/>
          <a:sy n="121" d="100"/>
        </p:scale>
        <p:origin x="3904" y="17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42893110564350378"/>
          <c:y val="3.4071221193050762E-2"/>
        </c:manualLayout>
      </c:layout>
      <c:overlay val="0"/>
    </c:title>
    <c:autoTitleDeleted val="0"/>
    <c:plotArea>
      <c:layout>
        <c:manualLayout>
          <c:layoutTarget val="inner"/>
          <c:xMode val="edge"/>
          <c:yMode val="edge"/>
          <c:x val="0.10339286891811768"/>
          <c:y val="3.4908783024268905E-2"/>
          <c:w val="0.82965984320004071"/>
          <c:h val="0.69714254215577165"/>
        </c:manualLayout>
      </c:layout>
      <c:barChart>
        <c:barDir val="col"/>
        <c:grouping val="clustered"/>
        <c:varyColors val="0"/>
        <c:ser>
          <c:idx val="0"/>
          <c:order val="0"/>
          <c:tx>
            <c:strRef>
              <c:f>Sheet1!$B$1</c:f>
              <c:strCache>
                <c:ptCount val="1"/>
                <c:pt idx="0">
                  <c:v>Premiums</c:v>
                </c:pt>
              </c:strCache>
            </c:strRef>
          </c:tx>
          <c:spPr>
            <a:solidFill>
              <a:schemeClr val="bg1">
                <a:lumMod val="50000"/>
              </a:schemeClr>
            </a:solidFill>
          </c:spPr>
          <c:invertIfNegative val="0"/>
          <c:dLbls>
            <c:dLbl>
              <c:idx val="0"/>
              <c:layout>
                <c:manualLayout>
                  <c:x val="-3.5335718540707166E-3"/>
                  <c:y val="0.45460935332822167"/>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1DD8-49BE-A4DC-CBA24ECD2156}"/>
                </c:ext>
              </c:extLst>
            </c:dLbl>
            <c:dLbl>
              <c:idx val="1"/>
              <c:layout>
                <c:manualLayout>
                  <c:x val="-6.4781402297675786E-17"/>
                  <c:y val="0.45066943242711038"/>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1DD8-49BE-A4DC-CBA24ECD2156}"/>
                </c:ext>
              </c:extLst>
            </c:dLbl>
            <c:dLbl>
              <c:idx val="2"/>
              <c:layout>
                <c:manualLayout>
                  <c:x val="-3.5335718540707166E-3"/>
                  <c:y val="0.3807536768749768"/>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1DD8-49BE-A4DC-CBA24ECD2156}"/>
                </c:ext>
              </c:extLst>
            </c:dLbl>
            <c:dLbl>
              <c:idx val="4"/>
              <c:layout>
                <c:manualLayout>
                  <c:x val="-1.2956280459535157E-16"/>
                  <c:y val="0.26576250051643385"/>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1DD8-49BE-A4DC-CBA24ECD2156}"/>
                </c:ext>
              </c:extLst>
            </c:dLbl>
            <c:numFmt formatCode="#,##0.0" sourceLinked="0"/>
            <c:spPr>
              <a:noFill/>
              <a:ln>
                <a:noFill/>
              </a:ln>
              <a:effectLst/>
            </c:spPr>
            <c:txPr>
              <a:bodyPr rot="-5400000" vert="horz"/>
              <a:lstStyle/>
              <a:p>
                <a:pPr>
                  <a:defRPr sz="8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A$2:$A$6</c:f>
              <c:numCache>
                <c:formatCode>General</c:formatCode>
                <c:ptCount val="5"/>
                <c:pt idx="0">
                  <c:v>2014</c:v>
                </c:pt>
                <c:pt idx="1">
                  <c:v>2015</c:v>
                </c:pt>
                <c:pt idx="2">
                  <c:v>2016</c:v>
                </c:pt>
                <c:pt idx="3">
                  <c:v>2017</c:v>
                </c:pt>
                <c:pt idx="4">
                  <c:v>2018</c:v>
                </c:pt>
              </c:numCache>
            </c:numRef>
          </c:cat>
          <c:val>
            <c:numRef>
              <c:f>Sheet1!$B$2:$B$6</c:f>
              <c:numCache>
                <c:formatCode>#,##0</c:formatCode>
                <c:ptCount val="5"/>
                <c:pt idx="0">
                  <c:v>1500</c:v>
                </c:pt>
                <c:pt idx="1">
                  <c:v>1679</c:v>
                </c:pt>
                <c:pt idx="2">
                  <c:v>1222</c:v>
                </c:pt>
                <c:pt idx="3">
                  <c:v>863</c:v>
                </c:pt>
                <c:pt idx="4">
                  <c:v>900</c:v>
                </c:pt>
              </c:numCache>
            </c:numRef>
          </c:val>
          <c:extLst>
            <c:ext xmlns:c16="http://schemas.microsoft.com/office/drawing/2014/chart" uri="{C3380CC4-5D6E-409C-BE32-E72D297353CC}">
              <c16:uniqueId val="{00000004-1DD8-49BE-A4DC-CBA24ECD2156}"/>
            </c:ext>
          </c:extLst>
        </c:ser>
        <c:dLbls>
          <c:showLegendKey val="0"/>
          <c:showVal val="0"/>
          <c:showCatName val="0"/>
          <c:showSerName val="0"/>
          <c:showPercent val="0"/>
          <c:showBubbleSize val="0"/>
        </c:dLbls>
        <c:gapWidth val="50"/>
        <c:axId val="606737504"/>
        <c:axId val="606738064"/>
      </c:barChart>
      <c:catAx>
        <c:axId val="606737504"/>
        <c:scaling>
          <c:orientation val="minMax"/>
        </c:scaling>
        <c:delete val="0"/>
        <c:axPos val="b"/>
        <c:numFmt formatCode="General" sourceLinked="1"/>
        <c:majorTickMark val="none"/>
        <c:minorTickMark val="none"/>
        <c:tickLblPos val="low"/>
        <c:spPr>
          <a:ln>
            <a:solidFill>
              <a:schemeClr val="bg2">
                <a:lumMod val="50000"/>
              </a:schemeClr>
            </a:solidFill>
          </a:ln>
        </c:spPr>
        <c:crossAx val="606738064"/>
        <c:crosses val="autoZero"/>
        <c:auto val="1"/>
        <c:lblAlgn val="ctr"/>
        <c:lblOffset val="250"/>
        <c:noMultiLvlLbl val="0"/>
      </c:catAx>
      <c:valAx>
        <c:axId val="606738064"/>
        <c:scaling>
          <c:orientation val="minMax"/>
        </c:scaling>
        <c:delete val="0"/>
        <c:axPos val="l"/>
        <c:numFmt formatCode="0" sourceLinked="0"/>
        <c:majorTickMark val="none"/>
        <c:minorTickMark val="none"/>
        <c:tickLblPos val="nextTo"/>
        <c:spPr>
          <a:ln>
            <a:solidFill>
              <a:schemeClr val="bg2">
                <a:lumMod val="50000"/>
              </a:schemeClr>
            </a:solidFill>
          </a:ln>
        </c:spPr>
        <c:crossAx val="606737504"/>
        <c:crosses val="autoZero"/>
        <c:crossBetween val="between"/>
      </c:valAx>
    </c:plotArea>
    <c:legend>
      <c:legendPos val="b"/>
      <c:layout>
        <c:manualLayout>
          <c:xMode val="edge"/>
          <c:yMode val="edge"/>
          <c:x val="5.984942089249027E-2"/>
          <c:y val="0.91159524775989187"/>
          <c:w val="0.88859296518371589"/>
          <c:h val="6.6421194301931774E-2"/>
        </c:manualLayout>
      </c:layout>
      <c:overlay val="0"/>
    </c:legend>
    <c:plotVisOnly val="1"/>
    <c:dispBlanksAs val="gap"/>
    <c:showDLblsOverMax val="0"/>
  </c:chart>
  <c:spPr>
    <a:ln>
      <a:noFill/>
    </a:ln>
  </c:spPr>
  <c:txPr>
    <a:bodyPr/>
    <a:lstStyle/>
    <a:p>
      <a:pPr>
        <a:defRPr sz="900">
          <a:solidFill>
            <a:schemeClr val="tx2"/>
          </a:solidFill>
          <a:latin typeface="+mn-lt"/>
          <a:cs typeface="Arial" panose="020B0604020202020204" pitchFamily="34" charset="0"/>
        </a:defRPr>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latin typeface="Arial Regular"/>
            </a:endParaRPr>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965504ED-601C-9F41-A2BB-A84CD9D575D8}" type="datetimeFigureOut">
              <a:rPr lang="en-US" smtClean="0">
                <a:latin typeface="Arial Regular"/>
              </a:rPr>
              <a:t>5/19/2020</a:t>
            </a:fld>
            <a:endParaRPr lang="en-US" dirty="0">
              <a:latin typeface="Arial Regular"/>
            </a:endParaRPr>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dirty="0">
              <a:latin typeface="Arial Regular"/>
            </a:endParaRP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9185347-B0FD-EF4B-941B-A92CF753AB4E}" type="slidenum">
              <a:rPr lang="en-US" smtClean="0">
                <a:latin typeface="Arial Regular"/>
              </a:rPr>
              <a:t>‹#›</a:t>
            </a:fld>
            <a:endParaRPr lang="en-US" dirty="0">
              <a:latin typeface="Arial Regular"/>
            </a:endParaRPr>
          </a:p>
        </p:txBody>
      </p:sp>
    </p:spTree>
    <p:extLst>
      <p:ext uri="{BB962C8B-B14F-4D97-AF65-F5344CB8AC3E}">
        <p14:creationId xmlns:p14="http://schemas.microsoft.com/office/powerpoint/2010/main" val="408168340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b="0" i="0">
                <a:latin typeface="Arial Regular"/>
              </a:defRPr>
            </a:lvl1pPr>
          </a:lstStyle>
          <a:p>
            <a:endParaRPr lang="en-US"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b="0" i="0">
                <a:latin typeface="Arial Regular"/>
              </a:defRPr>
            </a:lvl1pPr>
          </a:lstStyle>
          <a:p>
            <a:fld id="{C4499A69-9E3B-7C4C-9E3F-523F007A72CB}" type="datetimeFigureOut">
              <a:rPr lang="en-US" smtClean="0"/>
              <a:pPr/>
              <a:t>5/19/2020</a:t>
            </a:fld>
            <a:endParaRPr lang="en-US" dirty="0"/>
          </a:p>
        </p:txBody>
      </p:sp>
      <p:sp>
        <p:nvSpPr>
          <p:cNvPr id="4" name="Slide Image Placeholder 3"/>
          <p:cNvSpPr>
            <a:spLocks noGrp="1" noRot="1" noChangeAspect="1"/>
          </p:cNvSpPr>
          <p:nvPr>
            <p:ph type="sldImg" idx="2"/>
          </p:nvPr>
        </p:nvSpPr>
        <p:spPr>
          <a:xfrm>
            <a:off x="457200" y="720725"/>
            <a:ext cx="6400800" cy="3600450"/>
          </a:xfrm>
          <a:prstGeom prst="rect">
            <a:avLst/>
          </a:prstGeom>
          <a:noFill/>
          <a:ln w="12700">
            <a:solidFill>
              <a:prstClr val="black"/>
            </a:solidFill>
          </a:ln>
        </p:spPr>
        <p:txBody>
          <a:bodyPr vert="horz" lIns="96661" tIns="48331" rIns="96661" bIns="48331" rtlCol="0" anchor="ctr"/>
          <a:lstStyle/>
          <a:p>
            <a:endParaRPr lang="en-US"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b="0" i="0">
                <a:latin typeface="Arial Regular"/>
              </a:defRPr>
            </a:lvl1pPr>
          </a:lstStyle>
          <a:p>
            <a:endParaRPr lang="en-US"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b="0" i="0">
                <a:latin typeface="Arial Regular"/>
              </a:defRPr>
            </a:lvl1pPr>
          </a:lstStyle>
          <a:p>
            <a:fld id="{B02D6E04-3A2F-4B48-A297-666578EDF1B3}" type="slidenum">
              <a:rPr lang="en-US" smtClean="0"/>
              <a:pPr/>
              <a:t>‹#›</a:t>
            </a:fld>
            <a:endParaRPr lang="en-US" dirty="0"/>
          </a:p>
        </p:txBody>
      </p:sp>
    </p:spTree>
    <p:extLst>
      <p:ext uri="{BB962C8B-B14F-4D97-AF65-F5344CB8AC3E}">
        <p14:creationId xmlns:p14="http://schemas.microsoft.com/office/powerpoint/2010/main" val="2869914029"/>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b="0" i="0" kern="1200">
        <a:solidFill>
          <a:schemeClr val="tx1"/>
        </a:solidFill>
        <a:latin typeface="Arial Regular"/>
        <a:ea typeface="+mn-ea"/>
        <a:cs typeface="+mn-cs"/>
      </a:defRPr>
    </a:lvl1pPr>
    <a:lvl2pPr marL="457200" algn="l" defTabSz="457200" rtl="0" eaLnBrk="1" latinLnBrk="0" hangingPunct="1">
      <a:defRPr sz="1200" b="0" i="0" kern="1200">
        <a:solidFill>
          <a:schemeClr val="tx1"/>
        </a:solidFill>
        <a:latin typeface="Arial Regular"/>
        <a:ea typeface="+mn-ea"/>
        <a:cs typeface="+mn-cs"/>
      </a:defRPr>
    </a:lvl2pPr>
    <a:lvl3pPr marL="914400" algn="l" defTabSz="457200" rtl="0" eaLnBrk="1" latinLnBrk="0" hangingPunct="1">
      <a:defRPr sz="1200" b="0" i="0" kern="1200">
        <a:solidFill>
          <a:schemeClr val="tx1"/>
        </a:solidFill>
        <a:latin typeface="Arial Regular"/>
        <a:ea typeface="+mn-ea"/>
        <a:cs typeface="+mn-cs"/>
      </a:defRPr>
    </a:lvl3pPr>
    <a:lvl4pPr marL="1371600" algn="l" defTabSz="457200" rtl="0" eaLnBrk="1" latinLnBrk="0" hangingPunct="1">
      <a:defRPr sz="1200" b="0" i="0" kern="1200">
        <a:solidFill>
          <a:schemeClr val="tx1"/>
        </a:solidFill>
        <a:latin typeface="Arial Regular"/>
        <a:ea typeface="+mn-ea"/>
        <a:cs typeface="+mn-cs"/>
      </a:defRPr>
    </a:lvl4pPr>
    <a:lvl5pPr marL="1828800" algn="l" defTabSz="457200" rtl="0" eaLnBrk="1" latinLnBrk="0" hangingPunct="1">
      <a:defRPr sz="1200" b="0" i="0" kern="1200">
        <a:solidFill>
          <a:schemeClr val="tx1"/>
        </a:solidFill>
        <a:latin typeface="Arial Regular"/>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lue Gradient Single Line Title">
    <p:bg>
      <p:bgPr>
        <a:gradFill flip="none" rotWithShape="1">
          <a:gsLst>
            <a:gs pos="66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D8B3D69-F8A0-AC46-95E9-28C9598D741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15" name="Title 1">
            <a:extLst>
              <a:ext uri="{FF2B5EF4-FFF2-40B4-BE49-F238E27FC236}">
                <a16:creationId xmlns:a16="http://schemas.microsoft.com/office/drawing/2014/main" id="{8C9A73B0-41F0-3E40-BF14-EF98B7C21B95}"/>
              </a:ext>
            </a:extLst>
          </p:cNvPr>
          <p:cNvSpPr>
            <a:spLocks noGrp="1"/>
          </p:cNvSpPr>
          <p:nvPr>
            <p:ph type="ctrTitle" hasCustomPrompt="1"/>
          </p:nvPr>
        </p:nvSpPr>
        <p:spPr bwMode="white">
          <a:xfrm>
            <a:off x="414163" y="1838266"/>
            <a:ext cx="8348837" cy="553998"/>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Single Line Title Here</a:t>
            </a:r>
          </a:p>
        </p:txBody>
      </p:sp>
      <p:cxnSp>
        <p:nvCxnSpPr>
          <p:cNvPr id="16" name="Straight Connector 15">
            <a:extLst>
              <a:ext uri="{FF2B5EF4-FFF2-40B4-BE49-F238E27FC236}">
                <a16:creationId xmlns:a16="http://schemas.microsoft.com/office/drawing/2014/main" id="{87F69DE6-F71B-D441-B24C-6419119B82AF}"/>
              </a:ext>
            </a:extLst>
          </p:cNvPr>
          <p:cNvCxnSpPr>
            <a:cxnSpLocks/>
          </p:cNvCxnSpPr>
          <p:nvPr userDrawn="1"/>
        </p:nvCxnSpPr>
        <p:spPr bwMode="white">
          <a:xfrm flipH="1">
            <a:off x="392897" y="3087443"/>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7" name="Text Placeholder 6">
            <a:extLst>
              <a:ext uri="{FF2B5EF4-FFF2-40B4-BE49-F238E27FC236}">
                <a16:creationId xmlns:a16="http://schemas.microsoft.com/office/drawing/2014/main" id="{1A4128D7-098B-8241-92AE-59B6A868927D}"/>
              </a:ext>
            </a:extLst>
          </p:cNvPr>
          <p:cNvSpPr>
            <a:spLocks noGrp="1"/>
          </p:cNvSpPr>
          <p:nvPr>
            <p:ph type="body" sz="quarter" idx="12" hasCustomPrompt="1"/>
          </p:nvPr>
        </p:nvSpPr>
        <p:spPr>
          <a:xfrm>
            <a:off x="414163" y="2452017"/>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8" name="Text Placeholder 20">
            <a:extLst>
              <a:ext uri="{FF2B5EF4-FFF2-40B4-BE49-F238E27FC236}">
                <a16:creationId xmlns:a16="http://schemas.microsoft.com/office/drawing/2014/main" id="{7D1D9E52-6107-5745-AA3C-C0D5178E14A6}"/>
              </a:ext>
            </a:extLst>
          </p:cNvPr>
          <p:cNvSpPr>
            <a:spLocks noGrp="1"/>
          </p:cNvSpPr>
          <p:nvPr>
            <p:ph type="body" sz="quarter" idx="13" hasCustomPrompt="1"/>
          </p:nvPr>
        </p:nvSpPr>
        <p:spPr>
          <a:xfrm>
            <a:off x="414163" y="3206949"/>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9" name="Footer Placeholder 8">
            <a:extLst>
              <a:ext uri="{FF2B5EF4-FFF2-40B4-BE49-F238E27FC236}">
                <a16:creationId xmlns:a16="http://schemas.microsoft.com/office/drawing/2014/main" id="{9E44F99F-797E-744C-A7A6-9DCFEF3F8DD3}"/>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a:t>© 2020 Cognizant</a:t>
            </a:r>
            <a:endParaRPr lang="en-US" dirty="0"/>
          </a:p>
        </p:txBody>
      </p:sp>
    </p:spTree>
    <p:extLst>
      <p:ext uri="{BB962C8B-B14F-4D97-AF65-F5344CB8AC3E}">
        <p14:creationId xmlns:p14="http://schemas.microsoft.com/office/powerpoint/2010/main" val="4158993569"/>
      </p:ext>
    </p:extLst>
  </p:cSld>
  <p:clrMapOvr>
    <a:masterClrMapping/>
  </p:clrMapOvr>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lue Graphic Single Line Title">
    <p:spTree>
      <p:nvGrpSpPr>
        <p:cNvPr id="1" name=""/>
        <p:cNvGrpSpPr/>
        <p:nvPr/>
      </p:nvGrpSpPr>
      <p:grpSpPr>
        <a:xfrm>
          <a:off x="0" y="0"/>
          <a:ext cx="0" cy="0"/>
          <a:chOff x="0" y="0"/>
          <a:chExt cx="0" cy="0"/>
        </a:xfrm>
      </p:grpSpPr>
      <p:pic>
        <p:nvPicPr>
          <p:cNvPr id="11" name="Picture 10" descr="A picture containing animal&#10;&#10;Description automatically generated">
            <a:extLst>
              <a:ext uri="{FF2B5EF4-FFF2-40B4-BE49-F238E27FC236}">
                <a16:creationId xmlns:a16="http://schemas.microsoft.com/office/drawing/2014/main" id="{760CAE04-42F6-C14D-AB3C-36D5B9FC9F6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396"/>
            <a:ext cx="9144000" cy="5146293"/>
          </a:xfrm>
          <a:prstGeom prst="rect">
            <a:avLst/>
          </a:prstGeom>
        </p:spPr>
      </p:pic>
      <p:sp>
        <p:nvSpPr>
          <p:cNvPr id="2" name="Rectangle 1">
            <a:extLst>
              <a:ext uri="{FF2B5EF4-FFF2-40B4-BE49-F238E27FC236}">
                <a16:creationId xmlns:a16="http://schemas.microsoft.com/office/drawing/2014/main" id="{C638E5F3-76E5-C042-960D-4D3913A473AF}"/>
              </a:ext>
            </a:extLst>
          </p:cNvPr>
          <p:cNvSpPr/>
          <p:nvPr userDrawn="1"/>
        </p:nvSpPr>
        <p:spPr>
          <a:xfrm>
            <a:off x="0" y="0"/>
            <a:ext cx="9144000" cy="5143500"/>
          </a:xfrm>
          <a:prstGeom prst="rect">
            <a:avLst/>
          </a:prstGeom>
          <a:gradFill>
            <a:gsLst>
              <a:gs pos="59000">
                <a:schemeClr val="accent1">
                  <a:alpha val="96000"/>
                </a:schemeClr>
              </a:gs>
              <a:gs pos="25000">
                <a:schemeClr val="accent3">
                  <a:alpha val="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Picture 20">
            <a:extLst>
              <a:ext uri="{FF2B5EF4-FFF2-40B4-BE49-F238E27FC236}">
                <a16:creationId xmlns:a16="http://schemas.microsoft.com/office/drawing/2014/main" id="{C6865CC2-EE1E-B44E-B46B-DD0F56CB7AB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10" name="Title 1">
            <a:extLst>
              <a:ext uri="{FF2B5EF4-FFF2-40B4-BE49-F238E27FC236}">
                <a16:creationId xmlns:a16="http://schemas.microsoft.com/office/drawing/2014/main" id="{331B7D22-96C5-D744-AB8D-7183965D3C96}"/>
              </a:ext>
            </a:extLst>
          </p:cNvPr>
          <p:cNvSpPr>
            <a:spLocks noGrp="1"/>
          </p:cNvSpPr>
          <p:nvPr>
            <p:ph type="ctrTitle" hasCustomPrompt="1"/>
          </p:nvPr>
        </p:nvSpPr>
        <p:spPr bwMode="white">
          <a:xfrm>
            <a:off x="414163" y="1838266"/>
            <a:ext cx="8348837" cy="553998"/>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Single Line Title Here</a:t>
            </a:r>
          </a:p>
        </p:txBody>
      </p:sp>
      <p:cxnSp>
        <p:nvCxnSpPr>
          <p:cNvPr id="12" name="Straight Connector 11">
            <a:extLst>
              <a:ext uri="{FF2B5EF4-FFF2-40B4-BE49-F238E27FC236}">
                <a16:creationId xmlns:a16="http://schemas.microsoft.com/office/drawing/2014/main" id="{EB22C6B8-2F6B-8947-A2A3-ED9E370F7326}"/>
              </a:ext>
            </a:extLst>
          </p:cNvPr>
          <p:cNvCxnSpPr>
            <a:cxnSpLocks/>
          </p:cNvCxnSpPr>
          <p:nvPr userDrawn="1"/>
        </p:nvCxnSpPr>
        <p:spPr bwMode="white">
          <a:xfrm flipH="1">
            <a:off x="392897" y="3087443"/>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9BC14C20-C069-724B-A635-DC1F5CCF8035}"/>
              </a:ext>
            </a:extLst>
          </p:cNvPr>
          <p:cNvSpPr>
            <a:spLocks noGrp="1"/>
          </p:cNvSpPr>
          <p:nvPr>
            <p:ph type="body" sz="quarter" idx="12" hasCustomPrompt="1"/>
          </p:nvPr>
        </p:nvSpPr>
        <p:spPr>
          <a:xfrm>
            <a:off x="414163" y="2452017"/>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4" name="Text Placeholder 20">
            <a:extLst>
              <a:ext uri="{FF2B5EF4-FFF2-40B4-BE49-F238E27FC236}">
                <a16:creationId xmlns:a16="http://schemas.microsoft.com/office/drawing/2014/main" id="{939A0796-1F5C-6743-A1D0-11A18609B23E}"/>
              </a:ext>
            </a:extLst>
          </p:cNvPr>
          <p:cNvSpPr>
            <a:spLocks noGrp="1"/>
          </p:cNvSpPr>
          <p:nvPr>
            <p:ph type="body" sz="quarter" idx="13" hasCustomPrompt="1"/>
          </p:nvPr>
        </p:nvSpPr>
        <p:spPr>
          <a:xfrm>
            <a:off x="414163" y="3206949"/>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5" name="Footer Placeholder 8">
            <a:extLst>
              <a:ext uri="{FF2B5EF4-FFF2-40B4-BE49-F238E27FC236}">
                <a16:creationId xmlns:a16="http://schemas.microsoft.com/office/drawing/2014/main" id="{0B9CC9C9-D971-3041-A81C-BA9E6B2248B4}"/>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a:t>© 2020 Cognizant</a:t>
            </a:r>
            <a:endParaRPr lang="en-US" dirty="0"/>
          </a:p>
        </p:txBody>
      </p:sp>
    </p:spTree>
    <p:extLst>
      <p:ext uri="{BB962C8B-B14F-4D97-AF65-F5344CB8AC3E}">
        <p14:creationId xmlns:p14="http://schemas.microsoft.com/office/powerpoint/2010/main" val="12680748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Layout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15AA5-70F9-0B45-8147-A29FFDCDCFC0}"/>
              </a:ext>
            </a:extLst>
          </p:cNvPr>
          <p:cNvSpPr>
            <a:spLocks noGrp="1"/>
          </p:cNvSpPr>
          <p:nvPr>
            <p:ph type="title"/>
          </p:nvPr>
        </p:nvSpPr>
        <p:spPr>
          <a:xfrm>
            <a:off x="384048" y="274321"/>
            <a:ext cx="8417052" cy="621030"/>
          </a:xfrm>
        </p:spPr>
        <p:txBody>
          <a:bodyPr wrap="none">
            <a:noAutofit/>
          </a:bodyPr>
          <a:lstStyle>
            <a:lvl1pPr>
              <a:defRPr sz="2400"/>
            </a:lvl1pPr>
          </a:lstStyle>
          <a:p>
            <a:r>
              <a:rPr lang="en-US" dirty="0"/>
              <a:t>Click to edit Master title style</a:t>
            </a:r>
          </a:p>
        </p:txBody>
      </p:sp>
      <p:sp>
        <p:nvSpPr>
          <p:cNvPr id="10" name="Content Placeholder 9">
            <a:extLst>
              <a:ext uri="{FF2B5EF4-FFF2-40B4-BE49-F238E27FC236}">
                <a16:creationId xmlns:a16="http://schemas.microsoft.com/office/drawing/2014/main" id="{C938DDBF-3A18-FC4C-9433-65FAE5265169}"/>
              </a:ext>
            </a:extLst>
          </p:cNvPr>
          <p:cNvSpPr>
            <a:spLocks noGrp="1"/>
          </p:cNvSpPr>
          <p:nvPr>
            <p:ph sz="quarter" idx="13"/>
          </p:nvPr>
        </p:nvSpPr>
        <p:spPr>
          <a:xfrm>
            <a:off x="381000" y="1162050"/>
            <a:ext cx="8417052" cy="33115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8">
            <a:extLst>
              <a:ext uri="{FF2B5EF4-FFF2-40B4-BE49-F238E27FC236}">
                <a16:creationId xmlns:a16="http://schemas.microsoft.com/office/drawing/2014/main" id="{8C855543-B1C8-B946-B60D-4C04E3A855E7}"/>
              </a:ext>
            </a:extLst>
          </p:cNvPr>
          <p:cNvSpPr>
            <a:spLocks noGrp="1"/>
          </p:cNvSpPr>
          <p:nvPr>
            <p:ph type="ftr" sz="quarter" idx="3"/>
          </p:nvPr>
        </p:nvSpPr>
        <p:spPr>
          <a:xfrm>
            <a:off x="660386" y="4695411"/>
            <a:ext cx="4572000" cy="187241"/>
          </a:xfrm>
          <a:prstGeom prst="rect">
            <a:avLst/>
          </a:prstGeom>
        </p:spPr>
        <p:txBody>
          <a:bodyPr vert="horz" lIns="0" tIns="0" rIns="0" bIns="0" rtlCol="0" anchor="b" anchorCtr="0"/>
          <a:lstStyle>
            <a:lvl1pPr algn="l">
              <a:defRPr sz="800">
                <a:solidFill>
                  <a:schemeClr val="tx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dirty="0"/>
              <a:t>© 2020 Cognizant</a:t>
            </a:r>
          </a:p>
        </p:txBody>
      </p:sp>
      <p:sp>
        <p:nvSpPr>
          <p:cNvPr id="9" name="Slide Number Placeholder 9">
            <a:extLst>
              <a:ext uri="{FF2B5EF4-FFF2-40B4-BE49-F238E27FC236}">
                <a16:creationId xmlns:a16="http://schemas.microsoft.com/office/drawing/2014/main" id="{740C1DF7-CAE5-ED40-B1C3-1FB1E0F74AA4}"/>
              </a:ext>
            </a:extLst>
          </p:cNvPr>
          <p:cNvSpPr>
            <a:spLocks noGrp="1"/>
          </p:cNvSpPr>
          <p:nvPr>
            <p:ph type="sldNum" sz="quarter" idx="4"/>
          </p:nvPr>
        </p:nvSpPr>
        <p:spPr>
          <a:xfrm>
            <a:off x="385100" y="4759541"/>
            <a:ext cx="228600" cy="123111"/>
          </a:xfrm>
          <a:prstGeom prst="rect">
            <a:avLst/>
          </a:prstGeom>
        </p:spPr>
        <p:txBody>
          <a:bodyPr vert="horz" lIns="0" tIns="0" rIns="0" bIns="0" rtlCol="0" anchor="b" anchorCtr="0">
            <a:spAutoFit/>
          </a:bodyPr>
          <a:lstStyle>
            <a:lvl1pPr algn="l">
              <a:defRPr sz="800" b="1">
                <a:solidFill>
                  <a:schemeClr val="tx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11626703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EB04ED9-CA93-3142-B4EC-8ED6F34D15E9}"/>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42" y="0"/>
            <a:ext cx="9143716" cy="5143500"/>
          </a:xfrm>
          <a:prstGeom prst="rect">
            <a:avLst/>
          </a:prstGeom>
        </p:spPr>
      </p:pic>
      <p:pic>
        <p:nvPicPr>
          <p:cNvPr id="7" name="Picture 6">
            <a:extLst>
              <a:ext uri="{FF2B5EF4-FFF2-40B4-BE49-F238E27FC236}">
                <a16:creationId xmlns:a16="http://schemas.microsoft.com/office/drawing/2014/main" id="{CB22C87B-454A-5546-8346-08CD9A74FE5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7734300" y="4693634"/>
            <a:ext cx="1029775" cy="221011"/>
          </a:xfrm>
          <a:prstGeom prst="rect">
            <a:avLst/>
          </a:prstGeom>
        </p:spPr>
      </p:pic>
      <p:sp>
        <p:nvSpPr>
          <p:cNvPr id="14" name="Title 1">
            <a:extLst>
              <a:ext uri="{FF2B5EF4-FFF2-40B4-BE49-F238E27FC236}">
                <a16:creationId xmlns:a16="http://schemas.microsoft.com/office/drawing/2014/main" id="{63D68EAA-2800-2247-8628-ED1190D00080}"/>
              </a:ext>
            </a:extLst>
          </p:cNvPr>
          <p:cNvSpPr>
            <a:spLocks noGrp="1"/>
          </p:cNvSpPr>
          <p:nvPr>
            <p:ph type="ctrTitle" hasCustomPrompt="1"/>
          </p:nvPr>
        </p:nvSpPr>
        <p:spPr bwMode="white">
          <a:xfrm>
            <a:off x="821799" y="1709543"/>
            <a:ext cx="6731000" cy="1218795"/>
          </a:xfrm>
        </p:spPr>
        <p:txBody>
          <a:bodyPr wrap="square" anchor="t" anchorCtr="0">
            <a:spAutoFit/>
          </a:bodyPr>
          <a:lstStyle>
            <a:lvl1pPr algn="l">
              <a:defRPr sz="4400" b="0" i="0">
                <a:solidFill>
                  <a:schemeClr val="bg1"/>
                </a:solidFill>
                <a:latin typeface="Arial" panose="020B0604020202020204" pitchFamily="34" charset="0"/>
                <a:cs typeface="Arial" panose="020B0604020202020204" pitchFamily="34" charset="0"/>
              </a:defRPr>
            </a:lvl1pPr>
          </a:lstStyle>
          <a:p>
            <a:pPr lvl="0"/>
            <a:r>
              <a:rPr lang="en-US" dirty="0"/>
              <a:t>Divider Title Goes Here</a:t>
            </a:r>
            <a:br>
              <a:rPr lang="en-US" dirty="0"/>
            </a:br>
            <a:r>
              <a:rPr lang="en-US" dirty="0"/>
              <a:t>Divider Title Goes Here</a:t>
            </a:r>
          </a:p>
        </p:txBody>
      </p:sp>
      <p:cxnSp>
        <p:nvCxnSpPr>
          <p:cNvPr id="15" name="Straight Connector 14">
            <a:extLst>
              <a:ext uri="{FF2B5EF4-FFF2-40B4-BE49-F238E27FC236}">
                <a16:creationId xmlns:a16="http://schemas.microsoft.com/office/drawing/2014/main" id="{F15D67C1-E5E2-DA4B-B9CA-F4770AE7E188}"/>
              </a:ext>
            </a:extLst>
          </p:cNvPr>
          <p:cNvCxnSpPr>
            <a:cxnSpLocks/>
          </p:cNvCxnSpPr>
          <p:nvPr userDrawn="1"/>
        </p:nvCxnSpPr>
        <p:spPr>
          <a:xfrm>
            <a:off x="821799" y="1507618"/>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97202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pic>
        <p:nvPicPr>
          <p:cNvPr id="4" name="Picture 3" descr="A picture containing animal, bed, computer, sitting&#10;&#10;Description automatically generated">
            <a:extLst>
              <a:ext uri="{FF2B5EF4-FFF2-40B4-BE49-F238E27FC236}">
                <a16:creationId xmlns:a16="http://schemas.microsoft.com/office/drawing/2014/main" id="{A1136187-A332-734A-993D-A693410B0D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a:solidFill>
            <a:srgbClr val="0A0C40"/>
          </a:solidFill>
        </p:spPr>
      </p:pic>
      <p:pic>
        <p:nvPicPr>
          <p:cNvPr id="8" name="Picture 7">
            <a:extLst>
              <a:ext uri="{FF2B5EF4-FFF2-40B4-BE49-F238E27FC236}">
                <a16:creationId xmlns:a16="http://schemas.microsoft.com/office/drawing/2014/main" id="{FF0D9D5E-4D2E-CA4D-AD11-F48A3C1E8D6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7734300" y="4693634"/>
            <a:ext cx="1029775" cy="221011"/>
          </a:xfrm>
          <a:prstGeom prst="rect">
            <a:avLst/>
          </a:prstGeom>
        </p:spPr>
      </p:pic>
      <p:sp>
        <p:nvSpPr>
          <p:cNvPr id="7" name="Title 1">
            <a:extLst>
              <a:ext uri="{FF2B5EF4-FFF2-40B4-BE49-F238E27FC236}">
                <a16:creationId xmlns:a16="http://schemas.microsoft.com/office/drawing/2014/main" id="{AAAFF55D-6D18-1F44-A693-04D09308D0F7}"/>
              </a:ext>
            </a:extLst>
          </p:cNvPr>
          <p:cNvSpPr>
            <a:spLocks noGrp="1"/>
          </p:cNvSpPr>
          <p:nvPr>
            <p:ph type="ctrTitle" hasCustomPrompt="1"/>
          </p:nvPr>
        </p:nvSpPr>
        <p:spPr bwMode="white">
          <a:xfrm>
            <a:off x="821799" y="1709543"/>
            <a:ext cx="6731000" cy="1218795"/>
          </a:xfrm>
        </p:spPr>
        <p:txBody>
          <a:bodyPr wrap="square" anchor="t" anchorCtr="0">
            <a:spAutoFit/>
          </a:bodyPr>
          <a:lstStyle>
            <a:lvl1pPr algn="l">
              <a:defRPr sz="4400" b="0" i="0">
                <a:solidFill>
                  <a:schemeClr val="bg1"/>
                </a:solidFill>
                <a:latin typeface="Arial" panose="020B0604020202020204" pitchFamily="34" charset="0"/>
                <a:cs typeface="Arial" panose="020B0604020202020204" pitchFamily="34" charset="0"/>
              </a:defRPr>
            </a:lvl1pPr>
          </a:lstStyle>
          <a:p>
            <a:pPr lvl="0"/>
            <a:r>
              <a:rPr lang="en-US" dirty="0"/>
              <a:t>Divider Title Goes Here</a:t>
            </a:r>
            <a:br>
              <a:rPr lang="en-US" dirty="0"/>
            </a:br>
            <a:r>
              <a:rPr lang="en-US" dirty="0"/>
              <a:t>Divider Title Goes Here</a:t>
            </a:r>
          </a:p>
        </p:txBody>
      </p:sp>
      <p:cxnSp>
        <p:nvCxnSpPr>
          <p:cNvPr id="9" name="Straight Connector 8">
            <a:extLst>
              <a:ext uri="{FF2B5EF4-FFF2-40B4-BE49-F238E27FC236}">
                <a16:creationId xmlns:a16="http://schemas.microsoft.com/office/drawing/2014/main" id="{1F7C825B-B4FF-FF40-84F6-962714FC3A43}"/>
              </a:ext>
            </a:extLst>
          </p:cNvPr>
          <p:cNvCxnSpPr>
            <a:cxnSpLocks/>
          </p:cNvCxnSpPr>
          <p:nvPr userDrawn="1"/>
        </p:nvCxnSpPr>
        <p:spPr>
          <a:xfrm>
            <a:off x="821799" y="1507618"/>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29895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hank You">
    <p:bg>
      <p:bgPr>
        <a:gradFill flip="none" rotWithShape="1">
          <a:gsLst>
            <a:gs pos="65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E91B630-BDD5-844D-9F57-E0F3DA8DE29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10377" y="4353665"/>
            <a:ext cx="2024449" cy="430734"/>
          </a:xfrm>
          <a:prstGeom prst="rect">
            <a:avLst/>
          </a:prstGeom>
        </p:spPr>
      </p:pic>
      <p:sp>
        <p:nvSpPr>
          <p:cNvPr id="11" name="Text Placeholder 4">
            <a:extLst>
              <a:ext uri="{FF2B5EF4-FFF2-40B4-BE49-F238E27FC236}">
                <a16:creationId xmlns:a16="http://schemas.microsoft.com/office/drawing/2014/main" id="{6A3ADC0F-2A6D-1D4D-9FFF-853C5C76A3A6}"/>
              </a:ext>
            </a:extLst>
          </p:cNvPr>
          <p:cNvSpPr>
            <a:spLocks noGrp="1"/>
          </p:cNvSpPr>
          <p:nvPr>
            <p:ph type="body" sz="quarter" idx="11" hasCustomPrompt="1"/>
          </p:nvPr>
        </p:nvSpPr>
        <p:spPr>
          <a:xfrm>
            <a:off x="391633" y="2704549"/>
            <a:ext cx="8207508" cy="369332"/>
          </a:xfrm>
        </p:spPr>
        <p:txBody>
          <a:bodyPr wrap="square" anchor="ctr" anchorCtr="0">
            <a:spAutoFit/>
          </a:bodyPr>
          <a:lstStyle>
            <a:lvl1pPr algn="l">
              <a:defRPr sz="2400" b="0">
                <a:solidFill>
                  <a:schemeClr val="bg2"/>
                </a:solidFill>
              </a:defRPr>
            </a:lvl1pPr>
          </a:lstStyle>
          <a:p>
            <a:pPr lvl="0"/>
            <a:r>
              <a:rPr lang="en-US" dirty="0"/>
              <a:t>Name and Title</a:t>
            </a:r>
          </a:p>
        </p:txBody>
      </p:sp>
      <p:sp>
        <p:nvSpPr>
          <p:cNvPr id="13" name="Text Placeholder 4">
            <a:extLst>
              <a:ext uri="{FF2B5EF4-FFF2-40B4-BE49-F238E27FC236}">
                <a16:creationId xmlns:a16="http://schemas.microsoft.com/office/drawing/2014/main" id="{DA314B20-F29A-994E-87AC-493EFA67EDCF}"/>
              </a:ext>
            </a:extLst>
          </p:cNvPr>
          <p:cNvSpPr>
            <a:spLocks noGrp="1"/>
          </p:cNvSpPr>
          <p:nvPr>
            <p:ph type="body" sz="quarter" idx="12" hasCustomPrompt="1"/>
          </p:nvPr>
        </p:nvSpPr>
        <p:spPr>
          <a:xfrm>
            <a:off x="391633" y="3147679"/>
            <a:ext cx="8207508" cy="276999"/>
          </a:xfrm>
        </p:spPr>
        <p:txBody>
          <a:bodyPr wrap="square" anchor="ctr" anchorCtr="0">
            <a:spAutoFit/>
          </a:bodyPr>
          <a:lstStyle>
            <a:lvl1pPr algn="l">
              <a:defRPr sz="1800" b="0">
                <a:solidFill>
                  <a:schemeClr val="accent4"/>
                </a:solidFill>
              </a:defRPr>
            </a:lvl1pPr>
          </a:lstStyle>
          <a:p>
            <a:pPr lvl="0"/>
            <a:r>
              <a:rPr lang="en-US" dirty="0"/>
              <a:t>Contact Information</a:t>
            </a:r>
          </a:p>
        </p:txBody>
      </p:sp>
      <p:sp>
        <p:nvSpPr>
          <p:cNvPr id="14" name="Title 1">
            <a:extLst>
              <a:ext uri="{FF2B5EF4-FFF2-40B4-BE49-F238E27FC236}">
                <a16:creationId xmlns:a16="http://schemas.microsoft.com/office/drawing/2014/main" id="{91C36AF9-C75C-DE4A-84C5-590522758FD4}"/>
              </a:ext>
            </a:extLst>
          </p:cNvPr>
          <p:cNvSpPr>
            <a:spLocks noGrp="1"/>
          </p:cNvSpPr>
          <p:nvPr>
            <p:ph type="ctrTitle" hasCustomPrompt="1"/>
          </p:nvPr>
        </p:nvSpPr>
        <p:spPr bwMode="white">
          <a:xfrm>
            <a:off x="391633" y="1665888"/>
            <a:ext cx="4069701" cy="830997"/>
          </a:xfrm>
        </p:spPr>
        <p:txBody>
          <a:bodyPr wrap="square" anchor="t" anchorCtr="0">
            <a:spAutoFit/>
          </a:bodyPr>
          <a:lstStyle>
            <a:lvl1pPr algn="l">
              <a:defRPr sz="6000" b="0" i="0">
                <a:solidFill>
                  <a:schemeClr val="bg2"/>
                </a:solidFill>
                <a:latin typeface="Arial" panose="020B0604020202020204" pitchFamily="34" charset="0"/>
                <a:cs typeface="Arial" panose="020B0604020202020204" pitchFamily="34" charset="0"/>
              </a:defRPr>
            </a:lvl1pPr>
          </a:lstStyle>
          <a:p>
            <a:pPr lvl="0"/>
            <a:r>
              <a:rPr lang="en-US" dirty="0"/>
              <a:t>Thank You</a:t>
            </a:r>
          </a:p>
        </p:txBody>
      </p:sp>
      <p:cxnSp>
        <p:nvCxnSpPr>
          <p:cNvPr id="15" name="Straight Connector 14">
            <a:extLst>
              <a:ext uri="{FF2B5EF4-FFF2-40B4-BE49-F238E27FC236}">
                <a16:creationId xmlns:a16="http://schemas.microsoft.com/office/drawing/2014/main" id="{A022DC92-B704-DC40-B83E-0F108277F590}"/>
              </a:ext>
            </a:extLst>
          </p:cNvPr>
          <p:cNvCxnSpPr>
            <a:cxnSpLocks/>
          </p:cNvCxnSpPr>
          <p:nvPr userDrawn="1"/>
        </p:nvCxnSpPr>
        <p:spPr>
          <a:xfrm>
            <a:off x="391633" y="2543316"/>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700330" y="4169969"/>
            <a:ext cx="2062670" cy="497941"/>
          </a:xfrm>
          <a:prstGeom prst="rect">
            <a:avLst/>
          </a:prstGeom>
          <a:effectLst>
            <a:outerShdw blurRad="50800" dist="25400" dir="2400000" algn="tl" rotWithShape="0">
              <a:prstClr val="black">
                <a:alpha val="45000"/>
              </a:prstClr>
            </a:outerShdw>
          </a:effectLst>
        </p:spPr>
      </p:pic>
    </p:spTree>
    <p:extLst>
      <p:ext uri="{BB962C8B-B14F-4D97-AF65-F5344CB8AC3E}">
        <p14:creationId xmlns:p14="http://schemas.microsoft.com/office/powerpoint/2010/main" val="36180163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E48B4-F4ED-4DA0-AE35-136D1133A4FD}"/>
              </a:ext>
            </a:extLst>
          </p:cNvPr>
          <p:cNvSpPr>
            <a:spLocks noGrp="1"/>
          </p:cNvSpPr>
          <p:nvPr>
            <p:ph type="title"/>
          </p:nvPr>
        </p:nvSpPr>
        <p:spPr/>
        <p:txBody>
          <a:bodyPr/>
          <a:lstStyle/>
          <a:p>
            <a:r>
              <a:rPr lang="en-US" smtClean="0"/>
              <a:t>Click to edit Master title style</a:t>
            </a:r>
            <a:endParaRPr lang="en-US"/>
          </a:p>
        </p:txBody>
      </p:sp>
      <p:sp>
        <p:nvSpPr>
          <p:cNvPr id="6" name="Date Placeholder 5">
            <a:extLst>
              <a:ext uri="{FF2B5EF4-FFF2-40B4-BE49-F238E27FC236}">
                <a16:creationId xmlns:a16="http://schemas.microsoft.com/office/drawing/2014/main" id="{D65DC66A-BAB7-4355-9ED4-0CA743C61960}"/>
              </a:ext>
            </a:extLst>
          </p:cNvPr>
          <p:cNvSpPr>
            <a:spLocks noGrp="1"/>
          </p:cNvSpPr>
          <p:nvPr>
            <p:ph type="dt" sz="half" idx="10"/>
          </p:nvPr>
        </p:nvSpPr>
        <p:spPr/>
        <p:txBody>
          <a:bodyPr/>
          <a:lstStyle/>
          <a:p>
            <a:fld id="{C21EB3F5-C089-44CA-932C-7658472181EA}" type="datetime1">
              <a:rPr lang="en-US" smtClean="0"/>
              <a:t>5/19/2020</a:t>
            </a:fld>
            <a:endParaRPr lang="en-US" dirty="0"/>
          </a:p>
        </p:txBody>
      </p:sp>
      <p:sp>
        <p:nvSpPr>
          <p:cNvPr id="7" name="Footer Placeholder 6">
            <a:extLst>
              <a:ext uri="{FF2B5EF4-FFF2-40B4-BE49-F238E27FC236}">
                <a16:creationId xmlns:a16="http://schemas.microsoft.com/office/drawing/2014/main" id="{A7E53A72-E1D6-4692-98EC-6243614B7573}"/>
              </a:ext>
            </a:extLst>
          </p:cNvPr>
          <p:cNvSpPr>
            <a:spLocks noGrp="1"/>
          </p:cNvSpPr>
          <p:nvPr>
            <p:ph type="ftr" sz="quarter" idx="11"/>
          </p:nvPr>
        </p:nvSpPr>
        <p:spPr/>
        <p:txBody>
          <a:bodyPr/>
          <a:lstStyle/>
          <a:p>
            <a:r>
              <a:rPr lang="en-US"/>
              <a:t>© 2018 Cognizant</a:t>
            </a:r>
            <a:endParaRPr lang="en-US" dirty="0"/>
          </a:p>
        </p:txBody>
      </p:sp>
      <p:sp>
        <p:nvSpPr>
          <p:cNvPr id="8" name="Slide Number Placeholder 7">
            <a:extLst>
              <a:ext uri="{FF2B5EF4-FFF2-40B4-BE49-F238E27FC236}">
                <a16:creationId xmlns:a16="http://schemas.microsoft.com/office/drawing/2014/main" id="{6049D8E0-67E3-4D7E-847C-95CFA1F84B8F}"/>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3" name="Straight Connector 12">
            <a:extLst>
              <a:ext uri="{FF2B5EF4-FFF2-40B4-BE49-F238E27FC236}">
                <a16:creationId xmlns:a16="http://schemas.microsoft.com/office/drawing/2014/main" id="{1A92D58F-27A5-440B-BDDC-757CC6F1E323}"/>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8498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9947BC-C135-4AF9-80CB-7EC49EFAF7EE}"/>
              </a:ext>
            </a:extLst>
          </p:cNvPr>
          <p:cNvSpPr>
            <a:spLocks noGrp="1"/>
          </p:cNvSpPr>
          <p:nvPr>
            <p:ph type="title"/>
          </p:nvPr>
        </p:nvSpPr>
        <p:spPr>
          <a:xfrm>
            <a:off x="384048" y="274320"/>
            <a:ext cx="8378952" cy="621030"/>
          </a:xfrm>
          <a:prstGeom prst="rect">
            <a:avLst/>
          </a:prstGeom>
        </p:spPr>
        <p:txBody>
          <a:bodyPr vert="horz" lIns="0" tIns="0" rIns="0" bIns="0" rtlCol="0" anchor="t" anchorCtr="0">
            <a:noAutofit/>
          </a:bodyPr>
          <a:lstStyle/>
          <a:p>
            <a:r>
              <a:rPr lang="en-US" dirty="0"/>
              <a:t>Click to edit Master title style</a:t>
            </a:r>
            <a:br>
              <a:rPr lang="en-US" dirty="0"/>
            </a:br>
            <a:endParaRPr lang="en-US" dirty="0"/>
          </a:p>
        </p:txBody>
      </p:sp>
      <p:sp>
        <p:nvSpPr>
          <p:cNvPr id="3" name="Text Placeholder 2">
            <a:extLst>
              <a:ext uri="{FF2B5EF4-FFF2-40B4-BE49-F238E27FC236}">
                <a16:creationId xmlns:a16="http://schemas.microsoft.com/office/drawing/2014/main" id="{178C3981-E47F-4B94-A56D-1A8F4B3B3863}"/>
              </a:ext>
            </a:extLst>
          </p:cNvPr>
          <p:cNvSpPr>
            <a:spLocks noGrp="1"/>
          </p:cNvSpPr>
          <p:nvPr>
            <p:ph type="body" idx="1"/>
          </p:nvPr>
        </p:nvSpPr>
        <p:spPr>
          <a:xfrm>
            <a:off x="384048" y="1093304"/>
            <a:ext cx="8378952" cy="3379305"/>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8">
            <a:extLst>
              <a:ext uri="{FF2B5EF4-FFF2-40B4-BE49-F238E27FC236}">
                <a16:creationId xmlns:a16="http://schemas.microsoft.com/office/drawing/2014/main" id="{AB68013F-8083-4869-B1B8-42E270F30CB8}"/>
              </a:ext>
            </a:extLst>
          </p:cNvPr>
          <p:cNvSpPr>
            <a:spLocks noGrp="1"/>
          </p:cNvSpPr>
          <p:nvPr>
            <p:ph type="ftr" sz="quarter" idx="3"/>
          </p:nvPr>
        </p:nvSpPr>
        <p:spPr>
          <a:xfrm>
            <a:off x="660386" y="4695411"/>
            <a:ext cx="4572000" cy="187241"/>
          </a:xfrm>
          <a:prstGeom prst="rect">
            <a:avLst/>
          </a:prstGeom>
        </p:spPr>
        <p:txBody>
          <a:bodyPr vert="horz" lIns="0" tIns="0" rIns="0" bIns="0" rtlCol="0" anchor="b" anchorCtr="0"/>
          <a:lstStyle>
            <a:lvl1pPr algn="l">
              <a:defRPr sz="800">
                <a:solidFill>
                  <a:schemeClr val="tx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dirty="0"/>
              <a:t>© 2020 Cognizant</a:t>
            </a:r>
          </a:p>
        </p:txBody>
      </p:sp>
      <p:sp>
        <p:nvSpPr>
          <p:cNvPr id="10" name="Slide Number Placeholder 9">
            <a:extLst>
              <a:ext uri="{FF2B5EF4-FFF2-40B4-BE49-F238E27FC236}">
                <a16:creationId xmlns:a16="http://schemas.microsoft.com/office/drawing/2014/main" id="{42EC2F54-FE71-419F-B3E9-62861D2AA5EE}"/>
              </a:ext>
            </a:extLst>
          </p:cNvPr>
          <p:cNvSpPr>
            <a:spLocks noGrp="1"/>
          </p:cNvSpPr>
          <p:nvPr>
            <p:ph type="sldNum" sz="quarter" idx="4"/>
          </p:nvPr>
        </p:nvSpPr>
        <p:spPr>
          <a:xfrm>
            <a:off x="385100" y="4759541"/>
            <a:ext cx="228600" cy="123111"/>
          </a:xfrm>
          <a:prstGeom prst="rect">
            <a:avLst/>
          </a:prstGeom>
        </p:spPr>
        <p:txBody>
          <a:bodyPr vert="horz" lIns="0" tIns="0" rIns="0" bIns="0" rtlCol="0" anchor="b" anchorCtr="0">
            <a:spAutoFit/>
          </a:bodyPr>
          <a:lstStyle>
            <a:lvl1pPr algn="l">
              <a:defRPr sz="800" b="1">
                <a:solidFill>
                  <a:schemeClr val="tx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pic>
        <p:nvPicPr>
          <p:cNvPr id="7" name="Picture 6">
            <a:extLst>
              <a:ext uri="{FF2B5EF4-FFF2-40B4-BE49-F238E27FC236}">
                <a16:creationId xmlns:a16="http://schemas.microsoft.com/office/drawing/2014/main" id="{A75C5FF7-2DC4-5442-BB0D-C1FF3C41C2F6}"/>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bwMode="black">
          <a:xfrm>
            <a:off x="6538812" y="4743450"/>
            <a:ext cx="1039031" cy="222997"/>
          </a:xfrm>
          <a:prstGeom prst="rect">
            <a:avLst/>
          </a:prstGeom>
        </p:spPr>
      </p:pic>
      <p:cxnSp>
        <p:nvCxnSpPr>
          <p:cNvPr id="5" name="Straight Connector 4"/>
          <p:cNvCxnSpPr/>
          <p:nvPr userDrawn="1"/>
        </p:nvCxnSpPr>
        <p:spPr>
          <a:xfrm>
            <a:off x="7636211" y="4684485"/>
            <a:ext cx="0" cy="27322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671259" y="4657254"/>
            <a:ext cx="1091741" cy="263553"/>
          </a:xfrm>
          <a:prstGeom prst="rect">
            <a:avLst/>
          </a:prstGeom>
          <a:effectLst>
            <a:outerShdw blurRad="50800" dist="25400" dir="2400000" algn="tl" rotWithShape="0">
              <a:prstClr val="black">
                <a:alpha val="45000"/>
              </a:prstClr>
            </a:outerShdw>
          </a:effectLst>
        </p:spPr>
      </p:pic>
    </p:spTree>
    <p:extLst>
      <p:ext uri="{BB962C8B-B14F-4D97-AF65-F5344CB8AC3E}">
        <p14:creationId xmlns:p14="http://schemas.microsoft.com/office/powerpoint/2010/main" val="1868651982"/>
      </p:ext>
    </p:extLst>
  </p:cSld>
  <p:clrMap bg1="lt1" tx1="dk1" bg2="lt2" tx2="dk2" accent1="accent1" accent2="accent2" accent3="accent3" accent4="accent4" accent5="accent5" accent6="accent6" hlink="hlink" folHlink="folHlink"/>
  <p:sldLayoutIdLst>
    <p:sldLayoutId id="2147484134" r:id="rId1"/>
    <p:sldLayoutId id="2147484183" r:id="rId2"/>
    <p:sldLayoutId id="2147484119" r:id="rId3"/>
    <p:sldLayoutId id="2147484100" r:id="rId4"/>
    <p:sldLayoutId id="2147484126" r:id="rId5"/>
    <p:sldLayoutId id="2147484200" r:id="rId6"/>
    <p:sldLayoutId id="2147484285" r:id="rId7"/>
  </p:sldLayoutIdLst>
  <p:hf hdr="0" dt="0"/>
  <p:txStyles>
    <p:titleStyle>
      <a:lvl1pPr algn="l" defTabSz="914378" rtl="0" eaLnBrk="1" latinLnBrk="0" hangingPunct="1">
        <a:lnSpc>
          <a:spcPct val="90000"/>
        </a:lnSpc>
        <a:spcBef>
          <a:spcPct val="0"/>
        </a:spcBef>
        <a:buNone/>
        <a:defRPr sz="2400" b="1"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378" rtl="0" eaLnBrk="1" latinLnBrk="0" hangingPunct="1">
        <a:lnSpc>
          <a:spcPct val="100000"/>
        </a:lnSpc>
        <a:spcBef>
          <a:spcPts val="600"/>
        </a:spcBef>
        <a:buFont typeface="Arial" panose="020B0604020202020204" pitchFamily="34" charset="0"/>
        <a:buNone/>
        <a:defRPr sz="1800" kern="1200">
          <a:solidFill>
            <a:schemeClr val="tx2">
              <a:lumMod val="75000"/>
              <a:lumOff val="25000"/>
            </a:schemeClr>
          </a:solidFill>
          <a:latin typeface="Arial" panose="020B0604020202020204" pitchFamily="34" charset="0"/>
          <a:ea typeface="+mn-ea"/>
          <a:cs typeface="Arial" panose="020B0604020202020204" pitchFamily="34" charset="0"/>
        </a:defRPr>
      </a:lvl1pPr>
      <a:lvl2pPr marL="171450" indent="-171450" algn="l" defTabSz="914378" rtl="0" eaLnBrk="1" latinLnBrk="0" hangingPunct="1">
        <a:lnSpc>
          <a:spcPct val="100000"/>
        </a:lnSpc>
        <a:spcBef>
          <a:spcPts val="600"/>
        </a:spcBef>
        <a:buClrTx/>
        <a:buSzPct val="125000"/>
        <a:buFont typeface="Arial" panose="020B0604020202020204" pitchFamily="34" charset="0"/>
        <a:buChar char="•"/>
        <a:tabLst/>
        <a:defRPr sz="1400" kern="1200">
          <a:solidFill>
            <a:schemeClr val="tx2">
              <a:lumMod val="75000"/>
              <a:lumOff val="25000"/>
            </a:schemeClr>
          </a:solidFill>
          <a:latin typeface="Arial" panose="020B0604020202020204" pitchFamily="34" charset="0"/>
          <a:ea typeface="+mn-ea"/>
          <a:cs typeface="Arial" panose="020B0604020202020204" pitchFamily="34" charset="0"/>
        </a:defRPr>
      </a:lvl2pPr>
      <a:lvl3pPr marL="400050" indent="-171450" algn="l" defTabSz="914378" rtl="0" eaLnBrk="1" latinLnBrk="0" hangingPunct="1">
        <a:lnSpc>
          <a:spcPct val="100000"/>
        </a:lnSpc>
        <a:spcBef>
          <a:spcPts val="400"/>
        </a:spcBef>
        <a:buClrTx/>
        <a:buSzPct val="100000"/>
        <a:buFont typeface="Arial" panose="020B0604020202020204" pitchFamily="34" charset="0"/>
        <a:buChar char="–"/>
        <a:tabLst/>
        <a:defRPr sz="1200" kern="1200">
          <a:solidFill>
            <a:schemeClr val="tx2">
              <a:lumMod val="75000"/>
              <a:lumOff val="25000"/>
            </a:schemeClr>
          </a:solidFill>
          <a:latin typeface="Arial" panose="020B0604020202020204" pitchFamily="34" charset="0"/>
          <a:ea typeface="+mn-ea"/>
          <a:cs typeface="Arial" panose="020B0604020202020204" pitchFamily="34" charset="0"/>
        </a:defRPr>
      </a:lvl3pPr>
      <a:lvl4pPr marL="573088" indent="-115888" algn="l" defTabSz="914378" rtl="0" eaLnBrk="1" latinLnBrk="0" hangingPunct="1">
        <a:lnSpc>
          <a:spcPct val="100000"/>
        </a:lnSpc>
        <a:spcBef>
          <a:spcPts val="400"/>
        </a:spcBef>
        <a:buClrTx/>
        <a:buSzPct val="100000"/>
        <a:buFont typeface="Arial" panose="020B0604020202020204" pitchFamily="34" charset="0"/>
        <a:buChar char="•"/>
        <a:tabLst/>
        <a:defRPr sz="1050" kern="1200">
          <a:solidFill>
            <a:schemeClr val="tx2">
              <a:lumMod val="75000"/>
              <a:lumOff val="25000"/>
            </a:schemeClr>
          </a:solidFill>
          <a:latin typeface="Arial" panose="020B0604020202020204" pitchFamily="34" charset="0"/>
          <a:ea typeface="+mn-ea"/>
          <a:cs typeface="Arial" panose="020B0604020202020204" pitchFamily="34" charset="0"/>
        </a:defRPr>
      </a:lvl4pPr>
      <a:lvl5pPr marL="858838" indent="-173038" algn="l" defTabSz="914378" rtl="0" eaLnBrk="1" latinLnBrk="0" hangingPunct="1">
        <a:lnSpc>
          <a:spcPct val="100000"/>
        </a:lnSpc>
        <a:spcBef>
          <a:spcPts val="400"/>
        </a:spcBef>
        <a:buClrTx/>
        <a:buSzPct val="100000"/>
        <a:buFont typeface="Arial" panose="020B0604020202020204" pitchFamily="34" charset="0"/>
        <a:buChar char="–"/>
        <a:tabLst/>
        <a:defRPr sz="900" kern="1200">
          <a:solidFill>
            <a:schemeClr val="tx2">
              <a:lumMod val="75000"/>
              <a:lumOff val="25000"/>
            </a:schemeClr>
          </a:solidFill>
          <a:latin typeface="Arial" panose="020B0604020202020204" pitchFamily="34" charset="0"/>
          <a:ea typeface="+mn-ea"/>
          <a:cs typeface="Arial" panose="020B0604020202020204" pitchFamily="34" charset="0"/>
        </a:defRPr>
      </a:lvl5pPr>
      <a:lvl6pPr marL="1142972" indent="-228594" algn="l" defTabSz="914378" rtl="0" eaLnBrk="1" latinLnBrk="0" hangingPunct="1">
        <a:lnSpc>
          <a:spcPct val="100000"/>
        </a:lnSpc>
        <a:spcBef>
          <a:spcPts val="400"/>
        </a:spcBef>
        <a:buClr>
          <a:schemeClr val="accent2"/>
        </a:buClr>
        <a:buSzPct val="125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6pPr>
      <a:lvl7pPr marL="1371566" indent="-228594" algn="l" defTabSz="914378" rtl="0" eaLnBrk="1" latinLnBrk="0" hangingPunct="1">
        <a:lnSpc>
          <a:spcPct val="100000"/>
        </a:lnSpc>
        <a:spcBef>
          <a:spcPts val="400"/>
        </a:spcBef>
        <a:buClr>
          <a:schemeClr val="accent2"/>
        </a:buClr>
        <a:buSzPct val="90000"/>
        <a:buFont typeface="Arial" panose="020B0604020202020204" pitchFamily="34" charset="0"/>
        <a:buChar char="–"/>
        <a:defRPr sz="1600" kern="1200">
          <a:solidFill>
            <a:schemeClr val="tx2"/>
          </a:solidFill>
          <a:latin typeface="+mn-lt"/>
          <a:ea typeface="+mn-ea"/>
          <a:cs typeface="+mn-cs"/>
        </a:defRPr>
      </a:lvl7pPr>
      <a:lvl8pPr marL="1600160" indent="-228594" algn="l" defTabSz="914378" rtl="0" eaLnBrk="1" latinLnBrk="0" hangingPunct="1">
        <a:lnSpc>
          <a:spcPct val="100000"/>
        </a:lnSpc>
        <a:spcBef>
          <a:spcPts val="400"/>
        </a:spcBef>
        <a:buClr>
          <a:schemeClr val="accent2"/>
        </a:buClr>
        <a:buSzPct val="90000"/>
        <a:buFont typeface="Courier New" panose="02070309020205020404" pitchFamily="49" charset="0"/>
        <a:buChar char="o"/>
        <a:defRPr sz="1600" kern="1200">
          <a:solidFill>
            <a:schemeClr val="tx2"/>
          </a:solidFill>
          <a:latin typeface="+mn-lt"/>
          <a:ea typeface="+mn-ea"/>
          <a:cs typeface="+mn-cs"/>
        </a:defRPr>
      </a:lvl8pPr>
      <a:lvl9pPr marL="1600160" indent="-228594" algn="l" defTabSz="914378" rtl="0" eaLnBrk="1" latinLnBrk="0" hangingPunct="1">
        <a:lnSpc>
          <a:spcPct val="100000"/>
        </a:lnSpc>
        <a:spcBef>
          <a:spcPts val="400"/>
        </a:spcBef>
        <a:buClrTx/>
        <a:buSzPct val="90000"/>
        <a:buFont typeface="Courier New" panose="02070309020205020404" pitchFamily="49" charset="0"/>
        <a:buChar char="o"/>
        <a:defRPr sz="1600" kern="1200">
          <a:solidFill>
            <a:schemeClr val="tx2"/>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40" userDrawn="1">
          <p15:clr>
            <a:srgbClr val="F26B43"/>
          </p15:clr>
        </p15:guide>
        <p15:guide id="3" pos="5520" userDrawn="1">
          <p15:clr>
            <a:srgbClr val="F26B43"/>
          </p15:clr>
        </p15:guide>
        <p15:guide id="4" orient="horz" pos="2988" userDrawn="1">
          <p15:clr>
            <a:srgbClr val="F26B43"/>
          </p15:clr>
        </p15:guide>
        <p15:guide id="5" orient="horz" pos="56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18" Type="http://schemas.openxmlformats.org/officeDocument/2006/relationships/image" Target="../media/image46.png"/><Relationship Id="rId3" Type="http://schemas.openxmlformats.org/officeDocument/2006/relationships/image" Target="../media/image32.jpeg"/><Relationship Id="rId7" Type="http://schemas.microsoft.com/office/2007/relationships/hdphoto" Target="../media/hdphoto2.wdp"/><Relationship Id="rId12" Type="http://schemas.openxmlformats.org/officeDocument/2006/relationships/image" Target="../media/image40.png"/><Relationship Id="rId17" Type="http://schemas.openxmlformats.org/officeDocument/2006/relationships/image" Target="../media/image45.png"/><Relationship Id="rId2" Type="http://schemas.openxmlformats.org/officeDocument/2006/relationships/image" Target="../media/image31.png"/><Relationship Id="rId16" Type="http://schemas.openxmlformats.org/officeDocument/2006/relationships/image" Target="../media/image44.png"/><Relationship Id="rId1" Type="http://schemas.openxmlformats.org/officeDocument/2006/relationships/slideLayout" Target="../slideLayouts/slideLayout3.xml"/><Relationship Id="rId6" Type="http://schemas.openxmlformats.org/officeDocument/2006/relationships/image" Target="../media/image35.png"/><Relationship Id="rId11" Type="http://schemas.openxmlformats.org/officeDocument/2006/relationships/image" Target="../media/image39.png"/><Relationship Id="rId5" Type="http://schemas.openxmlformats.org/officeDocument/2006/relationships/image" Target="../media/image34.png"/><Relationship Id="rId15" Type="http://schemas.openxmlformats.org/officeDocument/2006/relationships/image" Target="../media/image43.png"/><Relationship Id="rId10" Type="http://schemas.openxmlformats.org/officeDocument/2006/relationships/image" Target="../media/image38.png"/><Relationship Id="rId4" Type="http://schemas.openxmlformats.org/officeDocument/2006/relationships/image" Target="../media/image33.jpeg"/><Relationship Id="rId9" Type="http://schemas.openxmlformats.org/officeDocument/2006/relationships/image" Target="../media/image37.png"/><Relationship Id="rId14" Type="http://schemas.openxmlformats.org/officeDocument/2006/relationships/image" Target="../media/image42.jpeg"/></Relationships>
</file>

<file path=ppt/slides/_rels/slide24.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6.jpeg"/><Relationship Id="rId3" Type="http://schemas.openxmlformats.org/officeDocument/2006/relationships/image" Target="../media/image45.png"/><Relationship Id="rId7" Type="http://schemas.openxmlformats.org/officeDocument/2006/relationships/image" Target="../media/image51.png"/><Relationship Id="rId12" Type="http://schemas.openxmlformats.org/officeDocument/2006/relationships/image" Target="../media/image55.png"/><Relationship Id="rId2" Type="http://schemas.openxmlformats.org/officeDocument/2006/relationships/image" Target="../media/image47.jpeg"/><Relationship Id="rId1" Type="http://schemas.openxmlformats.org/officeDocument/2006/relationships/slideLayout" Target="../slideLayouts/slideLayout3.xml"/><Relationship Id="rId6" Type="http://schemas.openxmlformats.org/officeDocument/2006/relationships/image" Target="../media/image50.jpeg"/><Relationship Id="rId11" Type="http://schemas.openxmlformats.org/officeDocument/2006/relationships/image" Target="../media/image54.png"/><Relationship Id="rId5" Type="http://schemas.openxmlformats.org/officeDocument/2006/relationships/image" Target="../media/image49.png"/><Relationship Id="rId15" Type="http://schemas.openxmlformats.org/officeDocument/2006/relationships/image" Target="../media/image43.png"/><Relationship Id="rId10" Type="http://schemas.openxmlformats.org/officeDocument/2006/relationships/image" Target="../media/image53.png"/><Relationship Id="rId4" Type="http://schemas.openxmlformats.org/officeDocument/2006/relationships/image" Target="../media/image48.png"/><Relationship Id="rId9" Type="http://schemas.openxmlformats.org/officeDocument/2006/relationships/image" Target="../media/image44.png"/><Relationship Id="rId14" Type="http://schemas.openxmlformats.org/officeDocument/2006/relationships/image" Target="../media/image57.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image" Target="../media/image58.png"/><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image" Target="../media/image59.png"/><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slideLayout" Target="../slideLayouts/slideLayout7.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png"/><Relationship Id="rId7" Type="http://schemas.openxmlformats.org/officeDocument/2006/relationships/image" Target="../media/image14.png"/><Relationship Id="rId2" Type="http://schemas.openxmlformats.org/officeDocument/2006/relationships/image" Target="../media/image10.png"/><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chart" Target="../charts/chart1.xml"/><Relationship Id="rId4" Type="http://schemas.openxmlformats.org/officeDocument/2006/relationships/image" Target="../media/image12.png"/><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image" Target="../media/image20.jpeg"/><Relationship Id="rId7" Type="http://schemas.openxmlformats.org/officeDocument/2006/relationships/image" Target="../media/image24.emf"/><Relationship Id="rId12" Type="http://schemas.openxmlformats.org/officeDocument/2006/relationships/image" Target="../media/image29.jpeg"/><Relationship Id="rId2" Type="http://schemas.openxmlformats.org/officeDocument/2006/relationships/image" Target="../media/image19.jpeg"/><Relationship Id="rId1" Type="http://schemas.openxmlformats.org/officeDocument/2006/relationships/slideLayout" Target="../slideLayouts/slideLayout3.xml"/><Relationship Id="rId6" Type="http://schemas.openxmlformats.org/officeDocument/2006/relationships/image" Target="../media/image23.jpeg"/><Relationship Id="rId11" Type="http://schemas.openxmlformats.org/officeDocument/2006/relationships/image" Target="../media/image28.jpeg"/><Relationship Id="rId5" Type="http://schemas.openxmlformats.org/officeDocument/2006/relationships/image" Target="../media/image22.png"/><Relationship Id="rId10" Type="http://schemas.openxmlformats.org/officeDocument/2006/relationships/image" Target="../media/image27.jpeg"/><Relationship Id="rId4" Type="http://schemas.openxmlformats.org/officeDocument/2006/relationships/image" Target="../media/image21.png"/><Relationship Id="rId9" Type="http://schemas.openxmlformats.org/officeDocument/2006/relationships/image" Target="../media/image26.jpeg"/></Relationships>
</file>

<file path=ppt/slides/_rels/slide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65002" y="2428202"/>
            <a:ext cx="8348837" cy="553998"/>
          </a:xfrm>
        </p:spPr>
        <p:txBody>
          <a:bodyPr>
            <a:noAutofit/>
          </a:bodyPr>
          <a:lstStyle/>
          <a:p>
            <a:pPr algn="l"/>
            <a:r>
              <a:rPr lang="en-US" sz="3300" dirty="0" smtClean="0">
                <a:solidFill>
                  <a:schemeClr val="bg1"/>
                </a:solidFill>
              </a:rPr>
              <a:t>BHF –Transition Handover</a:t>
            </a:r>
            <a:endParaRPr lang="en-US" sz="3300" dirty="0">
              <a:solidFill>
                <a:schemeClr val="bg1"/>
              </a:solidFill>
            </a:endParaRPr>
          </a:p>
        </p:txBody>
      </p:sp>
    </p:spTree>
    <p:extLst>
      <p:ext uri="{BB962C8B-B14F-4D97-AF65-F5344CB8AC3E}">
        <p14:creationId xmlns:p14="http://schemas.microsoft.com/office/powerpoint/2010/main" val="89289774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HF Locations</a:t>
            </a:r>
            <a:endParaRPr lang="en-US" dirty="0"/>
          </a:p>
        </p:txBody>
      </p:sp>
      <p:sp>
        <p:nvSpPr>
          <p:cNvPr id="4" name="Footer Placeholder 3"/>
          <p:cNvSpPr>
            <a:spLocks noGrp="1"/>
          </p:cNvSpPr>
          <p:nvPr>
            <p:ph type="ftr" sz="quarter" idx="3"/>
          </p:nvPr>
        </p:nvSpPr>
        <p:spPr/>
        <p:txBody>
          <a:bodyPr/>
          <a:lstStyle/>
          <a:p>
            <a:r>
              <a:rPr lang="en-US" smtClean="0"/>
              <a:t>© 2020 Cognizant</a:t>
            </a:r>
            <a:endParaRPr lang="en-US" dirty="0"/>
          </a:p>
        </p:txBody>
      </p:sp>
      <p:sp>
        <p:nvSpPr>
          <p:cNvPr id="5" name="Slide Number Placeholder 4"/>
          <p:cNvSpPr>
            <a:spLocks noGrp="1"/>
          </p:cNvSpPr>
          <p:nvPr>
            <p:ph type="sldNum" sz="quarter" idx="4"/>
          </p:nvPr>
        </p:nvSpPr>
        <p:spPr/>
        <p:txBody>
          <a:bodyPr/>
          <a:lstStyle/>
          <a:p>
            <a:fld id="{2EFEF571-C9B4-4D92-A7F7-315B894862A8}" type="slidenum">
              <a:rPr lang="en-US" smtClean="0"/>
              <a:pPr/>
              <a:t>10</a:t>
            </a:fld>
            <a:endParaRPr lang="en-US" dirty="0"/>
          </a:p>
        </p:txBody>
      </p:sp>
      <p:sp>
        <p:nvSpPr>
          <p:cNvPr id="6" name="TextBox 5"/>
          <p:cNvSpPr txBox="1"/>
          <p:nvPr/>
        </p:nvSpPr>
        <p:spPr>
          <a:xfrm>
            <a:off x="673445" y="998162"/>
            <a:ext cx="6250865" cy="3046988"/>
          </a:xfrm>
          <a:prstGeom prst="rect">
            <a:avLst/>
          </a:prstGeom>
        </p:spPr>
        <p:txBody>
          <a:bodyPr wrap="square" lIns="0" tIns="0" rIns="0" bIns="0" rtlCol="0">
            <a:spAutoFit/>
          </a:bodyPr>
          <a:lstStyle/>
          <a:p>
            <a:pPr marL="285750" indent="-285750" algn="l">
              <a:buFont typeface="Wingdings" panose="05000000000000000000" pitchFamily="2" charset="2"/>
              <a:buChar char="Ø"/>
            </a:pPr>
            <a:r>
              <a:rPr lang="en-US" dirty="0" smtClean="0">
                <a:solidFill>
                  <a:schemeClr val="tx2"/>
                </a:solidFill>
              </a:rPr>
              <a:t>Charlotte – Head Quarters</a:t>
            </a:r>
          </a:p>
          <a:p>
            <a:pPr marL="285750" indent="-285750" algn="l">
              <a:buFont typeface="Wingdings" panose="05000000000000000000" pitchFamily="2" charset="2"/>
              <a:buChar char="Ø"/>
            </a:pPr>
            <a:endParaRPr lang="en-US" dirty="0">
              <a:solidFill>
                <a:schemeClr val="tx2"/>
              </a:solidFill>
            </a:endParaRPr>
          </a:p>
          <a:p>
            <a:pPr marL="285750" indent="-285750" algn="l">
              <a:buFont typeface="Wingdings" panose="05000000000000000000" pitchFamily="2" charset="2"/>
              <a:buChar char="Ø"/>
            </a:pPr>
            <a:r>
              <a:rPr lang="en-US" dirty="0" smtClean="0">
                <a:solidFill>
                  <a:schemeClr val="tx2"/>
                </a:solidFill>
              </a:rPr>
              <a:t>Convent Station</a:t>
            </a:r>
          </a:p>
          <a:p>
            <a:pPr marL="285750" indent="-285750" algn="l">
              <a:buFont typeface="Wingdings" panose="05000000000000000000" pitchFamily="2" charset="2"/>
              <a:buChar char="Ø"/>
            </a:pPr>
            <a:endParaRPr lang="en-US" dirty="0">
              <a:solidFill>
                <a:schemeClr val="tx2"/>
              </a:solidFill>
            </a:endParaRPr>
          </a:p>
          <a:p>
            <a:pPr marL="285750" indent="-285750" algn="l">
              <a:buFont typeface="Wingdings" panose="05000000000000000000" pitchFamily="2" charset="2"/>
              <a:buChar char="Ø"/>
            </a:pPr>
            <a:r>
              <a:rPr lang="en-US" dirty="0" smtClean="0">
                <a:solidFill>
                  <a:schemeClr val="tx2"/>
                </a:solidFill>
              </a:rPr>
              <a:t>Tampa</a:t>
            </a:r>
          </a:p>
          <a:p>
            <a:pPr marL="285750" indent="-285750" algn="l">
              <a:buFont typeface="Wingdings" panose="05000000000000000000" pitchFamily="2" charset="2"/>
              <a:buChar char="Ø"/>
            </a:pPr>
            <a:endParaRPr lang="en-US" dirty="0">
              <a:solidFill>
                <a:schemeClr val="tx2"/>
              </a:solidFill>
            </a:endParaRPr>
          </a:p>
          <a:p>
            <a:pPr marL="285750" indent="-285750" algn="l">
              <a:buFont typeface="Wingdings" panose="05000000000000000000" pitchFamily="2" charset="2"/>
              <a:buChar char="Ø"/>
            </a:pPr>
            <a:r>
              <a:rPr lang="en-US" dirty="0" smtClean="0">
                <a:solidFill>
                  <a:schemeClr val="tx2"/>
                </a:solidFill>
              </a:rPr>
              <a:t>New York City</a:t>
            </a:r>
          </a:p>
          <a:p>
            <a:pPr marL="285750" indent="-285750" algn="l">
              <a:buFont typeface="Wingdings" panose="05000000000000000000" pitchFamily="2" charset="2"/>
              <a:buChar char="Ø"/>
            </a:pPr>
            <a:endParaRPr lang="en-US" dirty="0">
              <a:solidFill>
                <a:schemeClr val="tx2"/>
              </a:solidFill>
            </a:endParaRPr>
          </a:p>
          <a:p>
            <a:pPr marL="285750" indent="-285750" algn="l">
              <a:buFont typeface="Wingdings" panose="05000000000000000000" pitchFamily="2" charset="2"/>
              <a:buChar char="Ø"/>
            </a:pPr>
            <a:r>
              <a:rPr lang="en-US" dirty="0" smtClean="0">
                <a:solidFill>
                  <a:schemeClr val="tx2"/>
                </a:solidFill>
              </a:rPr>
              <a:t>Boston</a:t>
            </a:r>
          </a:p>
          <a:p>
            <a:pPr marL="285750" indent="-285750" algn="l">
              <a:buFont typeface="Wingdings" panose="05000000000000000000" pitchFamily="2" charset="2"/>
              <a:buChar char="Ø"/>
            </a:pPr>
            <a:endParaRPr lang="en-US" dirty="0">
              <a:solidFill>
                <a:schemeClr val="tx2"/>
              </a:solidFill>
            </a:endParaRPr>
          </a:p>
          <a:p>
            <a:pPr marL="285750" indent="-285750" algn="l">
              <a:buFont typeface="Wingdings" panose="05000000000000000000" pitchFamily="2" charset="2"/>
              <a:buChar char="Ø"/>
            </a:pPr>
            <a:r>
              <a:rPr lang="en-US" dirty="0" smtClean="0">
                <a:solidFill>
                  <a:schemeClr val="tx2"/>
                </a:solidFill>
              </a:rPr>
              <a:t>Phoenix (New location added in Q1 2020)</a:t>
            </a:r>
          </a:p>
        </p:txBody>
      </p:sp>
    </p:spTree>
    <p:extLst>
      <p:ext uri="{BB962C8B-B14F-4D97-AF65-F5344CB8AC3E}">
        <p14:creationId xmlns:p14="http://schemas.microsoft.com/office/powerpoint/2010/main" val="239477729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Current State Summary</a:t>
            </a:r>
            <a:r>
              <a:rPr lang="en-US" dirty="0"/>
              <a:t/>
            </a:r>
            <a:br>
              <a:rPr lang="en-US" dirty="0"/>
            </a:br>
            <a:endParaRPr lang="en-US" dirty="0"/>
          </a:p>
        </p:txBody>
      </p:sp>
      <p:sp>
        <p:nvSpPr>
          <p:cNvPr id="4" name="Slide Number"/>
          <p:cNvSpPr txBox="1"/>
          <p:nvPr/>
        </p:nvSpPr>
        <p:spPr>
          <a:xfrm>
            <a:off x="285750" y="4886325"/>
            <a:ext cx="170117" cy="196208"/>
          </a:xfrm>
          <a:prstGeom prst="rect">
            <a:avLst/>
          </a:prstGeom>
          <a:noFill/>
        </p:spPr>
        <p:txBody>
          <a:bodyPr vert="horz" rtlCol="0">
            <a:spAutoFit/>
          </a:bodyPr>
          <a:lstStyle/>
          <a:p>
            <a:pPr algn="ctr"/>
            <a:r>
              <a:rPr lang="en-US" sz="675">
                <a:solidFill>
                  <a:srgbClr val="000000"/>
                </a:solidFill>
              </a:rPr>
              <a:t>7</a:t>
            </a:r>
          </a:p>
        </p:txBody>
      </p:sp>
    </p:spTree>
    <p:extLst>
      <p:ext uri="{BB962C8B-B14F-4D97-AF65-F5344CB8AC3E}">
        <p14:creationId xmlns:p14="http://schemas.microsoft.com/office/powerpoint/2010/main" val="28939981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33A0"/>
                </a:solidFill>
              </a:rPr>
              <a:t>End User Computing</a:t>
            </a:r>
            <a:endParaRPr lang="en-US" dirty="0">
              <a:solidFill>
                <a:srgbClr val="0033A0"/>
              </a:solidFill>
            </a:endParaRPr>
          </a:p>
        </p:txBody>
      </p:sp>
      <p:sp>
        <p:nvSpPr>
          <p:cNvPr id="6" name="Rectangle 5"/>
          <p:cNvSpPr/>
          <p:nvPr/>
        </p:nvSpPr>
        <p:spPr>
          <a:xfrm>
            <a:off x="4079515" y="618603"/>
            <a:ext cx="1575142" cy="228600"/>
          </a:xfrm>
          <a:prstGeom prst="rect">
            <a:avLst/>
          </a:prstGeom>
          <a:solidFill>
            <a:srgbClr val="328DFF"/>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0" h="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solidFill>
                  <a:schemeClr val="bg1"/>
                </a:solidFill>
                <a:cs typeface="Arial" panose="020B0604020202020204" pitchFamily="34" charset="0"/>
              </a:rPr>
              <a:t>Key Volumetric</a:t>
            </a:r>
          </a:p>
        </p:txBody>
      </p:sp>
      <p:sp>
        <p:nvSpPr>
          <p:cNvPr id="8" name="TextBox 7"/>
          <p:cNvSpPr txBox="1"/>
          <p:nvPr/>
        </p:nvSpPr>
        <p:spPr>
          <a:xfrm>
            <a:off x="417481" y="1902518"/>
            <a:ext cx="3223260" cy="230832"/>
          </a:xfrm>
          <a:prstGeom prst="rect">
            <a:avLst/>
          </a:prstGeom>
          <a:ln w="6350"/>
        </p:spPr>
        <p:style>
          <a:lnRef idx="2">
            <a:schemeClr val="accent1"/>
          </a:lnRef>
          <a:fillRef idx="1">
            <a:schemeClr val="lt1"/>
          </a:fillRef>
          <a:effectRef idx="0">
            <a:schemeClr val="accent1"/>
          </a:effectRef>
          <a:fontRef idx="minor">
            <a:schemeClr val="dk1"/>
          </a:fontRef>
        </p:style>
        <p:txBody>
          <a:bodyPr wrap="square" rtlCol="0">
            <a:spAutoFit/>
          </a:bodyPr>
          <a:lstStyle/>
          <a:p>
            <a:pPr marL="171446" indent="-171446" defTabSz="914340" fontAlgn="ctr">
              <a:buFont typeface="Wingdings" panose="05000000000000000000" pitchFamily="2" charset="2"/>
              <a:buChar char="§"/>
              <a:defRPr/>
            </a:pPr>
            <a:r>
              <a:rPr lang="en-US" sz="900" kern="0" dirty="0">
                <a:solidFill>
                  <a:prstClr val="black"/>
                </a:solidFill>
                <a:ea typeface="ＭＳ Ｐゴシック" pitchFamily="-12" charset="-128"/>
                <a:cs typeface="Arial" panose="020B0604020202020204" pitchFamily="34" charset="0"/>
              </a:rPr>
              <a:t>16x5 on floor + on call for </a:t>
            </a:r>
            <a:r>
              <a:rPr lang="en-US" sz="900" kern="0" dirty="0" smtClean="0">
                <a:solidFill>
                  <a:prstClr val="black"/>
                </a:solidFill>
                <a:ea typeface="ＭＳ Ｐゴシック" pitchFamily="-12" charset="-128"/>
                <a:cs typeface="Arial" panose="020B0604020202020204" pitchFamily="34" charset="0"/>
              </a:rPr>
              <a:t>P1 &amp; P2</a:t>
            </a:r>
            <a:endParaRPr lang="en-US" sz="900" kern="0" dirty="0">
              <a:solidFill>
                <a:prstClr val="black"/>
              </a:solidFill>
              <a:ea typeface="ＭＳ Ｐゴシック" pitchFamily="-12" charset="-128"/>
              <a:cs typeface="Arial" panose="020B0604020202020204" pitchFamily="34" charset="0"/>
            </a:endParaRPr>
          </a:p>
        </p:txBody>
      </p:sp>
      <p:sp>
        <p:nvSpPr>
          <p:cNvPr id="9" name="Rectangle 8"/>
          <p:cNvSpPr/>
          <p:nvPr/>
        </p:nvSpPr>
        <p:spPr>
          <a:xfrm>
            <a:off x="417481" y="1677114"/>
            <a:ext cx="1998220" cy="228600"/>
          </a:xfrm>
          <a:prstGeom prst="rect">
            <a:avLst/>
          </a:prstGeom>
          <a:solidFill>
            <a:srgbClr val="328DFF"/>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0" h="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solidFill>
                  <a:schemeClr val="bg1"/>
                </a:solidFill>
                <a:cs typeface="Arial" panose="020B0604020202020204" pitchFamily="34" charset="0"/>
              </a:rPr>
              <a:t>Service Window</a:t>
            </a:r>
          </a:p>
        </p:txBody>
      </p:sp>
      <p:sp>
        <p:nvSpPr>
          <p:cNvPr id="10" name="TextBox 9"/>
          <p:cNvSpPr txBox="1"/>
          <p:nvPr/>
        </p:nvSpPr>
        <p:spPr>
          <a:xfrm>
            <a:off x="417481" y="863043"/>
            <a:ext cx="3223260" cy="369332"/>
          </a:xfrm>
          <a:prstGeom prst="rect">
            <a:avLst/>
          </a:prstGeom>
          <a:ln w="6350"/>
        </p:spPr>
        <p:style>
          <a:lnRef idx="2">
            <a:schemeClr val="accent1"/>
          </a:lnRef>
          <a:fillRef idx="1">
            <a:schemeClr val="lt1"/>
          </a:fillRef>
          <a:effectRef idx="0">
            <a:schemeClr val="accent1"/>
          </a:effectRef>
          <a:fontRef idx="minor">
            <a:schemeClr val="dk1"/>
          </a:fontRef>
        </p:style>
        <p:txBody>
          <a:bodyPr wrap="square" rtlCol="0">
            <a:spAutoFit/>
          </a:bodyPr>
          <a:lstStyle/>
          <a:p>
            <a:pPr marL="171446" indent="-171446" defTabSz="914340" fontAlgn="ctr">
              <a:buFont typeface="Wingdings" panose="05000000000000000000" pitchFamily="2" charset="2"/>
              <a:buChar char="§"/>
              <a:defRPr/>
            </a:pPr>
            <a:r>
              <a:rPr lang="en-US" sz="900" kern="0" dirty="0">
                <a:solidFill>
                  <a:prstClr val="black"/>
                </a:solidFill>
                <a:ea typeface="ＭＳ Ｐゴシック" pitchFamily="-12" charset="-128"/>
                <a:cs typeface="Arial" panose="020B0604020202020204" pitchFamily="34" charset="0"/>
              </a:rPr>
              <a:t>Charlotte, NC: EUC </a:t>
            </a:r>
            <a:r>
              <a:rPr lang="en-US" sz="900" kern="0" dirty="0" smtClean="0">
                <a:solidFill>
                  <a:prstClr val="black"/>
                </a:solidFill>
                <a:ea typeface="ＭＳ Ｐゴシック" pitchFamily="-12" charset="-128"/>
                <a:cs typeface="Arial" panose="020B0604020202020204" pitchFamily="34" charset="0"/>
              </a:rPr>
              <a:t>Lead</a:t>
            </a:r>
          </a:p>
          <a:p>
            <a:pPr marL="171446" indent="-171446" defTabSz="914340" fontAlgn="ctr">
              <a:buFont typeface="Wingdings" panose="05000000000000000000" pitchFamily="2" charset="2"/>
              <a:buChar char="§"/>
              <a:defRPr/>
            </a:pPr>
            <a:r>
              <a:rPr lang="en-US" sz="900" kern="0" dirty="0" smtClean="0">
                <a:solidFill>
                  <a:prstClr val="black"/>
                </a:solidFill>
                <a:ea typeface="ＭＳ Ｐゴシック" pitchFamily="-12" charset="-128"/>
                <a:cs typeface="Arial" panose="020B0604020202020204" pitchFamily="34" charset="0"/>
              </a:rPr>
              <a:t>Bangalore &amp; Chennai, India: EUC Operations</a:t>
            </a:r>
            <a:endParaRPr lang="en-US" sz="900" kern="0" dirty="0">
              <a:solidFill>
                <a:prstClr val="black"/>
              </a:solidFill>
              <a:ea typeface="ＭＳ Ｐゴシック" pitchFamily="-12" charset="-128"/>
              <a:cs typeface="Arial" panose="020B0604020202020204" pitchFamily="34" charset="0"/>
            </a:endParaRPr>
          </a:p>
        </p:txBody>
      </p:sp>
      <p:sp>
        <p:nvSpPr>
          <p:cNvPr id="11" name="Rectangle 10"/>
          <p:cNvSpPr/>
          <p:nvPr/>
        </p:nvSpPr>
        <p:spPr>
          <a:xfrm>
            <a:off x="417480" y="637640"/>
            <a:ext cx="1998222" cy="225404"/>
          </a:xfrm>
          <a:prstGeom prst="rect">
            <a:avLst/>
          </a:prstGeom>
          <a:solidFill>
            <a:srgbClr val="0033A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0" h="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solidFill>
                  <a:schemeClr val="bg1"/>
                </a:solidFill>
                <a:cs typeface="Arial" panose="020B0604020202020204" pitchFamily="34" charset="0"/>
              </a:rPr>
              <a:t>Service Delivery Locations</a:t>
            </a:r>
          </a:p>
        </p:txBody>
      </p:sp>
      <p:sp>
        <p:nvSpPr>
          <p:cNvPr id="12" name="TextBox 11"/>
          <p:cNvSpPr txBox="1"/>
          <p:nvPr/>
        </p:nvSpPr>
        <p:spPr>
          <a:xfrm>
            <a:off x="381000" y="2865764"/>
            <a:ext cx="3223260" cy="1615827"/>
          </a:xfrm>
          <a:prstGeom prst="rect">
            <a:avLst/>
          </a:prstGeom>
          <a:ln w="6350"/>
        </p:spPr>
        <p:style>
          <a:lnRef idx="2">
            <a:schemeClr val="accent1"/>
          </a:lnRef>
          <a:fillRef idx="1">
            <a:schemeClr val="lt1"/>
          </a:fillRef>
          <a:effectRef idx="0">
            <a:schemeClr val="accent1"/>
          </a:effectRef>
          <a:fontRef idx="minor">
            <a:schemeClr val="dk1"/>
          </a:fontRef>
        </p:style>
        <p:txBody>
          <a:bodyPr wrap="square" rtlCol="0">
            <a:spAutoFit/>
          </a:bodyPr>
          <a:lstStyle/>
          <a:p>
            <a:pPr marL="171446" lvl="1" indent="-171446" defTabSz="914340" fontAlgn="ctr">
              <a:buFont typeface="Wingdings" panose="05000000000000000000" pitchFamily="2" charset="2"/>
              <a:buChar char="§"/>
              <a:defRPr/>
            </a:pPr>
            <a:r>
              <a:rPr lang="en-US" sz="900" dirty="0" err="1">
                <a:solidFill>
                  <a:schemeClr val="tx2"/>
                </a:solidFill>
              </a:rPr>
              <a:t>MaaS</a:t>
            </a:r>
            <a:r>
              <a:rPr lang="en-US" sz="900" dirty="0">
                <a:solidFill>
                  <a:schemeClr val="tx2"/>
                </a:solidFill>
              </a:rPr>
              <a:t> 360 – MDM and Patch Management</a:t>
            </a:r>
          </a:p>
          <a:p>
            <a:pPr marL="171446" lvl="1" indent="-171446" defTabSz="914340" fontAlgn="ctr">
              <a:buFont typeface="Wingdings" panose="05000000000000000000" pitchFamily="2" charset="2"/>
              <a:buChar char="§"/>
              <a:defRPr/>
            </a:pPr>
            <a:r>
              <a:rPr lang="en-US" sz="900" dirty="0">
                <a:solidFill>
                  <a:schemeClr val="tx2"/>
                </a:solidFill>
              </a:rPr>
              <a:t>Ricoh Follow Me Print – Print Services</a:t>
            </a:r>
          </a:p>
          <a:p>
            <a:pPr marL="171446" lvl="1" indent="-171446" defTabSz="914340" fontAlgn="ctr">
              <a:buFont typeface="Wingdings" panose="05000000000000000000" pitchFamily="2" charset="2"/>
              <a:buChar char="§"/>
              <a:defRPr/>
            </a:pPr>
            <a:r>
              <a:rPr lang="en-US" sz="900" dirty="0" err="1">
                <a:solidFill>
                  <a:schemeClr val="tx2"/>
                </a:solidFill>
              </a:rPr>
              <a:t>Crashplan</a:t>
            </a:r>
            <a:r>
              <a:rPr lang="en-US" sz="900" dirty="0">
                <a:solidFill>
                  <a:schemeClr val="tx2"/>
                </a:solidFill>
              </a:rPr>
              <a:t> – Device Backup</a:t>
            </a:r>
          </a:p>
          <a:p>
            <a:pPr marL="171446" lvl="1" indent="-171446" defTabSz="914340" fontAlgn="ctr">
              <a:buFont typeface="Wingdings" panose="05000000000000000000" pitchFamily="2" charset="2"/>
              <a:buChar char="§"/>
              <a:defRPr/>
            </a:pPr>
            <a:r>
              <a:rPr lang="en-US" sz="900" dirty="0" err="1">
                <a:solidFill>
                  <a:schemeClr val="tx2"/>
                </a:solidFill>
              </a:rPr>
              <a:t>ServiceNow</a:t>
            </a:r>
            <a:r>
              <a:rPr lang="en-US" sz="900" dirty="0">
                <a:solidFill>
                  <a:schemeClr val="tx2"/>
                </a:solidFill>
              </a:rPr>
              <a:t> – ITSM</a:t>
            </a:r>
          </a:p>
          <a:p>
            <a:pPr marL="171446" lvl="1" indent="-171446" defTabSz="914340" fontAlgn="ctr">
              <a:buFont typeface="Wingdings" panose="05000000000000000000" pitchFamily="2" charset="2"/>
              <a:buChar char="§"/>
              <a:defRPr/>
            </a:pPr>
            <a:r>
              <a:rPr lang="en-US" sz="900" dirty="0">
                <a:solidFill>
                  <a:schemeClr val="tx2"/>
                </a:solidFill>
              </a:rPr>
              <a:t>Log Me In – Remote Desktop Support</a:t>
            </a:r>
          </a:p>
          <a:p>
            <a:pPr marL="171446" lvl="1" indent="-171446" defTabSz="914340" fontAlgn="ctr">
              <a:buFont typeface="Wingdings" panose="05000000000000000000" pitchFamily="2" charset="2"/>
              <a:buChar char="§"/>
              <a:defRPr/>
            </a:pPr>
            <a:r>
              <a:rPr lang="en-US" sz="900" dirty="0" err="1">
                <a:solidFill>
                  <a:schemeClr val="tx2"/>
                </a:solidFill>
              </a:rPr>
              <a:t>Flexera</a:t>
            </a:r>
            <a:r>
              <a:rPr lang="en-US" sz="900" dirty="0">
                <a:solidFill>
                  <a:schemeClr val="tx2"/>
                </a:solidFill>
              </a:rPr>
              <a:t> – Application Packaging</a:t>
            </a:r>
          </a:p>
          <a:p>
            <a:pPr marL="171446" lvl="1" indent="-171446" defTabSz="914340" fontAlgn="ctr">
              <a:buFont typeface="Wingdings" panose="05000000000000000000" pitchFamily="2" charset="2"/>
              <a:buChar char="§"/>
              <a:defRPr/>
            </a:pPr>
            <a:r>
              <a:rPr lang="en-US" sz="900" dirty="0" err="1">
                <a:solidFill>
                  <a:schemeClr val="tx2"/>
                </a:solidFill>
              </a:rPr>
              <a:t>Moogsoft</a:t>
            </a:r>
            <a:r>
              <a:rPr lang="en-US" sz="900" dirty="0">
                <a:solidFill>
                  <a:schemeClr val="tx2"/>
                </a:solidFill>
              </a:rPr>
              <a:t> – Event Management</a:t>
            </a:r>
          </a:p>
          <a:p>
            <a:pPr marL="171446" lvl="1" indent="-171446" defTabSz="914340" fontAlgn="ctr">
              <a:buFont typeface="Wingdings" panose="05000000000000000000" pitchFamily="2" charset="2"/>
              <a:buChar char="§"/>
              <a:defRPr/>
            </a:pPr>
            <a:r>
              <a:rPr lang="en-US" sz="900" dirty="0">
                <a:solidFill>
                  <a:schemeClr val="tx2"/>
                </a:solidFill>
              </a:rPr>
              <a:t>Skype for Business – Collaboration</a:t>
            </a:r>
          </a:p>
          <a:p>
            <a:pPr marL="171446" lvl="1" indent="-171446" defTabSz="914340" fontAlgn="ctr">
              <a:buFont typeface="Wingdings" panose="05000000000000000000" pitchFamily="2" charset="2"/>
              <a:buChar char="§"/>
              <a:defRPr/>
            </a:pPr>
            <a:r>
              <a:rPr lang="en-US" sz="900" dirty="0">
                <a:solidFill>
                  <a:schemeClr val="tx2"/>
                </a:solidFill>
              </a:rPr>
              <a:t>VMWare Horizon - VDI</a:t>
            </a:r>
          </a:p>
          <a:p>
            <a:pPr marL="171446" lvl="1" indent="-171446" defTabSz="914340" fontAlgn="ctr">
              <a:buFont typeface="Wingdings" panose="05000000000000000000" pitchFamily="2" charset="2"/>
              <a:buChar char="§"/>
              <a:defRPr/>
            </a:pPr>
            <a:r>
              <a:rPr lang="en-US" sz="900" dirty="0" err="1">
                <a:solidFill>
                  <a:schemeClr val="tx2"/>
                </a:solidFill>
              </a:rPr>
              <a:t>ServiceNow</a:t>
            </a:r>
            <a:r>
              <a:rPr lang="en-US" sz="900" dirty="0">
                <a:solidFill>
                  <a:schemeClr val="tx2"/>
                </a:solidFill>
              </a:rPr>
              <a:t> Reporting &amp; Incumbent provided reporting tools</a:t>
            </a:r>
          </a:p>
        </p:txBody>
      </p:sp>
      <p:sp>
        <p:nvSpPr>
          <p:cNvPr id="13" name="Rectangle 12"/>
          <p:cNvSpPr/>
          <p:nvPr/>
        </p:nvSpPr>
        <p:spPr>
          <a:xfrm>
            <a:off x="381000" y="2637164"/>
            <a:ext cx="1975367" cy="228600"/>
          </a:xfrm>
          <a:prstGeom prst="rect">
            <a:avLst/>
          </a:prstGeom>
          <a:solidFill>
            <a:srgbClr val="0033A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0" h="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solidFill>
                  <a:schemeClr val="bg1"/>
                </a:solidFill>
                <a:cs typeface="Arial" panose="020B0604020202020204" pitchFamily="34" charset="0"/>
              </a:rPr>
              <a:t>Tower Specific Tools</a:t>
            </a:r>
          </a:p>
        </p:txBody>
      </p:sp>
      <p:graphicFrame>
        <p:nvGraphicFramePr>
          <p:cNvPr id="15" name="Table 14"/>
          <p:cNvGraphicFramePr>
            <a:graphicFrameLocks noGrp="1"/>
          </p:cNvGraphicFramePr>
          <p:nvPr>
            <p:extLst/>
          </p:nvPr>
        </p:nvGraphicFramePr>
        <p:xfrm>
          <a:off x="4077793" y="863043"/>
          <a:ext cx="4685206" cy="3633491"/>
        </p:xfrm>
        <a:graphic>
          <a:graphicData uri="http://schemas.openxmlformats.org/drawingml/2006/table">
            <a:tbl>
              <a:tblPr firstRow="1" bandRow="1"/>
              <a:tblGrid>
                <a:gridCol w="874572">
                  <a:extLst>
                    <a:ext uri="{9D8B030D-6E8A-4147-A177-3AD203B41FA5}">
                      <a16:colId xmlns:a16="http://schemas.microsoft.com/office/drawing/2014/main" val="4108778156"/>
                    </a:ext>
                  </a:extLst>
                </a:gridCol>
                <a:gridCol w="2123960">
                  <a:extLst>
                    <a:ext uri="{9D8B030D-6E8A-4147-A177-3AD203B41FA5}">
                      <a16:colId xmlns:a16="http://schemas.microsoft.com/office/drawing/2014/main" val="3717025149"/>
                    </a:ext>
                  </a:extLst>
                </a:gridCol>
                <a:gridCol w="1686674">
                  <a:extLst>
                    <a:ext uri="{9D8B030D-6E8A-4147-A177-3AD203B41FA5}">
                      <a16:colId xmlns:a16="http://schemas.microsoft.com/office/drawing/2014/main" val="3347323256"/>
                    </a:ext>
                  </a:extLst>
                </a:gridCol>
              </a:tblGrid>
              <a:tr h="181639">
                <a:tc>
                  <a:txBody>
                    <a:bodyPr/>
                    <a:lstStyle/>
                    <a:p>
                      <a:pPr algn="ctr" rtl="0" fontAlgn="b"/>
                      <a:r>
                        <a:rPr lang="en-US" sz="900" b="1" i="0" u="none" strike="noStrike" dirty="0">
                          <a:solidFill>
                            <a:srgbClr val="FFFFFF"/>
                          </a:solidFill>
                          <a:effectLst/>
                          <a:latin typeface="Arial" panose="020B0604020202020204" pitchFamily="34" charset="0"/>
                        </a:rPr>
                        <a:t>Tower</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a:txBody>
                    <a:bodyPr/>
                    <a:lstStyle/>
                    <a:p>
                      <a:pPr algn="ctr" rtl="0" fontAlgn="b"/>
                      <a:r>
                        <a:rPr lang="en-US" sz="900" b="1" i="0" u="none" strike="noStrike" dirty="0">
                          <a:solidFill>
                            <a:srgbClr val="FFFFFF"/>
                          </a:solidFill>
                          <a:effectLst/>
                          <a:latin typeface="Arial" panose="020B0604020202020204" pitchFamily="34" charset="0"/>
                        </a:rPr>
                        <a:t>Service  line items</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a:txBody>
                    <a:bodyPr/>
                    <a:lstStyle/>
                    <a:p>
                      <a:pPr algn="ctr" rtl="0" fontAlgn="b"/>
                      <a:r>
                        <a:rPr lang="en-US" sz="900" b="1" i="0" u="none" strike="noStrike" dirty="0" err="1">
                          <a:solidFill>
                            <a:srgbClr val="FFFFFF"/>
                          </a:solidFill>
                          <a:effectLst/>
                          <a:latin typeface="Arial" panose="020B0604020202020204" pitchFamily="34" charset="0"/>
                        </a:rPr>
                        <a:t>Qty</a:t>
                      </a:r>
                      <a:endParaRPr lang="en-US" sz="900" b="1" i="0" u="none" strike="noStrike" dirty="0">
                        <a:solidFill>
                          <a:srgbClr val="FFFFFF"/>
                        </a:solidFill>
                        <a:effectLst/>
                        <a:latin typeface="Arial" panose="020B060402020202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1549049616"/>
                  </a:ext>
                </a:extLst>
              </a:tr>
              <a:tr h="181639">
                <a:tc>
                  <a:txBody>
                    <a:bodyPr/>
                    <a:lstStyle/>
                    <a:p>
                      <a:pPr algn="l" fontAlgn="b"/>
                      <a:r>
                        <a:rPr lang="en-US" sz="900" b="0" i="0" u="none" strike="noStrike" dirty="0">
                          <a:solidFill>
                            <a:srgbClr val="000000"/>
                          </a:solidFill>
                          <a:effectLst/>
                          <a:latin typeface="Arial" panose="020B0604020202020204" pitchFamily="34" charset="0"/>
                        </a:rPr>
                        <a:t>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Arial" panose="020B0604020202020204" pitchFamily="34" charset="0"/>
                        </a:rPr>
                        <a:t>Users</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Arial" panose="020B0604020202020204" pitchFamily="34" charset="0"/>
                        </a:rPr>
                        <a:t>3000</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54013935"/>
                  </a:ext>
                </a:extLst>
              </a:tr>
              <a:tr h="354628">
                <a:tc>
                  <a:txBody>
                    <a:bodyPr/>
                    <a:lstStyle/>
                    <a:p>
                      <a:pPr algn="l" fontAlgn="b"/>
                      <a:r>
                        <a:rPr lang="en-US" sz="900" b="0" i="0" u="none" strike="noStrike" dirty="0">
                          <a:solidFill>
                            <a:srgbClr val="000000"/>
                          </a:solidFill>
                          <a:effectLst/>
                          <a:latin typeface="Arial" panose="020B0604020202020204" pitchFamily="34" charset="0"/>
                        </a:rPr>
                        <a:t>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Arial" panose="020B0604020202020204" pitchFamily="34" charset="0"/>
                        </a:rPr>
                        <a:t>Office Locations</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Arial" panose="020B0604020202020204" pitchFamily="34" charset="0"/>
                        </a:rPr>
                        <a:t>6 (Charlotte, Tampa, Convent Station, NYC, Phoenix, Boston)</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86708475"/>
                  </a:ext>
                </a:extLst>
              </a:tr>
              <a:tr h="181639">
                <a:tc>
                  <a:txBody>
                    <a:bodyPr/>
                    <a:lstStyle/>
                    <a:p>
                      <a:pPr algn="l" fontAlgn="b"/>
                      <a:r>
                        <a:rPr lang="en-US" sz="900" b="0" i="0" u="none" strike="noStrike" dirty="0">
                          <a:solidFill>
                            <a:srgbClr val="000000"/>
                          </a:solidFill>
                          <a:effectLst/>
                          <a:latin typeface="Arial" panose="020B0604020202020204" pitchFamily="34" charset="0"/>
                        </a:rPr>
                        <a:t>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Arial" panose="020B0604020202020204" pitchFamily="34" charset="0"/>
                        </a:rPr>
                        <a:t>Application Packages</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Arial" panose="020B0604020202020204" pitchFamily="34" charset="0"/>
                        </a:rPr>
                        <a:t>12/Month</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30926313"/>
                  </a:ext>
                </a:extLst>
              </a:tr>
              <a:tr h="181639">
                <a:tc rowSpan="3">
                  <a:txBody>
                    <a:bodyPr/>
                    <a:lstStyle/>
                    <a:p>
                      <a:pPr algn="ctr" fontAlgn="ctr"/>
                      <a:r>
                        <a:rPr lang="en-US" sz="900" b="0" i="0" u="none" strike="noStrike" dirty="0">
                          <a:solidFill>
                            <a:srgbClr val="000000"/>
                          </a:solidFill>
                          <a:effectLst/>
                          <a:latin typeface="Arial" panose="020B0604020202020204" pitchFamily="34" charset="0"/>
                        </a:rPr>
                        <a:t>EUC- Device</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Arial" panose="020B0604020202020204" pitchFamily="34" charset="0"/>
                        </a:rPr>
                        <a:t>VDI - inclusive off hours, weekend on call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Arial" panose="020B0604020202020204" pitchFamily="34" charset="0"/>
                        </a:rPr>
                        <a:t>1129</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9771097"/>
                  </a:ext>
                </a:extLst>
              </a:tr>
              <a:tr h="181639">
                <a:tc vMerge="1">
                  <a:txBody>
                    <a:bodyPr/>
                    <a:lstStyle/>
                    <a:p>
                      <a:endParaRPr lang="en-US"/>
                    </a:p>
                  </a:txBody>
                  <a:tcPr/>
                </a:tc>
                <a:tc>
                  <a:txBody>
                    <a:bodyPr/>
                    <a:lstStyle/>
                    <a:p>
                      <a:pPr algn="l" fontAlgn="b"/>
                      <a:r>
                        <a:rPr lang="en-US" sz="900" b="0" i="0" u="none" strike="noStrike" dirty="0">
                          <a:solidFill>
                            <a:srgbClr val="000000"/>
                          </a:solidFill>
                          <a:effectLst/>
                          <a:latin typeface="Arial" panose="020B0604020202020204" pitchFamily="34" charset="0"/>
                        </a:rPr>
                        <a:t>HP </a:t>
                      </a:r>
                      <a:r>
                        <a:rPr lang="en-US" sz="900" b="0" i="0" u="none" strike="noStrike" dirty="0" err="1">
                          <a:solidFill>
                            <a:srgbClr val="000000"/>
                          </a:solidFill>
                          <a:effectLst/>
                          <a:latin typeface="Arial" panose="020B0604020202020204" pitchFamily="34" charset="0"/>
                        </a:rPr>
                        <a:t>Elitebook</a:t>
                      </a:r>
                      <a:endParaRPr lang="en-US" sz="900" b="0" i="0" u="none" strike="noStrike" dirty="0">
                        <a:solidFill>
                          <a:srgbClr val="000000"/>
                        </a:solidFill>
                        <a:effectLst/>
                        <a:latin typeface="Arial" panose="020B060402020202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Arial" panose="020B0604020202020204" pitchFamily="34" charset="0"/>
                        </a:rPr>
                        <a:t>1413</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43962890"/>
                  </a:ext>
                </a:extLst>
              </a:tr>
              <a:tr h="181639">
                <a:tc vMerge="1">
                  <a:txBody>
                    <a:bodyPr/>
                    <a:lstStyle/>
                    <a:p>
                      <a:endParaRPr lang="en-US"/>
                    </a:p>
                  </a:txBody>
                  <a:tcPr/>
                </a:tc>
                <a:tc>
                  <a:txBody>
                    <a:bodyPr/>
                    <a:lstStyle/>
                    <a:p>
                      <a:pPr algn="l" fontAlgn="b"/>
                      <a:r>
                        <a:rPr lang="en-US" sz="900" b="0" i="0" u="none" strike="noStrike" dirty="0">
                          <a:solidFill>
                            <a:srgbClr val="000000"/>
                          </a:solidFill>
                          <a:effectLst/>
                          <a:latin typeface="Arial" panose="020B0604020202020204" pitchFamily="34" charset="0"/>
                        </a:rPr>
                        <a:t>Apple </a:t>
                      </a:r>
                      <a:r>
                        <a:rPr lang="en-US" sz="900" b="0" i="0" u="none" strike="noStrike" dirty="0" err="1">
                          <a:solidFill>
                            <a:srgbClr val="000000"/>
                          </a:solidFill>
                          <a:effectLst/>
                          <a:latin typeface="Arial" panose="020B0604020202020204" pitchFamily="34" charset="0"/>
                        </a:rPr>
                        <a:t>Macbook</a:t>
                      </a:r>
                      <a:r>
                        <a:rPr lang="en-US" sz="900" b="0" i="0" u="none" strike="noStrike" dirty="0">
                          <a:solidFill>
                            <a:srgbClr val="000000"/>
                          </a:solidFill>
                          <a:effectLst/>
                          <a:latin typeface="Arial" panose="020B0604020202020204" pitchFamily="34" charset="0"/>
                        </a:rPr>
                        <a:t> /</a:t>
                      </a:r>
                      <a:r>
                        <a:rPr lang="en-US" sz="900" b="0" i="0" u="none" strike="noStrike" dirty="0" err="1">
                          <a:solidFill>
                            <a:srgbClr val="000000"/>
                          </a:solidFill>
                          <a:effectLst/>
                          <a:latin typeface="Arial" panose="020B0604020202020204" pitchFamily="34" charset="0"/>
                        </a:rPr>
                        <a:t>Macbook</a:t>
                      </a:r>
                      <a:r>
                        <a:rPr lang="en-US" sz="900" b="0" i="0" u="none" strike="noStrike" dirty="0">
                          <a:solidFill>
                            <a:srgbClr val="000000"/>
                          </a:solidFill>
                          <a:effectLst/>
                          <a:latin typeface="Arial" panose="020B0604020202020204" pitchFamily="34" charset="0"/>
                        </a:rPr>
                        <a:t> Pro</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Arial" panose="020B0604020202020204" pitchFamily="34" charset="0"/>
                        </a:rPr>
                        <a:t>215</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43407130"/>
                  </a:ext>
                </a:extLst>
              </a:tr>
              <a:tr h="181639">
                <a:tc>
                  <a:txBody>
                    <a:bodyPr/>
                    <a:lstStyle/>
                    <a:p>
                      <a:pPr algn="ctr" fontAlgn="ctr"/>
                      <a:r>
                        <a:rPr lang="en-US" sz="900" b="0" i="0" u="none" strike="noStrike" dirty="0">
                          <a:solidFill>
                            <a:srgbClr val="000000"/>
                          </a:solidFill>
                          <a:effectLst/>
                          <a:latin typeface="Arial" panose="020B0604020202020204" pitchFamily="34" charset="0"/>
                        </a:rPr>
                        <a:t>Printer</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900" b="0" i="0" u="none" strike="noStrike" dirty="0">
                          <a:solidFill>
                            <a:srgbClr val="000000"/>
                          </a:solidFill>
                          <a:effectLst/>
                          <a:latin typeface="Arial" panose="020B0604020202020204" pitchFamily="34" charset="0"/>
                        </a:rPr>
                        <a:t>Ricoh Printers MP C3004ex /MP C401</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Arial" panose="020B0604020202020204" pitchFamily="34" charset="0"/>
                        </a:rPr>
                        <a:t>46</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92457829"/>
                  </a:ext>
                </a:extLst>
              </a:tr>
              <a:tr h="181639">
                <a:tc rowSpan="2">
                  <a:txBody>
                    <a:bodyPr/>
                    <a:lstStyle/>
                    <a:p>
                      <a:pPr algn="ctr" fontAlgn="ctr"/>
                      <a:r>
                        <a:rPr lang="en-US" sz="900" b="0" i="0" u="none" strike="noStrike" dirty="0">
                          <a:solidFill>
                            <a:srgbClr val="000000"/>
                          </a:solidFill>
                          <a:effectLst/>
                          <a:latin typeface="Arial" panose="020B0604020202020204" pitchFamily="34" charset="0"/>
                        </a:rPr>
                        <a:t>Polycom Devices</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900" b="0" i="0" u="none" strike="noStrike" dirty="0">
                          <a:solidFill>
                            <a:srgbClr val="000000"/>
                          </a:solidFill>
                          <a:effectLst/>
                          <a:latin typeface="Arial" panose="020B0604020202020204" pitchFamily="34" charset="0"/>
                        </a:rPr>
                        <a:t>Desk Phone VVX 501 /VVX 601</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Arial" panose="020B0604020202020204" pitchFamily="34" charset="0"/>
                        </a:rPr>
                        <a:t>1159</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3043974"/>
                  </a:ext>
                </a:extLst>
              </a:tr>
              <a:tr h="281464">
                <a:tc vMerge="1">
                  <a:txBody>
                    <a:bodyPr/>
                    <a:lstStyle/>
                    <a:p>
                      <a:endParaRPr lang="en-US"/>
                    </a:p>
                  </a:txBody>
                  <a:tcPr/>
                </a:tc>
                <a:tc>
                  <a:txBody>
                    <a:bodyPr/>
                    <a:lstStyle/>
                    <a:p>
                      <a:pPr algn="l" fontAlgn="b"/>
                      <a:r>
                        <a:rPr lang="pt-BR" sz="900" b="0" i="0" u="none" strike="noStrike" dirty="0">
                          <a:solidFill>
                            <a:srgbClr val="000000"/>
                          </a:solidFill>
                          <a:effectLst/>
                          <a:latin typeface="Arial" panose="020B0604020202020204" pitchFamily="34" charset="0"/>
                        </a:rPr>
                        <a:t>Video Conference - Trio 8800 / Trio RP 8800</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Arial" panose="020B0604020202020204" pitchFamily="34" charset="0"/>
                        </a:rPr>
                        <a:t>46</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10167481"/>
                  </a:ext>
                </a:extLst>
              </a:tr>
              <a:tr h="181639">
                <a:tc rowSpan="2">
                  <a:txBody>
                    <a:bodyPr/>
                    <a:lstStyle/>
                    <a:p>
                      <a:pPr algn="ctr" fontAlgn="ctr"/>
                      <a:r>
                        <a:rPr lang="en-US" sz="900" b="0" i="0" u="none" strike="noStrike" dirty="0">
                          <a:solidFill>
                            <a:srgbClr val="000000"/>
                          </a:solidFill>
                          <a:effectLst/>
                          <a:latin typeface="Arial" panose="020B0604020202020204" pitchFamily="34" charset="0"/>
                        </a:rPr>
                        <a:t>Mobile Devices</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Arial" panose="020B0604020202020204" pitchFamily="34" charset="0"/>
                        </a:rPr>
                        <a:t>Android Mobile</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Arial" panose="020B0604020202020204" pitchFamily="34" charset="0"/>
                        </a:rPr>
                        <a:t>149</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7893790"/>
                  </a:ext>
                </a:extLst>
              </a:tr>
              <a:tr h="181639">
                <a:tc vMerge="1">
                  <a:txBody>
                    <a:bodyPr/>
                    <a:lstStyle/>
                    <a:p>
                      <a:endParaRPr lang="en-US"/>
                    </a:p>
                  </a:txBody>
                  <a:tcPr/>
                </a:tc>
                <a:tc>
                  <a:txBody>
                    <a:bodyPr/>
                    <a:lstStyle/>
                    <a:p>
                      <a:pPr algn="l" fontAlgn="b"/>
                      <a:r>
                        <a:rPr lang="en-US" sz="900" b="0" i="0" u="none" strike="noStrike" dirty="0">
                          <a:solidFill>
                            <a:srgbClr val="000000"/>
                          </a:solidFill>
                          <a:effectLst/>
                          <a:latin typeface="Arial" panose="020B0604020202020204" pitchFamily="34" charset="0"/>
                        </a:rPr>
                        <a:t>iOS Mobile</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Arial" panose="020B0604020202020204" pitchFamily="34" charset="0"/>
                        </a:rPr>
                        <a:t>879</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4863213"/>
                  </a:ext>
                </a:extLst>
              </a:tr>
              <a:tr h="181639">
                <a:tc>
                  <a:txBody>
                    <a:bodyPr/>
                    <a:lstStyle/>
                    <a:p>
                      <a:pPr algn="l" fontAlgn="b"/>
                      <a:r>
                        <a:rPr lang="en-US" sz="900" b="0" i="0" u="none" strike="noStrike" dirty="0">
                          <a:solidFill>
                            <a:srgbClr val="000000"/>
                          </a:solidFill>
                          <a:effectLst/>
                          <a:latin typeface="Arial" panose="020B0604020202020204" pitchFamily="34" charset="0"/>
                        </a:rPr>
                        <a:t>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Arial" panose="020B0604020202020204" pitchFamily="34" charset="0"/>
                        </a:rPr>
                        <a:t>Skype Numbers</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Arial" panose="020B0604020202020204" pitchFamily="34" charset="0"/>
                        </a:rPr>
                        <a:t>3000</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73163455"/>
                  </a:ext>
                </a:extLst>
              </a:tr>
              <a:tr h="354628">
                <a:tc>
                  <a:txBody>
                    <a:bodyPr/>
                    <a:lstStyle/>
                    <a:p>
                      <a:pPr algn="l" fontAlgn="b"/>
                      <a:r>
                        <a:rPr lang="en-US" sz="900" b="0" i="0" u="none" strike="noStrike" dirty="0">
                          <a:solidFill>
                            <a:srgbClr val="000000"/>
                          </a:solidFill>
                          <a:effectLst/>
                          <a:latin typeface="Arial" panose="020B0604020202020204" pitchFamily="34" charset="0"/>
                        </a:rPr>
                        <a:t>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Arial" panose="020B0604020202020204" pitchFamily="34" charset="0"/>
                        </a:rPr>
                        <a:t>Images Present</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Arial" panose="020B0604020202020204" pitchFamily="34" charset="0"/>
                        </a:rPr>
                        <a:t>Windows 7, Windows 10 (1703, 1805, 1903), MAC OS</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40992403"/>
                  </a:ext>
                </a:extLst>
              </a:tr>
              <a:tr h="181639">
                <a:tc rowSpan="3">
                  <a:txBody>
                    <a:bodyPr/>
                    <a:lstStyle/>
                    <a:p>
                      <a:pPr algn="ctr" fontAlgn="ctr"/>
                      <a:r>
                        <a:rPr lang="en-US" sz="900" b="0" i="0" u="none" strike="noStrike" dirty="0">
                          <a:solidFill>
                            <a:srgbClr val="000000"/>
                          </a:solidFill>
                          <a:effectLst/>
                          <a:latin typeface="Arial" panose="020B0604020202020204" pitchFamily="34" charset="0"/>
                        </a:rPr>
                        <a:t>O365</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Arial" panose="020B0604020202020204" pitchFamily="34" charset="0"/>
                        </a:rPr>
                        <a:t>O365 mailbox</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Arial" panose="020B0604020202020204" pitchFamily="34" charset="0"/>
                        </a:rPr>
                        <a:t>2551</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8653340"/>
                  </a:ext>
                </a:extLst>
              </a:tr>
              <a:tr h="181639">
                <a:tc vMerge="1">
                  <a:txBody>
                    <a:bodyPr/>
                    <a:lstStyle/>
                    <a:p>
                      <a:endParaRPr lang="en-US"/>
                    </a:p>
                  </a:txBody>
                  <a:tcPr/>
                </a:tc>
                <a:tc>
                  <a:txBody>
                    <a:bodyPr/>
                    <a:lstStyle/>
                    <a:p>
                      <a:pPr algn="l" fontAlgn="b"/>
                      <a:r>
                        <a:rPr lang="en-US" sz="900" b="0" i="0" u="none" strike="noStrike" dirty="0">
                          <a:solidFill>
                            <a:srgbClr val="000000"/>
                          </a:solidFill>
                          <a:effectLst/>
                          <a:latin typeface="Arial" panose="020B0604020202020204" pitchFamily="34" charset="0"/>
                        </a:rPr>
                        <a:t>SharePoint Sites</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0" i="0" u="none" strike="noStrike" dirty="0">
                          <a:solidFill>
                            <a:srgbClr val="000000"/>
                          </a:solidFill>
                          <a:effectLst/>
                          <a:latin typeface="Arial" panose="020B0604020202020204" pitchFamily="34" charset="0"/>
                        </a:rPr>
                        <a:t>94 Site Collections, 315 </a:t>
                      </a:r>
                      <a:r>
                        <a:rPr lang="fr-FR" sz="900" b="0" i="0" u="none" strike="noStrike" dirty="0" err="1">
                          <a:solidFill>
                            <a:srgbClr val="000000"/>
                          </a:solidFill>
                          <a:effectLst/>
                          <a:latin typeface="Arial" panose="020B0604020202020204" pitchFamily="34" charset="0"/>
                        </a:rPr>
                        <a:t>Sub</a:t>
                      </a:r>
                      <a:r>
                        <a:rPr lang="fr-FR" sz="900" b="0" i="0" u="none" strike="noStrike" dirty="0">
                          <a:solidFill>
                            <a:srgbClr val="000000"/>
                          </a:solidFill>
                          <a:effectLst/>
                          <a:latin typeface="Arial" panose="020B0604020202020204" pitchFamily="34" charset="0"/>
                        </a:rPr>
                        <a:t> sites</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7609456"/>
                  </a:ext>
                </a:extLst>
              </a:tr>
              <a:tr h="181639">
                <a:tc vMerge="1">
                  <a:txBody>
                    <a:bodyPr/>
                    <a:lstStyle/>
                    <a:p>
                      <a:endParaRPr lang="en-US"/>
                    </a:p>
                  </a:txBody>
                  <a:tcPr/>
                </a:tc>
                <a:tc>
                  <a:txBody>
                    <a:bodyPr/>
                    <a:lstStyle/>
                    <a:p>
                      <a:pPr algn="l" fontAlgn="b"/>
                      <a:r>
                        <a:rPr lang="en-US" sz="900" b="0" i="0" u="none" strike="noStrike" dirty="0">
                          <a:solidFill>
                            <a:srgbClr val="000000"/>
                          </a:solidFill>
                          <a:effectLst/>
                          <a:latin typeface="Arial" panose="020B0604020202020204" pitchFamily="34" charset="0"/>
                        </a:rPr>
                        <a:t>OneDrive Users (Assumption)</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Arial" panose="020B0604020202020204" pitchFamily="34" charset="0"/>
                        </a:rPr>
                        <a:t>3000</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24182544"/>
                  </a:ext>
                </a:extLst>
              </a:tr>
            </a:tbl>
          </a:graphicData>
        </a:graphic>
      </p:graphicFrame>
      <p:sp>
        <p:nvSpPr>
          <p:cNvPr id="16" name="Footer Placeholder 15"/>
          <p:cNvSpPr>
            <a:spLocks noGrp="1"/>
          </p:cNvSpPr>
          <p:nvPr>
            <p:ph type="ftr" sz="quarter" idx="3"/>
          </p:nvPr>
        </p:nvSpPr>
        <p:spPr/>
        <p:txBody>
          <a:bodyPr/>
          <a:lstStyle/>
          <a:p>
            <a:r>
              <a:rPr lang="en-US" smtClean="0"/>
              <a:t>© 2020 Cognizant</a:t>
            </a:r>
            <a:endParaRPr lang="en-US" dirty="0"/>
          </a:p>
        </p:txBody>
      </p:sp>
      <p:sp>
        <p:nvSpPr>
          <p:cNvPr id="17" name="Slide Number Placeholder 16"/>
          <p:cNvSpPr>
            <a:spLocks noGrp="1"/>
          </p:cNvSpPr>
          <p:nvPr>
            <p:ph type="sldNum" sz="quarter" idx="4"/>
          </p:nvPr>
        </p:nvSpPr>
        <p:spPr/>
        <p:txBody>
          <a:bodyPr/>
          <a:lstStyle/>
          <a:p>
            <a:fld id="{2EFEF571-C9B4-4D92-A7F7-315B894862A8}" type="slidenum">
              <a:rPr lang="en-US" smtClean="0"/>
              <a:pPr/>
              <a:t>12</a:t>
            </a:fld>
            <a:endParaRPr lang="en-US" dirty="0"/>
          </a:p>
        </p:txBody>
      </p:sp>
    </p:spTree>
    <p:extLst>
      <p:ext uri="{BB962C8B-B14F-4D97-AF65-F5344CB8AC3E}">
        <p14:creationId xmlns:p14="http://schemas.microsoft.com/office/powerpoint/2010/main" val="63629598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0033A0"/>
                </a:solidFill>
              </a:rPr>
              <a:t>Network Services</a:t>
            </a:r>
            <a:endParaRPr lang="en-US" dirty="0">
              <a:solidFill>
                <a:srgbClr val="0033A0"/>
              </a:solidFill>
            </a:endParaRPr>
          </a:p>
        </p:txBody>
      </p:sp>
      <p:sp>
        <p:nvSpPr>
          <p:cNvPr id="6" name="Rectangle 5"/>
          <p:cNvSpPr/>
          <p:nvPr/>
        </p:nvSpPr>
        <p:spPr>
          <a:xfrm>
            <a:off x="4000500" y="626092"/>
            <a:ext cx="1575142" cy="228600"/>
          </a:xfrm>
          <a:prstGeom prst="rect">
            <a:avLst/>
          </a:prstGeom>
          <a:solidFill>
            <a:srgbClr val="328DFF"/>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r>
              <a:rPr lang="en-US" sz="1050" b="1" dirty="0">
                <a:solidFill>
                  <a:schemeClr val="bg1"/>
                </a:solidFill>
                <a:latin typeface="Arial" panose="020B0604020202020204"/>
                <a:cs typeface="Arial" panose="020B0604020202020204" pitchFamily="34" charset="0"/>
              </a:rPr>
              <a:t>Key Volumetric</a:t>
            </a:r>
          </a:p>
        </p:txBody>
      </p:sp>
      <p:sp>
        <p:nvSpPr>
          <p:cNvPr id="8" name="TextBox 7"/>
          <p:cNvSpPr txBox="1"/>
          <p:nvPr/>
        </p:nvSpPr>
        <p:spPr>
          <a:xfrm>
            <a:off x="381000" y="2743493"/>
            <a:ext cx="3223260" cy="253916"/>
          </a:xfrm>
          <a:prstGeom prst="rect">
            <a:avLst/>
          </a:prstGeom>
          <a:ln w="6350"/>
        </p:spPr>
        <p:style>
          <a:lnRef idx="2">
            <a:schemeClr val="accent1"/>
          </a:lnRef>
          <a:fillRef idx="1">
            <a:schemeClr val="lt1"/>
          </a:fillRef>
          <a:effectRef idx="0">
            <a:schemeClr val="accent1"/>
          </a:effectRef>
          <a:fontRef idx="minor">
            <a:schemeClr val="dk1"/>
          </a:fontRef>
        </p:style>
        <p:txBody>
          <a:bodyPr wrap="square" rtlCol="0">
            <a:spAutoFit/>
          </a:bodyPr>
          <a:lstStyle/>
          <a:p>
            <a:pPr marL="171446" indent="-171446" defTabSz="914340" fontAlgn="ctr">
              <a:buFont typeface="Wingdings" panose="05000000000000000000" pitchFamily="2" charset="2"/>
              <a:buChar char="§"/>
              <a:defRPr/>
            </a:pPr>
            <a:r>
              <a:rPr lang="en-US" sz="1050" kern="0" dirty="0">
                <a:solidFill>
                  <a:prstClr val="black"/>
                </a:solidFill>
                <a:latin typeface="Arial" panose="020B0604020202020204"/>
                <a:ea typeface="ＭＳ Ｐゴシック" pitchFamily="-12" charset="-128"/>
                <a:cs typeface="Arial" panose="020B0604020202020204" pitchFamily="34" charset="0"/>
              </a:rPr>
              <a:t>16x5 on floor + on call for </a:t>
            </a:r>
            <a:r>
              <a:rPr lang="en-US" sz="1050" kern="0" dirty="0" smtClean="0">
                <a:solidFill>
                  <a:prstClr val="black"/>
                </a:solidFill>
                <a:latin typeface="Arial" panose="020B0604020202020204"/>
                <a:ea typeface="ＭＳ Ｐゴシック" pitchFamily="-12" charset="-128"/>
                <a:cs typeface="Arial" panose="020B0604020202020204" pitchFamily="34" charset="0"/>
              </a:rPr>
              <a:t>P1 &amp; P2</a:t>
            </a:r>
            <a:endParaRPr lang="en-US" sz="1050" kern="0" dirty="0">
              <a:solidFill>
                <a:prstClr val="black"/>
              </a:solidFill>
              <a:latin typeface="Arial" panose="020B0604020202020204"/>
              <a:ea typeface="ＭＳ Ｐゴシック" pitchFamily="-12" charset="-128"/>
              <a:cs typeface="Arial" panose="020B0604020202020204" pitchFamily="34" charset="0"/>
            </a:endParaRPr>
          </a:p>
        </p:txBody>
      </p:sp>
      <p:sp>
        <p:nvSpPr>
          <p:cNvPr id="9" name="Rectangle 8"/>
          <p:cNvSpPr/>
          <p:nvPr/>
        </p:nvSpPr>
        <p:spPr>
          <a:xfrm>
            <a:off x="381001" y="2518088"/>
            <a:ext cx="1575142" cy="228600"/>
          </a:xfrm>
          <a:prstGeom prst="rect">
            <a:avLst/>
          </a:prstGeom>
          <a:solidFill>
            <a:srgbClr val="328DFF"/>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r>
              <a:rPr lang="en-US" sz="1050" b="1" dirty="0">
                <a:solidFill>
                  <a:schemeClr val="bg1"/>
                </a:solidFill>
                <a:latin typeface="Arial" panose="020B0604020202020204"/>
                <a:cs typeface="Arial" panose="020B0604020202020204" pitchFamily="34" charset="0"/>
              </a:rPr>
              <a:t>Service Window</a:t>
            </a:r>
          </a:p>
        </p:txBody>
      </p:sp>
      <p:sp>
        <p:nvSpPr>
          <p:cNvPr id="10" name="TextBox 9"/>
          <p:cNvSpPr txBox="1"/>
          <p:nvPr/>
        </p:nvSpPr>
        <p:spPr>
          <a:xfrm>
            <a:off x="381000" y="895107"/>
            <a:ext cx="3223260" cy="577081"/>
          </a:xfrm>
          <a:prstGeom prst="rect">
            <a:avLst/>
          </a:prstGeom>
          <a:ln w="6350"/>
        </p:spPr>
        <p:style>
          <a:lnRef idx="2">
            <a:schemeClr val="accent1"/>
          </a:lnRef>
          <a:fillRef idx="1">
            <a:schemeClr val="lt1"/>
          </a:fillRef>
          <a:effectRef idx="0">
            <a:schemeClr val="accent1"/>
          </a:effectRef>
          <a:fontRef idx="minor">
            <a:schemeClr val="dk1"/>
          </a:fontRef>
        </p:style>
        <p:txBody>
          <a:bodyPr wrap="square" rtlCol="0">
            <a:spAutoFit/>
          </a:bodyPr>
          <a:lstStyle/>
          <a:p>
            <a:pPr marL="171446" indent="-171446" defTabSz="914340" fontAlgn="ctr">
              <a:buFont typeface="Wingdings" panose="05000000000000000000" pitchFamily="2" charset="2"/>
              <a:buChar char="§"/>
              <a:defRPr/>
            </a:pPr>
            <a:r>
              <a:rPr lang="en-US" sz="1050" kern="0" dirty="0">
                <a:solidFill>
                  <a:prstClr val="black"/>
                </a:solidFill>
                <a:latin typeface="Arial" panose="020B0604020202020204"/>
                <a:ea typeface="ＭＳ Ｐゴシック" pitchFamily="-12" charset="-128"/>
                <a:cs typeface="Arial" panose="020B0604020202020204" pitchFamily="34" charset="0"/>
              </a:rPr>
              <a:t>Charlotte, NC: Network Architect</a:t>
            </a:r>
          </a:p>
          <a:p>
            <a:pPr marL="171446" indent="-171446" defTabSz="914340" fontAlgn="ctr">
              <a:buFont typeface="Wingdings" panose="05000000000000000000" pitchFamily="2" charset="2"/>
              <a:buChar char="§"/>
              <a:defRPr/>
            </a:pPr>
            <a:r>
              <a:rPr lang="en-US" sz="1050" kern="0" dirty="0">
                <a:solidFill>
                  <a:prstClr val="black"/>
                </a:solidFill>
                <a:latin typeface="Arial" panose="020B0604020202020204"/>
                <a:ea typeface="ＭＳ Ｐゴシック" pitchFamily="-12" charset="-128"/>
                <a:cs typeface="Arial" panose="020B0604020202020204" pitchFamily="34" charset="0"/>
              </a:rPr>
              <a:t>Bangalore &amp; Chennai, India: Network Operations</a:t>
            </a:r>
          </a:p>
        </p:txBody>
      </p:sp>
      <p:sp>
        <p:nvSpPr>
          <p:cNvPr id="11" name="Rectangle 10"/>
          <p:cNvSpPr/>
          <p:nvPr/>
        </p:nvSpPr>
        <p:spPr>
          <a:xfrm>
            <a:off x="381000" y="669705"/>
            <a:ext cx="1998222" cy="225404"/>
          </a:xfrm>
          <a:prstGeom prst="rect">
            <a:avLst/>
          </a:prstGeom>
          <a:solidFill>
            <a:srgbClr val="0033A0"/>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r>
              <a:rPr lang="en-US" sz="1050" b="1" dirty="0">
                <a:solidFill>
                  <a:schemeClr val="bg1"/>
                </a:solidFill>
                <a:latin typeface="Arial" panose="020B0604020202020204"/>
                <a:cs typeface="Arial" panose="020B0604020202020204" pitchFamily="34" charset="0"/>
              </a:rPr>
              <a:t>Service Delivery Locations</a:t>
            </a:r>
          </a:p>
        </p:txBody>
      </p:sp>
      <p:sp>
        <p:nvSpPr>
          <p:cNvPr id="12" name="TextBox 11"/>
          <p:cNvSpPr txBox="1"/>
          <p:nvPr/>
        </p:nvSpPr>
        <p:spPr>
          <a:xfrm>
            <a:off x="381000" y="3959609"/>
            <a:ext cx="3223260" cy="577081"/>
          </a:xfrm>
          <a:prstGeom prst="rect">
            <a:avLst/>
          </a:prstGeom>
          <a:ln w="6350"/>
        </p:spPr>
        <p:style>
          <a:lnRef idx="2">
            <a:schemeClr val="accent1"/>
          </a:lnRef>
          <a:fillRef idx="1">
            <a:schemeClr val="lt1"/>
          </a:fillRef>
          <a:effectRef idx="0">
            <a:schemeClr val="accent1"/>
          </a:effectRef>
          <a:fontRef idx="minor">
            <a:schemeClr val="dk1"/>
          </a:fontRef>
        </p:style>
        <p:txBody>
          <a:bodyPr wrap="square" rtlCol="0">
            <a:spAutoFit/>
          </a:bodyPr>
          <a:lstStyle/>
          <a:p>
            <a:pPr marL="171446" lvl="1" indent="-171446" defTabSz="914340" fontAlgn="ctr">
              <a:buFont typeface="Wingdings" panose="05000000000000000000" pitchFamily="2" charset="2"/>
              <a:buChar char="§"/>
              <a:defRPr/>
            </a:pPr>
            <a:r>
              <a:rPr lang="en-US" sz="1050" dirty="0">
                <a:solidFill>
                  <a:srgbClr val="000000"/>
                </a:solidFill>
                <a:latin typeface="Arial" panose="020B0604020202020204"/>
              </a:rPr>
              <a:t>Meraki Dashboard</a:t>
            </a:r>
          </a:p>
          <a:p>
            <a:pPr marL="171446" lvl="1" indent="-171446" defTabSz="914340" fontAlgn="ctr">
              <a:buFont typeface="Wingdings" panose="05000000000000000000" pitchFamily="2" charset="2"/>
              <a:buChar char="§"/>
              <a:defRPr/>
            </a:pPr>
            <a:r>
              <a:rPr lang="en-US" sz="1050" dirty="0" err="1">
                <a:solidFill>
                  <a:srgbClr val="000000"/>
                </a:solidFill>
                <a:latin typeface="Arial" panose="020B0604020202020204"/>
              </a:rPr>
              <a:t>Netbrain</a:t>
            </a:r>
            <a:r>
              <a:rPr lang="en-US" sz="1050" dirty="0">
                <a:solidFill>
                  <a:srgbClr val="000000"/>
                </a:solidFill>
                <a:latin typeface="Arial" panose="020B0604020202020204"/>
              </a:rPr>
              <a:t> owned by </a:t>
            </a:r>
            <a:r>
              <a:rPr lang="en-US" sz="1050" dirty="0" smtClean="0">
                <a:solidFill>
                  <a:srgbClr val="000000"/>
                </a:solidFill>
                <a:latin typeface="Arial" panose="020B0604020202020204"/>
              </a:rPr>
              <a:t>Incumbent</a:t>
            </a:r>
            <a:endParaRPr lang="en-US" sz="1050" dirty="0">
              <a:solidFill>
                <a:srgbClr val="000000"/>
              </a:solidFill>
              <a:latin typeface="Arial" panose="020B0604020202020204"/>
            </a:endParaRPr>
          </a:p>
          <a:p>
            <a:pPr marL="171446" lvl="1" indent="-171446" defTabSz="914340" fontAlgn="ctr">
              <a:buFont typeface="Wingdings" panose="05000000000000000000" pitchFamily="2" charset="2"/>
              <a:buChar char="§"/>
              <a:defRPr/>
            </a:pPr>
            <a:r>
              <a:rPr lang="en-US" sz="1050" dirty="0">
                <a:solidFill>
                  <a:srgbClr val="000000"/>
                </a:solidFill>
                <a:latin typeface="Arial" panose="020B0604020202020204"/>
              </a:rPr>
              <a:t>Wireshark</a:t>
            </a:r>
          </a:p>
        </p:txBody>
      </p:sp>
      <p:sp>
        <p:nvSpPr>
          <p:cNvPr id="13" name="Rectangle 12"/>
          <p:cNvSpPr/>
          <p:nvPr/>
        </p:nvSpPr>
        <p:spPr>
          <a:xfrm>
            <a:off x="381000" y="3731008"/>
            <a:ext cx="1575142" cy="228600"/>
          </a:xfrm>
          <a:prstGeom prst="rect">
            <a:avLst/>
          </a:prstGeom>
          <a:solidFill>
            <a:srgbClr val="0033A0"/>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r>
              <a:rPr lang="en-US" sz="1050" b="1" dirty="0">
                <a:solidFill>
                  <a:schemeClr val="bg1"/>
                </a:solidFill>
                <a:latin typeface="Arial" panose="020B0604020202020204"/>
                <a:cs typeface="Arial" panose="020B0604020202020204" pitchFamily="34" charset="0"/>
              </a:rPr>
              <a:t>Tower Specific Tools</a:t>
            </a:r>
          </a:p>
        </p:txBody>
      </p:sp>
      <p:sp>
        <p:nvSpPr>
          <p:cNvPr id="14" name="Footer Placeholder 13"/>
          <p:cNvSpPr>
            <a:spLocks noGrp="1"/>
          </p:cNvSpPr>
          <p:nvPr>
            <p:ph type="ftr" sz="quarter" idx="3"/>
          </p:nvPr>
        </p:nvSpPr>
        <p:spPr/>
        <p:txBody>
          <a:bodyPr/>
          <a:lstStyle/>
          <a:p>
            <a:r>
              <a:rPr lang="en-US" smtClean="0"/>
              <a:t>© 2020 Cognizant</a:t>
            </a:r>
            <a:endParaRPr lang="en-US" dirty="0"/>
          </a:p>
        </p:txBody>
      </p:sp>
      <p:sp>
        <p:nvSpPr>
          <p:cNvPr id="16" name="Slide Number Placeholder 15"/>
          <p:cNvSpPr>
            <a:spLocks noGrp="1"/>
          </p:cNvSpPr>
          <p:nvPr>
            <p:ph type="sldNum" sz="quarter" idx="4"/>
          </p:nvPr>
        </p:nvSpPr>
        <p:spPr/>
        <p:txBody>
          <a:bodyPr/>
          <a:lstStyle/>
          <a:p>
            <a:fld id="{2EFEF571-C9B4-4D92-A7F7-315B894862A8}" type="slidenum">
              <a:rPr lang="en-US" smtClean="0"/>
              <a:pPr/>
              <a:t>13</a:t>
            </a:fld>
            <a:endParaRPr lang="en-US" dirty="0"/>
          </a:p>
        </p:txBody>
      </p:sp>
      <p:graphicFrame>
        <p:nvGraphicFramePr>
          <p:cNvPr id="4" name="Table 3"/>
          <p:cNvGraphicFramePr>
            <a:graphicFrameLocks noGrp="1"/>
          </p:cNvGraphicFramePr>
          <p:nvPr>
            <p:extLst/>
          </p:nvPr>
        </p:nvGraphicFramePr>
        <p:xfrm>
          <a:off x="4000500" y="860115"/>
          <a:ext cx="4917358" cy="3514380"/>
        </p:xfrm>
        <a:graphic>
          <a:graphicData uri="http://schemas.openxmlformats.org/drawingml/2006/table">
            <a:tbl>
              <a:tblPr/>
              <a:tblGrid>
                <a:gridCol w="1864453">
                  <a:extLst>
                    <a:ext uri="{9D8B030D-6E8A-4147-A177-3AD203B41FA5}">
                      <a16:colId xmlns:a16="http://schemas.microsoft.com/office/drawing/2014/main" val="3881166643"/>
                    </a:ext>
                  </a:extLst>
                </a:gridCol>
                <a:gridCol w="1135615">
                  <a:extLst>
                    <a:ext uri="{9D8B030D-6E8A-4147-A177-3AD203B41FA5}">
                      <a16:colId xmlns:a16="http://schemas.microsoft.com/office/drawing/2014/main" val="590917309"/>
                    </a:ext>
                  </a:extLst>
                </a:gridCol>
                <a:gridCol w="1917290">
                  <a:extLst>
                    <a:ext uri="{9D8B030D-6E8A-4147-A177-3AD203B41FA5}">
                      <a16:colId xmlns:a16="http://schemas.microsoft.com/office/drawing/2014/main" val="636837373"/>
                    </a:ext>
                  </a:extLst>
                </a:gridCol>
              </a:tblGrid>
              <a:tr h="147894">
                <a:tc>
                  <a:txBody>
                    <a:bodyPr/>
                    <a:lstStyle/>
                    <a:p>
                      <a:pPr algn="l" rtl="0" fontAlgn="ctr"/>
                      <a:r>
                        <a:rPr lang="en-US" sz="1000" b="1" i="0" u="none" strike="noStrike" dirty="0">
                          <a:solidFill>
                            <a:srgbClr val="FFFFFF"/>
                          </a:solidFill>
                          <a:effectLst/>
                          <a:latin typeface="Arial" panose="020B0604020202020204" pitchFamily="34" charset="0"/>
                        </a:rPr>
                        <a:t>Device/Appliance</a:t>
                      </a:r>
                    </a:p>
                  </a:txBody>
                  <a:tcPr marL="7784" marR="7784" marT="778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l" rtl="0" fontAlgn="ctr"/>
                      <a:r>
                        <a:rPr lang="en-US" sz="1000" b="1" i="0" u="none" strike="noStrike" dirty="0">
                          <a:solidFill>
                            <a:srgbClr val="FFFFFF"/>
                          </a:solidFill>
                          <a:effectLst/>
                          <a:latin typeface="Arial" panose="020B0604020202020204" pitchFamily="34" charset="0"/>
                        </a:rPr>
                        <a:t>Initial Count</a:t>
                      </a:r>
                    </a:p>
                  </a:txBody>
                  <a:tcPr marL="7784" marR="7784" marT="778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l" rtl="0" fontAlgn="ctr"/>
                      <a:r>
                        <a:rPr lang="en-US" sz="1000" b="1" i="0" u="none" strike="noStrike">
                          <a:solidFill>
                            <a:srgbClr val="FFFFFF"/>
                          </a:solidFill>
                          <a:effectLst/>
                          <a:latin typeface="Arial" panose="020B0604020202020204" pitchFamily="34" charset="0"/>
                        </a:rPr>
                        <a:t>Validated Count</a:t>
                      </a:r>
                    </a:p>
                  </a:txBody>
                  <a:tcPr marL="7784" marR="7784" marT="778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extLst>
                  <a:ext uri="{0D108BD9-81ED-4DB2-BD59-A6C34878D82A}">
                    <a16:rowId xmlns:a16="http://schemas.microsoft.com/office/drawing/2014/main" val="2978564575"/>
                  </a:ext>
                </a:extLst>
              </a:tr>
              <a:tr h="124542">
                <a:tc>
                  <a:txBody>
                    <a:bodyPr/>
                    <a:lstStyle/>
                    <a:p>
                      <a:pPr marL="91440" algn="l" rtl="0" fontAlgn="b"/>
                      <a:r>
                        <a:rPr lang="en-US" sz="800" b="0" i="0" u="none" strike="noStrike" dirty="0">
                          <a:solidFill>
                            <a:srgbClr val="0D0D0D"/>
                          </a:solidFill>
                          <a:effectLst/>
                          <a:latin typeface="Arial" panose="020B0604020202020204" pitchFamily="34" charset="0"/>
                        </a:rPr>
                        <a:t>Meraki MR53</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220</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1" i="0" u="none" strike="noStrike" dirty="0">
                          <a:solidFill>
                            <a:srgbClr val="FFC000"/>
                          </a:solidFill>
                          <a:effectLst/>
                          <a:latin typeface="Arial" panose="020B0604020202020204" pitchFamily="34" charset="0"/>
                        </a:rPr>
                        <a:t>215</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43085327"/>
                  </a:ext>
                </a:extLst>
              </a:tr>
              <a:tr h="124542">
                <a:tc>
                  <a:txBody>
                    <a:bodyPr/>
                    <a:lstStyle/>
                    <a:p>
                      <a:pPr marL="91440" algn="l" rtl="0" fontAlgn="b"/>
                      <a:r>
                        <a:rPr lang="en-US" sz="800" b="0" i="0" u="none" strike="noStrike" dirty="0">
                          <a:solidFill>
                            <a:srgbClr val="0D0D0D"/>
                          </a:solidFill>
                          <a:effectLst/>
                          <a:latin typeface="Arial" panose="020B0604020202020204" pitchFamily="34" charset="0"/>
                        </a:rPr>
                        <a:t>Meraki MX400</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12</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1" i="0" u="none" strike="noStrike" dirty="0">
                          <a:solidFill>
                            <a:srgbClr val="FFC000"/>
                          </a:solidFill>
                          <a:effectLst/>
                          <a:latin typeface="Arial" panose="020B0604020202020204" pitchFamily="34" charset="0"/>
                        </a:rPr>
                        <a:t>4</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6062203"/>
                  </a:ext>
                </a:extLst>
              </a:tr>
              <a:tr h="124542">
                <a:tc>
                  <a:txBody>
                    <a:bodyPr/>
                    <a:lstStyle/>
                    <a:p>
                      <a:pPr marL="91440" algn="l" rtl="0" fontAlgn="b"/>
                      <a:r>
                        <a:rPr lang="en-US" sz="800" b="0" i="0" u="none" strike="noStrike" dirty="0">
                          <a:solidFill>
                            <a:srgbClr val="0D0D0D"/>
                          </a:solidFill>
                          <a:effectLst/>
                          <a:latin typeface="Arial" panose="020B0604020202020204" pitchFamily="34" charset="0"/>
                        </a:rPr>
                        <a:t>Meraki MX450</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2</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1" i="0" u="none" strike="noStrike" dirty="0">
                          <a:solidFill>
                            <a:srgbClr val="FFC000"/>
                          </a:solidFill>
                          <a:effectLst/>
                          <a:latin typeface="Arial" panose="020B0604020202020204" pitchFamily="34" charset="0"/>
                        </a:rPr>
                        <a:t>2</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640725"/>
                  </a:ext>
                </a:extLst>
              </a:tr>
              <a:tr h="124542">
                <a:tc>
                  <a:txBody>
                    <a:bodyPr/>
                    <a:lstStyle/>
                    <a:p>
                      <a:pPr marL="91440" algn="l" rtl="0" fontAlgn="b"/>
                      <a:r>
                        <a:rPr lang="en-US" sz="800" b="0" i="0" u="none" strike="noStrike" dirty="0">
                          <a:solidFill>
                            <a:srgbClr val="0D0D0D"/>
                          </a:solidFill>
                          <a:effectLst/>
                          <a:latin typeface="Arial" panose="020B0604020202020204" pitchFamily="34" charset="0"/>
                        </a:rPr>
                        <a:t>Meraki MX100</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10</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10</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23448506"/>
                  </a:ext>
                </a:extLst>
              </a:tr>
              <a:tr h="124542">
                <a:tc>
                  <a:txBody>
                    <a:bodyPr/>
                    <a:lstStyle/>
                    <a:p>
                      <a:pPr marL="91440" algn="l" rtl="0" fontAlgn="b"/>
                      <a:r>
                        <a:rPr lang="en-US" sz="800" b="0" i="0" u="none" strike="noStrike" dirty="0">
                          <a:solidFill>
                            <a:srgbClr val="0D0D0D"/>
                          </a:solidFill>
                          <a:effectLst/>
                          <a:latin typeface="Arial" panose="020B0604020202020204" pitchFamily="34" charset="0"/>
                        </a:rPr>
                        <a:t>Meraki MS220-8</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35</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1" i="0" u="none" strike="noStrike" dirty="0">
                          <a:solidFill>
                            <a:srgbClr val="FFC000"/>
                          </a:solidFill>
                          <a:effectLst/>
                          <a:latin typeface="Arial" panose="020B0604020202020204" pitchFamily="34" charset="0"/>
                        </a:rPr>
                        <a:t>31</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97044119"/>
                  </a:ext>
                </a:extLst>
              </a:tr>
              <a:tr h="124542">
                <a:tc>
                  <a:txBody>
                    <a:bodyPr/>
                    <a:lstStyle/>
                    <a:p>
                      <a:pPr marL="91440" algn="l" rtl="0" fontAlgn="b"/>
                      <a:r>
                        <a:rPr lang="en-US" sz="800" b="0" i="0" u="none" strike="noStrike" dirty="0">
                          <a:solidFill>
                            <a:srgbClr val="0D0D0D"/>
                          </a:solidFill>
                          <a:effectLst/>
                          <a:latin typeface="Arial" panose="020B0604020202020204" pitchFamily="34" charset="0"/>
                        </a:rPr>
                        <a:t>Meraki MS225-24</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6</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1" i="0" u="none" strike="noStrike" dirty="0">
                          <a:solidFill>
                            <a:srgbClr val="FFC000"/>
                          </a:solidFill>
                          <a:effectLst/>
                          <a:latin typeface="Arial" panose="020B0604020202020204" pitchFamily="34" charset="0"/>
                        </a:rPr>
                        <a:t>4</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8575305"/>
                  </a:ext>
                </a:extLst>
              </a:tr>
              <a:tr h="124542">
                <a:tc>
                  <a:txBody>
                    <a:bodyPr/>
                    <a:lstStyle/>
                    <a:p>
                      <a:pPr marL="91440" algn="l" rtl="0" fontAlgn="b"/>
                      <a:r>
                        <a:rPr lang="en-US" sz="800" b="0" i="0" u="none" strike="noStrike" dirty="0">
                          <a:solidFill>
                            <a:srgbClr val="0D0D0D"/>
                          </a:solidFill>
                          <a:effectLst/>
                          <a:latin typeface="Arial" panose="020B0604020202020204" pitchFamily="34" charset="0"/>
                        </a:rPr>
                        <a:t>Meraki MS350-24P</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a:solidFill>
                            <a:srgbClr val="0D0D0D"/>
                          </a:solidFill>
                          <a:effectLst/>
                          <a:latin typeface="Arial" panose="020B0604020202020204" pitchFamily="34" charset="0"/>
                        </a:rPr>
                        <a:t>8</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1" i="0" u="none" strike="noStrike" dirty="0">
                          <a:solidFill>
                            <a:srgbClr val="FFC000"/>
                          </a:solidFill>
                          <a:effectLst/>
                          <a:latin typeface="Arial" panose="020B0604020202020204" pitchFamily="34" charset="0"/>
                        </a:rPr>
                        <a:t>7</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7238185"/>
                  </a:ext>
                </a:extLst>
              </a:tr>
              <a:tr h="124542">
                <a:tc>
                  <a:txBody>
                    <a:bodyPr/>
                    <a:lstStyle/>
                    <a:p>
                      <a:pPr marL="91440" algn="l" rtl="0" fontAlgn="b"/>
                      <a:r>
                        <a:rPr lang="en-US" sz="800" b="0" i="0" u="none" strike="noStrike" dirty="0">
                          <a:solidFill>
                            <a:srgbClr val="0D0D0D"/>
                          </a:solidFill>
                          <a:effectLst/>
                          <a:latin typeface="Arial" panose="020B0604020202020204" pitchFamily="34" charset="0"/>
                        </a:rPr>
                        <a:t>Meraki MS350-48FP</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a:solidFill>
                            <a:srgbClr val="0D0D0D"/>
                          </a:solidFill>
                          <a:effectLst/>
                          <a:latin typeface="Arial" panose="020B0604020202020204" pitchFamily="34" charset="0"/>
                        </a:rPr>
                        <a:t>75</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1" i="0" u="none" strike="noStrike" dirty="0">
                          <a:solidFill>
                            <a:srgbClr val="FFC000"/>
                          </a:solidFill>
                          <a:effectLst/>
                          <a:latin typeface="Arial" panose="020B0604020202020204" pitchFamily="34" charset="0"/>
                        </a:rPr>
                        <a:t>76</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3461720"/>
                  </a:ext>
                </a:extLst>
              </a:tr>
              <a:tr h="124542">
                <a:tc>
                  <a:txBody>
                    <a:bodyPr/>
                    <a:lstStyle/>
                    <a:p>
                      <a:pPr marL="91440" algn="l" rtl="0" fontAlgn="b"/>
                      <a:r>
                        <a:rPr lang="en-US" sz="800" b="0" i="0" u="none" strike="noStrike" dirty="0">
                          <a:solidFill>
                            <a:srgbClr val="0D0D0D"/>
                          </a:solidFill>
                          <a:effectLst/>
                          <a:latin typeface="Arial" panose="020B0604020202020204" pitchFamily="34" charset="0"/>
                        </a:rPr>
                        <a:t>Meraki MS425-16</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a:solidFill>
                            <a:srgbClr val="0D0D0D"/>
                          </a:solidFill>
                          <a:effectLst/>
                          <a:latin typeface="Arial" panose="020B0604020202020204" pitchFamily="34" charset="0"/>
                        </a:rPr>
                        <a:t>8</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8</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4150172"/>
                  </a:ext>
                </a:extLst>
              </a:tr>
              <a:tr h="124542">
                <a:tc>
                  <a:txBody>
                    <a:bodyPr/>
                    <a:lstStyle/>
                    <a:p>
                      <a:pPr marL="91440" algn="l" rtl="0" fontAlgn="b"/>
                      <a:r>
                        <a:rPr lang="en-US" sz="800" b="0" i="0" u="none" strike="noStrike" dirty="0">
                          <a:solidFill>
                            <a:srgbClr val="0D0D0D"/>
                          </a:solidFill>
                          <a:effectLst/>
                          <a:latin typeface="Arial" panose="020B0604020202020204" pitchFamily="34" charset="0"/>
                        </a:rPr>
                        <a:t>Cisco ISE </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a:solidFill>
                            <a:srgbClr val="0D0D0D"/>
                          </a:solidFill>
                          <a:effectLst/>
                          <a:latin typeface="Arial" panose="020B0604020202020204" pitchFamily="34" charset="0"/>
                        </a:rPr>
                        <a:t>2</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2</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94495447"/>
                  </a:ext>
                </a:extLst>
              </a:tr>
              <a:tr h="124542">
                <a:tc>
                  <a:txBody>
                    <a:bodyPr/>
                    <a:lstStyle/>
                    <a:p>
                      <a:pPr marL="91440" algn="l" rtl="0" fontAlgn="b"/>
                      <a:r>
                        <a:rPr lang="en-US" sz="800" b="0" i="0" u="none" strike="noStrike" dirty="0">
                          <a:solidFill>
                            <a:srgbClr val="0D0D0D"/>
                          </a:solidFill>
                          <a:effectLst/>
                          <a:latin typeface="Arial" panose="020B0604020202020204" pitchFamily="34" charset="0"/>
                        </a:rPr>
                        <a:t>Cisco ASR 1001</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a:solidFill>
                            <a:srgbClr val="0D0D0D"/>
                          </a:solidFill>
                          <a:effectLst/>
                          <a:latin typeface="Arial" panose="020B0604020202020204" pitchFamily="34" charset="0"/>
                        </a:rPr>
                        <a:t>4</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4</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1991238"/>
                  </a:ext>
                </a:extLst>
              </a:tr>
              <a:tr h="124542">
                <a:tc>
                  <a:txBody>
                    <a:bodyPr/>
                    <a:lstStyle/>
                    <a:p>
                      <a:pPr marL="91440" algn="l" rtl="0" fontAlgn="b"/>
                      <a:r>
                        <a:rPr lang="en-US" sz="800" b="0" i="0" u="none" strike="noStrike">
                          <a:solidFill>
                            <a:srgbClr val="0D0D0D"/>
                          </a:solidFill>
                          <a:effectLst/>
                          <a:latin typeface="Arial" panose="020B0604020202020204" pitchFamily="34" charset="0"/>
                        </a:rPr>
                        <a:t>Cisco ASA 5500</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a:solidFill>
                            <a:srgbClr val="0D0D0D"/>
                          </a:solidFill>
                          <a:effectLst/>
                          <a:latin typeface="Arial" panose="020B0604020202020204" pitchFamily="34" charset="0"/>
                        </a:rPr>
                        <a:t>2</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1" i="0" u="none" strike="noStrike" dirty="0">
                          <a:solidFill>
                            <a:srgbClr val="FFC000"/>
                          </a:solidFill>
                          <a:effectLst/>
                          <a:latin typeface="Arial" panose="020B0604020202020204" pitchFamily="34" charset="0"/>
                        </a:rPr>
                        <a:t>4</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15158674"/>
                  </a:ext>
                </a:extLst>
              </a:tr>
              <a:tr h="124542">
                <a:tc>
                  <a:txBody>
                    <a:bodyPr/>
                    <a:lstStyle/>
                    <a:p>
                      <a:pPr marL="91440" algn="l" rtl="0" fontAlgn="b"/>
                      <a:r>
                        <a:rPr lang="en-US" sz="800" b="0" i="0" u="none" strike="noStrike">
                          <a:solidFill>
                            <a:srgbClr val="0D0D0D"/>
                          </a:solidFill>
                          <a:effectLst/>
                          <a:latin typeface="Arial" panose="020B0604020202020204" pitchFamily="34" charset="0"/>
                        </a:rPr>
                        <a:t>Cisco 3850</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4</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4</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38775630"/>
                  </a:ext>
                </a:extLst>
              </a:tr>
              <a:tr h="124542">
                <a:tc>
                  <a:txBody>
                    <a:bodyPr/>
                    <a:lstStyle/>
                    <a:p>
                      <a:pPr marL="91440" algn="l" rtl="0" fontAlgn="b"/>
                      <a:r>
                        <a:rPr lang="en-US" sz="800" b="0" i="0" u="none" strike="noStrike">
                          <a:solidFill>
                            <a:srgbClr val="0D0D0D"/>
                          </a:solidFill>
                          <a:effectLst/>
                          <a:latin typeface="Arial" panose="020B0604020202020204" pitchFamily="34" charset="0"/>
                        </a:rPr>
                        <a:t>Cisco Firepower 4120 Series</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4</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4</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98843427"/>
                  </a:ext>
                </a:extLst>
              </a:tr>
              <a:tr h="124542">
                <a:tc>
                  <a:txBody>
                    <a:bodyPr/>
                    <a:lstStyle/>
                    <a:p>
                      <a:pPr marL="91440" algn="l" rtl="0" fontAlgn="b"/>
                      <a:r>
                        <a:rPr lang="en-US" sz="800" b="0" i="0" u="none" strike="noStrike">
                          <a:solidFill>
                            <a:srgbClr val="0D0D0D"/>
                          </a:solidFill>
                          <a:effectLst/>
                          <a:latin typeface="Arial" panose="020B0604020202020204" pitchFamily="34" charset="0"/>
                        </a:rPr>
                        <a:t>Fortigate Firewall</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8</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1" i="0" u="none" strike="noStrike" dirty="0">
                          <a:solidFill>
                            <a:srgbClr val="FFC000"/>
                          </a:solidFill>
                          <a:effectLst/>
                          <a:latin typeface="Arial" panose="020B0604020202020204" pitchFamily="34" charset="0"/>
                        </a:rPr>
                        <a:t>10</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34698015"/>
                  </a:ext>
                </a:extLst>
              </a:tr>
              <a:tr h="241300">
                <a:tc>
                  <a:txBody>
                    <a:bodyPr/>
                    <a:lstStyle/>
                    <a:p>
                      <a:pPr marL="91440" algn="l" rtl="0" fontAlgn="b"/>
                      <a:r>
                        <a:rPr lang="en-US" sz="800" b="0" i="0" u="none" strike="noStrike" dirty="0">
                          <a:solidFill>
                            <a:srgbClr val="0D0D0D"/>
                          </a:solidFill>
                          <a:effectLst/>
                          <a:latin typeface="Arial" panose="020B0604020202020204" pitchFamily="34" charset="0"/>
                        </a:rPr>
                        <a:t>Cisco 4000 Series </a:t>
                      </a:r>
                    </a:p>
                  </a:txBody>
                  <a:tcPr marL="7784" marR="7784" marT="778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12</a:t>
                      </a:r>
                    </a:p>
                  </a:txBody>
                  <a:tcPr marL="7784" marR="7784" marT="778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1" i="0" u="none" strike="noStrike" dirty="0">
                          <a:solidFill>
                            <a:srgbClr val="FFC000"/>
                          </a:solidFill>
                          <a:effectLst/>
                          <a:latin typeface="Arial" panose="020B0604020202020204" pitchFamily="34" charset="0"/>
                        </a:rPr>
                        <a:t>0 </a:t>
                      </a:r>
                      <a:endParaRPr lang="en-US" sz="800" b="1" i="0" u="none" strike="noStrike" dirty="0" smtClean="0">
                        <a:solidFill>
                          <a:srgbClr val="FFC000"/>
                        </a:solidFill>
                        <a:effectLst/>
                        <a:latin typeface="Arial" panose="020B0604020202020204" pitchFamily="34" charset="0"/>
                      </a:endParaRPr>
                    </a:p>
                  </a:txBody>
                  <a:tcPr marL="7784" marR="7784" marT="778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70736485"/>
                  </a:ext>
                </a:extLst>
              </a:tr>
              <a:tr h="124542">
                <a:tc>
                  <a:txBody>
                    <a:bodyPr/>
                    <a:lstStyle/>
                    <a:p>
                      <a:pPr marL="91440" algn="l" rtl="0" fontAlgn="b"/>
                      <a:r>
                        <a:rPr lang="en-US" sz="800" b="0" i="0" u="none" strike="noStrike" dirty="0">
                          <a:solidFill>
                            <a:srgbClr val="0D0D0D"/>
                          </a:solidFill>
                          <a:effectLst/>
                          <a:latin typeface="Arial" panose="020B0604020202020204" pitchFamily="34" charset="0"/>
                        </a:rPr>
                        <a:t>APC UPS</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12</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1" i="0" u="none" strike="noStrike" dirty="0">
                          <a:solidFill>
                            <a:srgbClr val="FFC000"/>
                          </a:solidFill>
                          <a:effectLst/>
                          <a:latin typeface="Arial" panose="020B0604020202020204" pitchFamily="34" charset="0"/>
                        </a:rPr>
                        <a:t>0</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47553764"/>
                  </a:ext>
                </a:extLst>
              </a:tr>
              <a:tr h="124542">
                <a:tc>
                  <a:txBody>
                    <a:bodyPr/>
                    <a:lstStyle/>
                    <a:p>
                      <a:pPr marL="91440" algn="l" rtl="0" fontAlgn="b"/>
                      <a:r>
                        <a:rPr lang="en-US" sz="800" b="0" i="0" u="none" strike="noStrike">
                          <a:solidFill>
                            <a:srgbClr val="0D0D0D"/>
                          </a:solidFill>
                          <a:effectLst/>
                          <a:latin typeface="Arial" panose="020B0604020202020204" pitchFamily="34" charset="0"/>
                        </a:rPr>
                        <a:t>Grandstream G Series Analog IP GW</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5</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1" i="0" u="none" strike="noStrike" dirty="0">
                          <a:solidFill>
                            <a:srgbClr val="FFC000"/>
                          </a:solidFill>
                          <a:effectLst/>
                          <a:latin typeface="Arial" panose="020B0604020202020204" pitchFamily="34" charset="0"/>
                        </a:rPr>
                        <a:t>0</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0177705"/>
                  </a:ext>
                </a:extLst>
              </a:tr>
              <a:tr h="124542">
                <a:tc>
                  <a:txBody>
                    <a:bodyPr/>
                    <a:lstStyle/>
                    <a:p>
                      <a:pPr marL="91440" algn="l" rtl="0" fontAlgn="b"/>
                      <a:r>
                        <a:rPr lang="en-US" sz="800" b="0" i="0" u="none" strike="noStrike">
                          <a:solidFill>
                            <a:srgbClr val="0D0D0D"/>
                          </a:solidFill>
                          <a:effectLst/>
                          <a:latin typeface="Arial" panose="020B0604020202020204" pitchFamily="34" charset="0"/>
                        </a:rPr>
                        <a:t>Infoblox (DHCP)</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a:solidFill>
                            <a:srgbClr val="0D0D0D"/>
                          </a:solidFill>
                          <a:effectLst/>
                          <a:latin typeface="Arial" panose="020B0604020202020204" pitchFamily="34" charset="0"/>
                        </a:rPr>
                        <a:t>7</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7</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96205322"/>
                  </a:ext>
                </a:extLst>
              </a:tr>
              <a:tr h="124542">
                <a:tc>
                  <a:txBody>
                    <a:bodyPr/>
                    <a:lstStyle/>
                    <a:p>
                      <a:pPr marL="91440" algn="l" rtl="0" fontAlgn="b"/>
                      <a:r>
                        <a:rPr lang="en-US" sz="800" b="0" i="0" u="none" strike="noStrike" dirty="0">
                          <a:solidFill>
                            <a:srgbClr val="0D0D0D"/>
                          </a:solidFill>
                          <a:effectLst/>
                          <a:latin typeface="Arial" panose="020B0604020202020204" pitchFamily="34" charset="0"/>
                        </a:rPr>
                        <a:t>15kVA APC UPS 208V</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11</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1" i="0" u="none" strike="noStrike" dirty="0">
                          <a:solidFill>
                            <a:srgbClr val="FFC000"/>
                          </a:solidFill>
                          <a:effectLst/>
                          <a:latin typeface="Arial" panose="020B0604020202020204" pitchFamily="34" charset="0"/>
                        </a:rPr>
                        <a:t>1</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92816903"/>
                  </a:ext>
                </a:extLst>
              </a:tr>
              <a:tr h="124542">
                <a:tc>
                  <a:txBody>
                    <a:bodyPr/>
                    <a:lstStyle/>
                    <a:p>
                      <a:pPr marL="91440" algn="l" rtl="0" fontAlgn="b"/>
                      <a:r>
                        <a:rPr lang="en-US" sz="800" b="0" i="0" u="none" strike="noStrike" dirty="0">
                          <a:solidFill>
                            <a:srgbClr val="0D0D0D"/>
                          </a:solidFill>
                          <a:effectLst/>
                          <a:latin typeface="Arial" panose="020B0604020202020204" pitchFamily="34" charset="0"/>
                        </a:rPr>
                        <a:t>16kVA APC UPS </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3</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1" i="0" u="none" strike="noStrike" dirty="0">
                          <a:solidFill>
                            <a:srgbClr val="FFC000"/>
                          </a:solidFill>
                          <a:effectLst/>
                          <a:latin typeface="Arial" panose="020B0604020202020204" pitchFamily="34" charset="0"/>
                        </a:rPr>
                        <a:t>10</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0250512"/>
                  </a:ext>
                </a:extLst>
              </a:tr>
              <a:tr h="124542">
                <a:tc>
                  <a:txBody>
                    <a:bodyPr/>
                    <a:lstStyle/>
                    <a:p>
                      <a:pPr marL="91440" algn="l" rtl="0" fontAlgn="b"/>
                      <a:r>
                        <a:rPr lang="en-US" sz="800" b="0" i="0" u="none" strike="noStrike" dirty="0">
                          <a:solidFill>
                            <a:srgbClr val="0D0D0D"/>
                          </a:solidFill>
                          <a:effectLst/>
                          <a:latin typeface="Arial" panose="020B0604020202020204" pitchFamily="34" charset="0"/>
                        </a:rPr>
                        <a:t>15KVA APC UPS</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1</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FFC000"/>
                          </a:solidFill>
                          <a:effectLst/>
                          <a:latin typeface="Arial" panose="020B0604020202020204" pitchFamily="34" charset="0"/>
                        </a:rPr>
                        <a:t>0</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20971525"/>
                  </a:ext>
                </a:extLst>
              </a:tr>
              <a:tr h="124542">
                <a:tc>
                  <a:txBody>
                    <a:bodyPr/>
                    <a:lstStyle/>
                    <a:p>
                      <a:pPr marL="91440" algn="l" rtl="0" fontAlgn="b"/>
                      <a:r>
                        <a:rPr lang="nn-NO" sz="800" b="0" i="0" u="none" strike="noStrike" dirty="0">
                          <a:solidFill>
                            <a:srgbClr val="0D0D0D"/>
                          </a:solidFill>
                          <a:effectLst/>
                          <a:latin typeface="Arial" panose="020B0604020202020204" pitchFamily="34" charset="0"/>
                        </a:rPr>
                        <a:t>Liebert GXT4 10 KVA UPS</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1</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1</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5692874"/>
                  </a:ext>
                </a:extLst>
              </a:tr>
              <a:tr h="124542">
                <a:tc>
                  <a:txBody>
                    <a:bodyPr/>
                    <a:lstStyle/>
                    <a:p>
                      <a:pPr marL="91440" algn="l" rtl="0" fontAlgn="b"/>
                      <a:r>
                        <a:rPr lang="nn-NO" sz="800" b="0" i="0" u="none" strike="noStrike" dirty="0">
                          <a:solidFill>
                            <a:srgbClr val="0D0D0D"/>
                          </a:solidFill>
                          <a:effectLst/>
                          <a:latin typeface="Arial" panose="020B0604020202020204" pitchFamily="34" charset="0"/>
                        </a:rPr>
                        <a:t>Liebert GXT4 10 KVA UPS</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1</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1</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8641785"/>
                  </a:ext>
                </a:extLst>
              </a:tr>
              <a:tr h="124542">
                <a:tc>
                  <a:txBody>
                    <a:bodyPr/>
                    <a:lstStyle/>
                    <a:p>
                      <a:pPr marL="91440" algn="l" rtl="0" fontAlgn="b"/>
                      <a:r>
                        <a:rPr lang="nn-NO" sz="800" b="0" i="0" u="none" strike="noStrike" dirty="0">
                          <a:solidFill>
                            <a:srgbClr val="0D0D0D"/>
                          </a:solidFill>
                          <a:effectLst/>
                          <a:latin typeface="Arial" panose="020B0604020202020204" pitchFamily="34" charset="0"/>
                        </a:rPr>
                        <a:t>Liebert GXT4 10 KVA UPS</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1</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ctr" rtl="0" fontAlgn="b"/>
                      <a:r>
                        <a:rPr lang="en-US" sz="800" b="0" i="0" u="none" strike="noStrike" dirty="0">
                          <a:solidFill>
                            <a:srgbClr val="0D0D0D"/>
                          </a:solidFill>
                          <a:effectLst/>
                          <a:latin typeface="Arial" panose="020B0604020202020204" pitchFamily="34" charset="0"/>
                        </a:rPr>
                        <a:t>1</a:t>
                      </a:r>
                    </a:p>
                  </a:txBody>
                  <a:tcPr marL="7784" marR="7784" marT="778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39164588"/>
                  </a:ext>
                </a:extLst>
              </a:tr>
            </a:tbl>
          </a:graphicData>
        </a:graphic>
      </p:graphicFrame>
    </p:spTree>
    <p:extLst>
      <p:ext uri="{BB962C8B-B14F-4D97-AF65-F5344CB8AC3E}">
        <p14:creationId xmlns:p14="http://schemas.microsoft.com/office/powerpoint/2010/main" val="387450771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solidFill>
                  <a:srgbClr val="0033A0"/>
                </a:solidFill>
              </a:rPr>
              <a:t>Cloud Computing</a:t>
            </a:r>
            <a:endParaRPr lang="en-US" b="1" dirty="0">
              <a:solidFill>
                <a:srgbClr val="0033A0"/>
              </a:solidFill>
            </a:endParaRPr>
          </a:p>
        </p:txBody>
      </p:sp>
      <p:sp>
        <p:nvSpPr>
          <p:cNvPr id="3" name="Footer Placeholder 2"/>
          <p:cNvSpPr>
            <a:spLocks noGrp="1"/>
          </p:cNvSpPr>
          <p:nvPr>
            <p:ph type="ftr" sz="quarter" idx="3"/>
          </p:nvPr>
        </p:nvSpPr>
        <p:spPr/>
        <p:txBody>
          <a:bodyPr/>
          <a:lstStyle/>
          <a:p>
            <a:pPr defTabSz="685800">
              <a:defRPr/>
            </a:pPr>
            <a:r>
              <a:rPr lang="en-US" sz="750" smtClean="0">
                <a:solidFill>
                  <a:srgbClr val="0033A0"/>
                </a:solidFill>
                <a:latin typeface="Arial" panose="020B0604020202020204"/>
                <a:cs typeface="+mn-cs"/>
              </a:rPr>
              <a:t>© 2020 Cognizant</a:t>
            </a:r>
            <a:endParaRPr lang="en-US" sz="750" dirty="0">
              <a:solidFill>
                <a:srgbClr val="0033A0"/>
              </a:solidFill>
              <a:latin typeface="Arial" panose="020B0604020202020204"/>
              <a:cs typeface="+mn-cs"/>
            </a:endParaRPr>
          </a:p>
        </p:txBody>
      </p:sp>
      <p:sp>
        <p:nvSpPr>
          <p:cNvPr id="4" name="Slide Number Placeholder 3"/>
          <p:cNvSpPr>
            <a:spLocks noGrp="1"/>
          </p:cNvSpPr>
          <p:nvPr>
            <p:ph type="sldNum" sz="quarter" idx="4"/>
          </p:nvPr>
        </p:nvSpPr>
        <p:spPr>
          <a:xfrm>
            <a:off x="385100" y="4744153"/>
            <a:ext cx="228600" cy="138499"/>
          </a:xfrm>
        </p:spPr>
        <p:txBody>
          <a:bodyPr/>
          <a:lstStyle/>
          <a:p>
            <a:pPr defTabSz="685800">
              <a:defRPr/>
            </a:pPr>
            <a:fld id="{2EFEF571-C9B4-4D92-A7F7-315B894862A8}" type="slidenum">
              <a:rPr lang="en-US" sz="900">
                <a:solidFill>
                  <a:srgbClr val="0033A0"/>
                </a:solidFill>
                <a:latin typeface="Arial" panose="020B0604020202020204"/>
                <a:cs typeface="+mn-cs"/>
              </a:rPr>
              <a:pPr defTabSz="685800">
                <a:defRPr/>
              </a:pPr>
              <a:t>14</a:t>
            </a:fld>
            <a:endParaRPr lang="en-US" sz="900" dirty="0">
              <a:solidFill>
                <a:srgbClr val="0033A0"/>
              </a:solidFill>
              <a:latin typeface="Arial" panose="020B0604020202020204"/>
              <a:cs typeface="+mn-cs"/>
            </a:endParaRPr>
          </a:p>
        </p:txBody>
      </p:sp>
      <p:sp>
        <p:nvSpPr>
          <p:cNvPr id="6" name="Rectangle 5"/>
          <p:cNvSpPr/>
          <p:nvPr/>
        </p:nvSpPr>
        <p:spPr>
          <a:xfrm>
            <a:off x="4583875" y="1318547"/>
            <a:ext cx="1575142" cy="228600"/>
          </a:xfrm>
          <a:prstGeom prst="rect">
            <a:avLst/>
          </a:prstGeom>
          <a:solidFill>
            <a:srgbClr val="328DFF"/>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r>
              <a:rPr lang="en-US" sz="1050" b="1" dirty="0">
                <a:solidFill>
                  <a:schemeClr val="bg1"/>
                </a:solidFill>
                <a:latin typeface="Arial" panose="020B0604020202020204"/>
                <a:cs typeface="Arial" panose="020B0604020202020204" pitchFamily="34" charset="0"/>
              </a:rPr>
              <a:t>Key Volumetric</a:t>
            </a:r>
          </a:p>
        </p:txBody>
      </p:sp>
      <p:sp>
        <p:nvSpPr>
          <p:cNvPr id="8" name="TextBox 7"/>
          <p:cNvSpPr txBox="1"/>
          <p:nvPr/>
        </p:nvSpPr>
        <p:spPr>
          <a:xfrm>
            <a:off x="365445" y="1562031"/>
            <a:ext cx="4036836" cy="369332"/>
          </a:xfrm>
          <a:prstGeom prst="rect">
            <a:avLst/>
          </a:prstGeom>
          <a:ln w="6350"/>
        </p:spPr>
        <p:style>
          <a:lnRef idx="2">
            <a:schemeClr val="accent1"/>
          </a:lnRef>
          <a:fillRef idx="1">
            <a:schemeClr val="lt1"/>
          </a:fillRef>
          <a:effectRef idx="0">
            <a:schemeClr val="accent1"/>
          </a:effectRef>
          <a:fontRef idx="minor">
            <a:schemeClr val="dk1"/>
          </a:fontRef>
        </p:style>
        <p:txBody>
          <a:bodyPr wrap="square" rtlCol="0">
            <a:spAutoFit/>
          </a:bodyPr>
          <a:lstStyle/>
          <a:p>
            <a:pPr marL="171446" indent="-171446" defTabSz="914340" fontAlgn="ctr">
              <a:buFont typeface="Wingdings" panose="05000000000000000000" pitchFamily="2" charset="2"/>
              <a:buChar char="§"/>
              <a:defRPr/>
            </a:pPr>
            <a:r>
              <a:rPr lang="en-US" sz="900" kern="0" dirty="0">
                <a:solidFill>
                  <a:prstClr val="black"/>
                </a:solidFill>
                <a:latin typeface="Arial" panose="020B0604020202020204" pitchFamily="34" charset="0"/>
                <a:ea typeface="ＭＳ Ｐゴシック" pitchFamily="-12" charset="-128"/>
                <a:cs typeface="Arial" panose="020B0604020202020204" pitchFamily="34" charset="0"/>
              </a:rPr>
              <a:t>24x7 coverage</a:t>
            </a:r>
          </a:p>
          <a:p>
            <a:pPr marL="514346" lvl="1" indent="-171446" defTabSz="914340" fontAlgn="ctr">
              <a:buFont typeface="Wingdings" panose="05000000000000000000" pitchFamily="2" charset="2"/>
              <a:buChar char="§"/>
              <a:defRPr/>
            </a:pPr>
            <a:r>
              <a:rPr lang="en-US" sz="900" kern="0" dirty="0">
                <a:solidFill>
                  <a:prstClr val="black"/>
                </a:solidFill>
                <a:latin typeface="Arial" panose="020B0604020202020204" pitchFamily="34" charset="0"/>
                <a:ea typeface="ＭＳ Ｐゴシック" pitchFamily="-12" charset="-128"/>
                <a:cs typeface="Arial" panose="020B0604020202020204" pitchFamily="34" charset="0"/>
              </a:rPr>
              <a:t>16x5 on floor + on call for </a:t>
            </a:r>
            <a:r>
              <a:rPr lang="en-US" sz="900" kern="0" dirty="0" smtClean="0">
                <a:solidFill>
                  <a:prstClr val="black"/>
                </a:solidFill>
                <a:latin typeface="Arial" panose="020B0604020202020204" pitchFamily="34" charset="0"/>
                <a:ea typeface="ＭＳ Ｐゴシック" pitchFamily="-12" charset="-128"/>
                <a:cs typeface="Arial" panose="020B0604020202020204" pitchFamily="34" charset="0"/>
              </a:rPr>
              <a:t>P1 &amp; P2</a:t>
            </a:r>
            <a:endParaRPr lang="en-US" sz="900" kern="0" dirty="0">
              <a:solidFill>
                <a:prstClr val="black"/>
              </a:solidFill>
              <a:latin typeface="Arial" panose="020B0604020202020204" pitchFamily="34" charset="0"/>
              <a:ea typeface="ＭＳ Ｐゴシック" pitchFamily="-12" charset="-128"/>
              <a:cs typeface="Arial" panose="020B0604020202020204" pitchFamily="34" charset="0"/>
            </a:endParaRPr>
          </a:p>
        </p:txBody>
      </p:sp>
      <p:sp>
        <p:nvSpPr>
          <p:cNvPr id="9" name="Rectangle 8"/>
          <p:cNvSpPr/>
          <p:nvPr/>
        </p:nvSpPr>
        <p:spPr>
          <a:xfrm>
            <a:off x="365445" y="1336627"/>
            <a:ext cx="1575142" cy="228600"/>
          </a:xfrm>
          <a:prstGeom prst="rect">
            <a:avLst/>
          </a:prstGeom>
          <a:solidFill>
            <a:srgbClr val="328DFF"/>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r>
              <a:rPr lang="en-US" sz="1050" b="1" dirty="0">
                <a:solidFill>
                  <a:schemeClr val="bg1"/>
                </a:solidFill>
                <a:latin typeface="Arial" panose="020B0604020202020204"/>
                <a:cs typeface="Arial" panose="020B0604020202020204" pitchFamily="34" charset="0"/>
              </a:rPr>
              <a:t>Service Window</a:t>
            </a:r>
          </a:p>
        </p:txBody>
      </p:sp>
      <p:sp>
        <p:nvSpPr>
          <p:cNvPr id="10" name="TextBox 9"/>
          <p:cNvSpPr txBox="1"/>
          <p:nvPr/>
        </p:nvSpPr>
        <p:spPr>
          <a:xfrm>
            <a:off x="365445" y="870750"/>
            <a:ext cx="4036837" cy="369332"/>
          </a:xfrm>
          <a:prstGeom prst="rect">
            <a:avLst/>
          </a:prstGeom>
          <a:ln w="6350"/>
        </p:spPr>
        <p:style>
          <a:lnRef idx="2">
            <a:schemeClr val="accent1"/>
          </a:lnRef>
          <a:fillRef idx="1">
            <a:schemeClr val="lt1"/>
          </a:fillRef>
          <a:effectRef idx="0">
            <a:schemeClr val="accent1"/>
          </a:effectRef>
          <a:fontRef idx="minor">
            <a:schemeClr val="dk1"/>
          </a:fontRef>
        </p:style>
        <p:txBody>
          <a:bodyPr wrap="square" rtlCol="0">
            <a:spAutoFit/>
          </a:bodyPr>
          <a:lstStyle/>
          <a:p>
            <a:pPr marL="171446" indent="-171446" defTabSz="914340" fontAlgn="ctr">
              <a:buFont typeface="Wingdings" panose="05000000000000000000" pitchFamily="2" charset="2"/>
              <a:buChar char="§"/>
              <a:defRPr/>
            </a:pPr>
            <a:r>
              <a:rPr lang="en-US" sz="900" kern="0" dirty="0">
                <a:solidFill>
                  <a:prstClr val="black"/>
                </a:solidFill>
                <a:latin typeface="Arial" panose="020B0604020202020204" pitchFamily="34" charset="0"/>
                <a:ea typeface="ＭＳ Ｐゴシック" pitchFamily="-12" charset="-128"/>
                <a:cs typeface="Arial" panose="020B0604020202020204" pitchFamily="34" charset="0"/>
              </a:rPr>
              <a:t>Charlotte, NC: Cloud Architect &amp; Lead</a:t>
            </a:r>
          </a:p>
          <a:p>
            <a:pPr marL="171446" indent="-171446" defTabSz="914340" fontAlgn="ctr">
              <a:buFont typeface="Wingdings" panose="05000000000000000000" pitchFamily="2" charset="2"/>
              <a:buChar char="§"/>
              <a:defRPr/>
            </a:pPr>
            <a:r>
              <a:rPr lang="en-US" sz="900" kern="0" dirty="0">
                <a:solidFill>
                  <a:prstClr val="black"/>
                </a:solidFill>
                <a:latin typeface="Arial" panose="020B0604020202020204" pitchFamily="34" charset="0"/>
                <a:ea typeface="ＭＳ Ｐゴシック" pitchFamily="-12" charset="-128"/>
                <a:cs typeface="Arial" panose="020B0604020202020204" pitchFamily="34" charset="0"/>
              </a:rPr>
              <a:t>Bangalore &amp; Chennai, India: Cloud Operations</a:t>
            </a:r>
          </a:p>
        </p:txBody>
      </p:sp>
      <p:sp>
        <p:nvSpPr>
          <p:cNvPr id="11" name="Rectangle 10"/>
          <p:cNvSpPr/>
          <p:nvPr/>
        </p:nvSpPr>
        <p:spPr>
          <a:xfrm>
            <a:off x="365444" y="645347"/>
            <a:ext cx="1998222" cy="225404"/>
          </a:xfrm>
          <a:prstGeom prst="rect">
            <a:avLst/>
          </a:prstGeom>
          <a:solidFill>
            <a:srgbClr val="0033A0"/>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r>
              <a:rPr lang="en-US" sz="1050" b="1" dirty="0">
                <a:solidFill>
                  <a:schemeClr val="bg1"/>
                </a:solidFill>
                <a:latin typeface="Arial" panose="020B0604020202020204"/>
                <a:cs typeface="Arial" panose="020B0604020202020204" pitchFamily="34" charset="0"/>
              </a:rPr>
              <a:t>Service Delivery Locations</a:t>
            </a:r>
          </a:p>
        </p:txBody>
      </p:sp>
      <p:sp>
        <p:nvSpPr>
          <p:cNvPr id="12" name="TextBox 11"/>
          <p:cNvSpPr txBox="1"/>
          <p:nvPr/>
        </p:nvSpPr>
        <p:spPr>
          <a:xfrm>
            <a:off x="388298" y="2240640"/>
            <a:ext cx="4013984" cy="1200329"/>
          </a:xfrm>
          <a:prstGeom prst="rect">
            <a:avLst/>
          </a:prstGeom>
          <a:ln w="6350"/>
        </p:spPr>
        <p:style>
          <a:lnRef idx="2">
            <a:schemeClr val="accent1"/>
          </a:lnRef>
          <a:fillRef idx="1">
            <a:schemeClr val="lt1"/>
          </a:fillRef>
          <a:effectRef idx="0">
            <a:schemeClr val="accent1"/>
          </a:effectRef>
          <a:fontRef idx="minor">
            <a:schemeClr val="dk1"/>
          </a:fontRef>
        </p:style>
        <p:txBody>
          <a:bodyPr wrap="square" rtlCol="0">
            <a:spAutoFit/>
          </a:bodyPr>
          <a:lstStyle/>
          <a:p>
            <a:pPr marL="171446" lvl="1" indent="-171446" defTabSz="914340" fontAlgn="ctr">
              <a:buFont typeface="Wingdings" panose="05000000000000000000" pitchFamily="2" charset="2"/>
              <a:buChar char="§"/>
              <a:defRPr/>
            </a:pPr>
            <a:r>
              <a:rPr lang="en-US" sz="900" dirty="0" err="1">
                <a:solidFill>
                  <a:srgbClr val="000000"/>
                </a:solidFill>
                <a:latin typeface="Arial" panose="020B0604020202020204" pitchFamily="34" charset="0"/>
                <a:cs typeface="Arial" panose="020B0604020202020204" pitchFamily="34" charset="0"/>
              </a:rPr>
              <a:t>Zabbix</a:t>
            </a:r>
            <a:r>
              <a:rPr lang="en-US" sz="900" dirty="0">
                <a:solidFill>
                  <a:srgbClr val="000000"/>
                </a:solidFill>
                <a:latin typeface="Arial" panose="020B0604020202020204" pitchFamily="34" charset="0"/>
                <a:cs typeface="Arial" panose="020B0604020202020204" pitchFamily="34" charset="0"/>
              </a:rPr>
              <a:t> – OS, DB &amp; MW Monitoring</a:t>
            </a:r>
          </a:p>
          <a:p>
            <a:pPr marL="171446" lvl="1" indent="-171446" defTabSz="914340" fontAlgn="ctr">
              <a:buFont typeface="Wingdings" panose="05000000000000000000" pitchFamily="2" charset="2"/>
              <a:buChar char="§"/>
              <a:defRPr/>
            </a:pPr>
            <a:r>
              <a:rPr lang="en-US" sz="900" dirty="0" err="1">
                <a:solidFill>
                  <a:srgbClr val="000000"/>
                </a:solidFill>
                <a:latin typeface="Arial" panose="020B0604020202020204" pitchFamily="34" charset="0"/>
                <a:cs typeface="Arial" panose="020B0604020202020204" pitchFamily="34" charset="0"/>
              </a:rPr>
              <a:t>ServiceNow</a:t>
            </a:r>
            <a:r>
              <a:rPr lang="en-US" sz="900" dirty="0">
                <a:solidFill>
                  <a:srgbClr val="000000"/>
                </a:solidFill>
                <a:latin typeface="Arial" panose="020B0604020202020204" pitchFamily="34" charset="0"/>
                <a:cs typeface="Arial" panose="020B0604020202020204" pitchFamily="34" charset="0"/>
              </a:rPr>
              <a:t> – ITSM</a:t>
            </a:r>
          </a:p>
          <a:p>
            <a:pPr marL="171446" lvl="1" indent="-171446" defTabSz="914340" fontAlgn="ctr">
              <a:buFont typeface="Wingdings" panose="05000000000000000000" pitchFamily="2" charset="2"/>
              <a:buChar char="§"/>
              <a:defRPr/>
            </a:pPr>
            <a:r>
              <a:rPr lang="en-US" sz="900" dirty="0">
                <a:solidFill>
                  <a:srgbClr val="000000"/>
                </a:solidFill>
                <a:latin typeface="Arial" panose="020B0604020202020204" pitchFamily="34" charset="0"/>
                <a:cs typeface="Arial" panose="020B0604020202020204" pitchFamily="34" charset="0"/>
              </a:rPr>
              <a:t>IBM </a:t>
            </a:r>
            <a:r>
              <a:rPr lang="en-US" sz="900" dirty="0" err="1">
                <a:solidFill>
                  <a:srgbClr val="000000"/>
                </a:solidFill>
                <a:latin typeface="Arial" panose="020B0604020202020204" pitchFamily="34" charset="0"/>
                <a:cs typeface="Arial" panose="020B0604020202020204" pitchFamily="34" charset="0"/>
              </a:rPr>
              <a:t>Bigfix</a:t>
            </a:r>
            <a:r>
              <a:rPr lang="en-US" sz="900" dirty="0">
                <a:solidFill>
                  <a:srgbClr val="000000"/>
                </a:solidFill>
                <a:latin typeface="Arial" panose="020B0604020202020204" pitchFamily="34" charset="0"/>
                <a:cs typeface="Arial" panose="020B0604020202020204" pitchFamily="34" charset="0"/>
              </a:rPr>
              <a:t> – Server Patch Management</a:t>
            </a:r>
          </a:p>
          <a:p>
            <a:pPr marL="171446" lvl="1" indent="-171446" defTabSz="914340" fontAlgn="ctr">
              <a:buFont typeface="Wingdings" panose="05000000000000000000" pitchFamily="2" charset="2"/>
              <a:buChar char="§"/>
              <a:defRPr/>
            </a:pPr>
            <a:r>
              <a:rPr lang="en-US" sz="900" dirty="0">
                <a:solidFill>
                  <a:srgbClr val="000000"/>
                </a:solidFill>
                <a:latin typeface="Arial" panose="020B0604020202020204" pitchFamily="34" charset="0"/>
                <a:cs typeface="Arial" panose="020B0604020202020204" pitchFamily="34" charset="0"/>
              </a:rPr>
              <a:t>Cloud native monitoring tools (Azure Monitor &amp; AWS </a:t>
            </a:r>
            <a:r>
              <a:rPr lang="en-US" sz="900" dirty="0" err="1">
                <a:solidFill>
                  <a:srgbClr val="000000"/>
                </a:solidFill>
                <a:latin typeface="Arial" panose="020B0604020202020204" pitchFamily="34" charset="0"/>
                <a:cs typeface="Arial" panose="020B0604020202020204" pitchFamily="34" charset="0"/>
              </a:rPr>
              <a:t>Cloudwatch</a:t>
            </a:r>
            <a:r>
              <a:rPr lang="en-US" sz="900" dirty="0">
                <a:solidFill>
                  <a:srgbClr val="000000"/>
                </a:solidFill>
                <a:latin typeface="Arial" panose="020B0604020202020204" pitchFamily="34" charset="0"/>
                <a:cs typeface="Arial" panose="020B0604020202020204" pitchFamily="34" charset="0"/>
              </a:rPr>
              <a:t>)</a:t>
            </a:r>
          </a:p>
          <a:p>
            <a:pPr marL="171446" lvl="1" indent="-171446" defTabSz="914340" fontAlgn="ctr">
              <a:buFont typeface="Wingdings" panose="05000000000000000000" pitchFamily="2" charset="2"/>
              <a:buChar char="§"/>
              <a:defRPr/>
            </a:pPr>
            <a:r>
              <a:rPr lang="en-US" sz="900" dirty="0" err="1">
                <a:solidFill>
                  <a:srgbClr val="000000"/>
                </a:solidFill>
                <a:latin typeface="Arial" panose="020B0604020202020204" pitchFamily="34" charset="0"/>
                <a:cs typeface="Arial" panose="020B0604020202020204" pitchFamily="34" charset="0"/>
              </a:rPr>
              <a:t>Ansible</a:t>
            </a:r>
            <a:endParaRPr lang="en-US" sz="900" dirty="0">
              <a:solidFill>
                <a:srgbClr val="000000"/>
              </a:solidFill>
              <a:latin typeface="Arial" panose="020B0604020202020204" pitchFamily="34" charset="0"/>
              <a:cs typeface="Arial" panose="020B0604020202020204" pitchFamily="34" charset="0"/>
            </a:endParaRPr>
          </a:p>
          <a:p>
            <a:pPr marL="171446" lvl="1" indent="-171446" defTabSz="914340" fontAlgn="ctr">
              <a:buFont typeface="Wingdings" panose="05000000000000000000" pitchFamily="2" charset="2"/>
              <a:buChar char="§"/>
              <a:defRPr/>
            </a:pPr>
            <a:r>
              <a:rPr lang="en-US" sz="900" dirty="0" err="1">
                <a:solidFill>
                  <a:srgbClr val="000000"/>
                </a:solidFill>
                <a:latin typeface="Arial" panose="020B0604020202020204" pitchFamily="34" charset="0"/>
                <a:cs typeface="Arial" panose="020B0604020202020204" pitchFamily="34" charset="0"/>
              </a:rPr>
              <a:t>Moogsoft</a:t>
            </a:r>
            <a:r>
              <a:rPr lang="en-US" sz="900" dirty="0">
                <a:solidFill>
                  <a:srgbClr val="000000"/>
                </a:solidFill>
                <a:latin typeface="Arial" panose="020B0604020202020204" pitchFamily="34" charset="0"/>
                <a:cs typeface="Arial" panose="020B0604020202020204" pitchFamily="34" charset="0"/>
              </a:rPr>
              <a:t> – Event Management</a:t>
            </a:r>
          </a:p>
          <a:p>
            <a:pPr marL="171446" lvl="1" indent="-171446" defTabSz="914340" fontAlgn="ctr">
              <a:buFont typeface="Wingdings" panose="05000000000000000000" pitchFamily="2" charset="2"/>
              <a:buChar char="§"/>
              <a:defRPr/>
            </a:pPr>
            <a:r>
              <a:rPr lang="en-US" sz="900" dirty="0">
                <a:solidFill>
                  <a:srgbClr val="000000"/>
                </a:solidFill>
                <a:latin typeface="Arial" panose="020B0604020202020204" pitchFamily="34" charset="0"/>
                <a:cs typeface="Arial" panose="020B0604020202020204" pitchFamily="34" charset="0"/>
              </a:rPr>
              <a:t>Cloud native backups</a:t>
            </a:r>
          </a:p>
          <a:p>
            <a:pPr marL="171446" lvl="1" indent="-171446" defTabSz="914340" fontAlgn="ctr">
              <a:buFont typeface="Wingdings" panose="05000000000000000000" pitchFamily="2" charset="2"/>
              <a:buChar char="§"/>
              <a:defRPr/>
            </a:pPr>
            <a:r>
              <a:rPr lang="en-US" sz="900" dirty="0" err="1">
                <a:solidFill>
                  <a:srgbClr val="000000"/>
                </a:solidFill>
                <a:latin typeface="Arial" panose="020B0604020202020204" pitchFamily="34" charset="0"/>
                <a:cs typeface="Arial" panose="020B0604020202020204" pitchFamily="34" charset="0"/>
              </a:rPr>
              <a:t>ServiceNow</a:t>
            </a:r>
            <a:r>
              <a:rPr lang="en-US" sz="900" dirty="0">
                <a:solidFill>
                  <a:srgbClr val="000000"/>
                </a:solidFill>
                <a:latin typeface="Arial" panose="020B0604020202020204" pitchFamily="34" charset="0"/>
                <a:cs typeface="Arial" panose="020B0604020202020204" pitchFamily="34" charset="0"/>
              </a:rPr>
              <a:t> Reporting &amp; Incumbent provided reporting tools</a:t>
            </a:r>
          </a:p>
        </p:txBody>
      </p:sp>
      <p:sp>
        <p:nvSpPr>
          <p:cNvPr id="13" name="Rectangle 12"/>
          <p:cNvSpPr/>
          <p:nvPr/>
        </p:nvSpPr>
        <p:spPr>
          <a:xfrm>
            <a:off x="388299" y="2012039"/>
            <a:ext cx="1575142" cy="228600"/>
          </a:xfrm>
          <a:prstGeom prst="rect">
            <a:avLst/>
          </a:prstGeom>
          <a:solidFill>
            <a:srgbClr val="0033A0"/>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r>
              <a:rPr lang="en-US" sz="1050" b="1" dirty="0">
                <a:solidFill>
                  <a:schemeClr val="bg1"/>
                </a:solidFill>
                <a:latin typeface="Arial" panose="020B0604020202020204"/>
                <a:cs typeface="Arial" panose="020B0604020202020204" pitchFamily="34" charset="0"/>
              </a:rPr>
              <a:t>Tower Specific Tools</a:t>
            </a:r>
          </a:p>
        </p:txBody>
      </p:sp>
      <p:sp>
        <p:nvSpPr>
          <p:cNvPr id="14" name="TextBox 13"/>
          <p:cNvSpPr txBox="1"/>
          <p:nvPr/>
        </p:nvSpPr>
        <p:spPr>
          <a:xfrm>
            <a:off x="368902" y="3891952"/>
            <a:ext cx="4033380" cy="646331"/>
          </a:xfrm>
          <a:prstGeom prst="rect">
            <a:avLst/>
          </a:prstGeom>
          <a:ln w="6350"/>
        </p:spPr>
        <p:style>
          <a:lnRef idx="2">
            <a:schemeClr val="accent1"/>
          </a:lnRef>
          <a:fillRef idx="1">
            <a:schemeClr val="lt1"/>
          </a:fillRef>
          <a:effectRef idx="0">
            <a:schemeClr val="accent1"/>
          </a:effectRef>
          <a:fontRef idx="minor">
            <a:schemeClr val="dk1"/>
          </a:fontRef>
        </p:style>
        <p:txBody>
          <a:bodyPr wrap="square" rtlCol="0">
            <a:spAutoFit/>
          </a:bodyPr>
          <a:lstStyle/>
          <a:p>
            <a:pPr marL="171446" indent="-171446" defTabSz="914340" fontAlgn="ctr">
              <a:buFont typeface="Wingdings" panose="05000000000000000000" pitchFamily="2" charset="2"/>
              <a:buChar char="§"/>
              <a:defRPr/>
            </a:pPr>
            <a:r>
              <a:rPr lang="en-US" sz="900" kern="0" dirty="0">
                <a:solidFill>
                  <a:prstClr val="black"/>
                </a:solidFill>
                <a:latin typeface="Arial" panose="020B0604020202020204" pitchFamily="34" charset="0"/>
                <a:ea typeface="ＭＳ Ｐゴシック" pitchFamily="-12" charset="-128"/>
                <a:cs typeface="Arial" panose="020B0604020202020204" pitchFamily="34" charset="0"/>
              </a:rPr>
              <a:t>All business tiers are at Platinum: RPO - &lt;15 min, RTO &lt; 1 Hour</a:t>
            </a:r>
          </a:p>
          <a:p>
            <a:pPr marL="171446" indent="-171446" defTabSz="914340" fontAlgn="ctr">
              <a:buFont typeface="Wingdings" panose="05000000000000000000" pitchFamily="2" charset="2"/>
              <a:buChar char="§"/>
              <a:defRPr/>
            </a:pPr>
            <a:r>
              <a:rPr lang="en-US" sz="900" kern="0" dirty="0">
                <a:solidFill>
                  <a:prstClr val="black"/>
                </a:solidFill>
                <a:latin typeface="Arial" panose="020B0604020202020204" pitchFamily="34" charset="0"/>
                <a:ea typeface="ＭＳ Ｐゴシック" pitchFamily="-12" charset="-128"/>
                <a:cs typeface="Arial" panose="020B0604020202020204" pitchFamily="34" charset="0"/>
              </a:rPr>
              <a:t>Cloud native tools to support the DR</a:t>
            </a:r>
          </a:p>
          <a:p>
            <a:pPr marL="171446" indent="-171446" defTabSz="914340" fontAlgn="ctr">
              <a:buFont typeface="Wingdings" panose="05000000000000000000" pitchFamily="2" charset="2"/>
              <a:buChar char="§"/>
              <a:defRPr/>
            </a:pPr>
            <a:r>
              <a:rPr lang="en-US" sz="900" kern="0" dirty="0">
                <a:solidFill>
                  <a:prstClr val="black"/>
                </a:solidFill>
                <a:latin typeface="Arial" panose="020B0604020202020204" pitchFamily="34" charset="0"/>
                <a:ea typeface="ＭＳ Ｐゴシック" pitchFamily="-12" charset="-128"/>
                <a:cs typeface="Arial" panose="020B0604020202020204" pitchFamily="34" charset="0"/>
              </a:rPr>
              <a:t>Annual DR Test for Core Infrastructure</a:t>
            </a:r>
          </a:p>
          <a:p>
            <a:pPr marL="171446" indent="-171446" defTabSz="914340" fontAlgn="ctr">
              <a:buFont typeface="Wingdings" panose="05000000000000000000" pitchFamily="2" charset="2"/>
              <a:buChar char="§"/>
              <a:defRPr/>
            </a:pPr>
            <a:r>
              <a:rPr lang="en-US" sz="900" kern="0" dirty="0">
                <a:solidFill>
                  <a:prstClr val="black"/>
                </a:solidFill>
                <a:latin typeface="Arial" panose="020B0604020202020204" pitchFamily="34" charset="0"/>
                <a:ea typeface="ＭＳ Ｐゴシック" pitchFamily="-12" charset="-128"/>
                <a:cs typeface="Arial" panose="020B0604020202020204" pitchFamily="34" charset="0"/>
              </a:rPr>
              <a:t>For others, it is based on critical application requirements</a:t>
            </a:r>
          </a:p>
        </p:txBody>
      </p:sp>
      <p:sp>
        <p:nvSpPr>
          <p:cNvPr id="15" name="Rectangle 14"/>
          <p:cNvSpPr/>
          <p:nvPr/>
        </p:nvSpPr>
        <p:spPr>
          <a:xfrm>
            <a:off x="388299" y="3663616"/>
            <a:ext cx="1575142" cy="228600"/>
          </a:xfrm>
          <a:prstGeom prst="rect">
            <a:avLst/>
          </a:prstGeom>
          <a:solidFill>
            <a:srgbClr val="328DFF"/>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r>
              <a:rPr lang="en-US" sz="1050" b="1" dirty="0">
                <a:solidFill>
                  <a:schemeClr val="bg1"/>
                </a:solidFill>
                <a:latin typeface="Arial" panose="020B0604020202020204"/>
                <a:cs typeface="Arial" panose="020B0604020202020204" pitchFamily="34" charset="0"/>
              </a:rPr>
              <a:t>BCP/DR</a:t>
            </a:r>
          </a:p>
        </p:txBody>
      </p:sp>
      <p:sp>
        <p:nvSpPr>
          <p:cNvPr id="16" name="TextBox 15"/>
          <p:cNvSpPr txBox="1"/>
          <p:nvPr/>
        </p:nvSpPr>
        <p:spPr>
          <a:xfrm>
            <a:off x="4583875" y="862485"/>
            <a:ext cx="4370120" cy="369332"/>
          </a:xfrm>
          <a:prstGeom prst="rect">
            <a:avLst/>
          </a:prstGeom>
          <a:ln w="6350"/>
        </p:spPr>
        <p:style>
          <a:lnRef idx="2">
            <a:schemeClr val="accent1"/>
          </a:lnRef>
          <a:fillRef idx="1">
            <a:schemeClr val="lt1"/>
          </a:fillRef>
          <a:effectRef idx="0">
            <a:schemeClr val="accent1"/>
          </a:effectRef>
          <a:fontRef idx="minor">
            <a:schemeClr val="dk1"/>
          </a:fontRef>
        </p:style>
        <p:txBody>
          <a:bodyPr wrap="square" rtlCol="0">
            <a:spAutoFit/>
          </a:bodyPr>
          <a:lstStyle/>
          <a:p>
            <a:pPr marL="171446" lvl="1" indent="-171446" defTabSz="914340" fontAlgn="ctr">
              <a:buSzPct val="100000"/>
              <a:buFont typeface="Wingdings" panose="05000000000000000000" pitchFamily="2" charset="2"/>
              <a:buChar char="§"/>
              <a:tabLst>
                <a:tab pos="1606510" algn="l"/>
              </a:tabLst>
              <a:defRPr/>
            </a:pPr>
            <a:r>
              <a:rPr lang="en-US" sz="900" kern="0" dirty="0">
                <a:solidFill>
                  <a:prstClr val="black"/>
                </a:solidFill>
                <a:latin typeface="Arial" panose="020B0604020202020204" pitchFamily="34" charset="0"/>
                <a:ea typeface="ＭＳ Ｐゴシック" pitchFamily="-12" charset="-128"/>
                <a:cs typeface="Arial" panose="020B0604020202020204" pitchFamily="34" charset="0"/>
              </a:rPr>
              <a:t>Cloud Connectivity – fully redundant Azure Express Route and AWS Direct Connect through Equinix Cloud Platform</a:t>
            </a:r>
            <a:r>
              <a:rPr lang="en-US" sz="900" kern="0" dirty="0" smtClean="0">
                <a:solidFill>
                  <a:prstClr val="black"/>
                </a:solidFill>
                <a:latin typeface="Arial" panose="020B0604020202020204" pitchFamily="34" charset="0"/>
                <a:ea typeface="ＭＳ Ｐゴシック" pitchFamily="-12" charset="-128"/>
                <a:cs typeface="Arial" panose="020B0604020202020204" pitchFamily="34" charset="0"/>
              </a:rPr>
              <a:t>.</a:t>
            </a:r>
            <a:endParaRPr lang="en-US" sz="900" kern="0" dirty="0">
              <a:solidFill>
                <a:prstClr val="black"/>
              </a:solidFill>
              <a:latin typeface="Arial" panose="020B0604020202020204" pitchFamily="34" charset="0"/>
              <a:ea typeface="ＭＳ Ｐゴシック" pitchFamily="-12" charset="-128"/>
              <a:cs typeface="Arial" panose="020B0604020202020204" pitchFamily="34" charset="0"/>
            </a:endParaRPr>
          </a:p>
        </p:txBody>
      </p:sp>
      <p:sp>
        <p:nvSpPr>
          <p:cNvPr id="17" name="Rectangle 16"/>
          <p:cNvSpPr/>
          <p:nvPr/>
        </p:nvSpPr>
        <p:spPr>
          <a:xfrm>
            <a:off x="4588428" y="654667"/>
            <a:ext cx="2355919" cy="207818"/>
          </a:xfrm>
          <a:prstGeom prst="rect">
            <a:avLst/>
          </a:prstGeom>
          <a:solidFill>
            <a:srgbClr val="0033A0"/>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r>
              <a:rPr lang="en-US" sz="1050" b="1" dirty="0">
                <a:solidFill>
                  <a:schemeClr val="bg1"/>
                </a:solidFill>
                <a:latin typeface="Arial" panose="020B0604020202020204"/>
                <a:cs typeface="Arial" panose="020B0604020202020204" pitchFamily="34" charset="0"/>
              </a:rPr>
              <a:t>Networking &amp; Network Tools</a:t>
            </a:r>
          </a:p>
        </p:txBody>
      </p:sp>
      <p:graphicFrame>
        <p:nvGraphicFramePr>
          <p:cNvPr id="20" name="Table 19"/>
          <p:cNvGraphicFramePr>
            <a:graphicFrameLocks noGrp="1"/>
          </p:cNvGraphicFramePr>
          <p:nvPr>
            <p:extLst/>
          </p:nvPr>
        </p:nvGraphicFramePr>
        <p:xfrm>
          <a:off x="4583876" y="1547147"/>
          <a:ext cx="4370120" cy="2991129"/>
        </p:xfrm>
        <a:graphic>
          <a:graphicData uri="http://schemas.openxmlformats.org/drawingml/2006/table">
            <a:tbl>
              <a:tblPr firstRow="1" bandRow="1"/>
              <a:tblGrid>
                <a:gridCol w="1755899">
                  <a:extLst>
                    <a:ext uri="{9D8B030D-6E8A-4147-A177-3AD203B41FA5}">
                      <a16:colId xmlns:a16="http://schemas.microsoft.com/office/drawing/2014/main" val="1006857232"/>
                    </a:ext>
                  </a:extLst>
                </a:gridCol>
                <a:gridCol w="2614221">
                  <a:extLst>
                    <a:ext uri="{9D8B030D-6E8A-4147-A177-3AD203B41FA5}">
                      <a16:colId xmlns:a16="http://schemas.microsoft.com/office/drawing/2014/main" val="3450395940"/>
                    </a:ext>
                  </a:extLst>
                </a:gridCol>
              </a:tblGrid>
              <a:tr h="136267">
                <a:tc>
                  <a:txBody>
                    <a:bodyPr/>
                    <a:lstStyle/>
                    <a:p>
                      <a:pPr algn="l" rtl="0" fontAlgn="b"/>
                      <a:r>
                        <a:rPr lang="en-US" sz="800" b="1" i="0" u="none" strike="noStrike" dirty="0">
                          <a:solidFill>
                            <a:srgbClr val="FFFFFF"/>
                          </a:solidFill>
                          <a:effectLst/>
                          <a:latin typeface="Arial" panose="020B0604020202020204" pitchFamily="34" charset="0"/>
                        </a:rPr>
                        <a:t>Service  line items</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3A0"/>
                    </a:solidFill>
                  </a:tcPr>
                </a:tc>
                <a:tc>
                  <a:txBody>
                    <a:bodyPr/>
                    <a:lstStyle/>
                    <a:p>
                      <a:pPr algn="ctr" rtl="0" fontAlgn="b"/>
                      <a:r>
                        <a:rPr lang="en-US" sz="800" b="1" i="0" u="none" strike="noStrike" dirty="0" smtClean="0">
                          <a:solidFill>
                            <a:srgbClr val="FFFFFF"/>
                          </a:solidFill>
                          <a:effectLst/>
                          <a:latin typeface="Arial" panose="020B0604020202020204" pitchFamily="34" charset="0"/>
                        </a:rPr>
                        <a:t>Details</a:t>
                      </a:r>
                      <a:endParaRPr lang="en-US" sz="800" b="1" i="0" u="none" strike="noStrike" dirty="0">
                        <a:solidFill>
                          <a:srgbClr val="FFFFFF"/>
                        </a:solidFill>
                        <a:effectLst/>
                        <a:latin typeface="Arial" panose="020B0604020202020204" pitchFamily="34" charset="0"/>
                      </a:endParaRP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363694001"/>
                  </a:ext>
                </a:extLst>
              </a:tr>
              <a:tr h="136267">
                <a:tc>
                  <a:txBody>
                    <a:bodyPr/>
                    <a:lstStyle/>
                    <a:p>
                      <a:pPr algn="l" rtl="0" fontAlgn="b"/>
                      <a:r>
                        <a:rPr lang="en-US" sz="800" b="0" i="0" u="none" strike="noStrike" dirty="0" smtClean="0">
                          <a:solidFill>
                            <a:srgbClr val="000000"/>
                          </a:solidFill>
                          <a:effectLst/>
                          <a:latin typeface="Arial" panose="020B0604020202020204" pitchFamily="34" charset="0"/>
                        </a:rPr>
                        <a:t>Azure regions </a:t>
                      </a:r>
                      <a:endParaRPr lang="en-US" sz="800" b="0" i="0" u="none" strike="noStrike" dirty="0">
                        <a:solidFill>
                          <a:srgbClr val="000000"/>
                        </a:solidFill>
                        <a:effectLst/>
                        <a:latin typeface="Arial" panose="020B0604020202020204" pitchFamily="34" charset="0"/>
                      </a:endParaRP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1219170" rtl="0" eaLnBrk="1" fontAlgn="b" latinLnBrk="0" hangingPunct="1"/>
                      <a:r>
                        <a:rPr lang="en-US" sz="800" b="0" i="0" u="none" strike="noStrike" kern="1200" noProof="0" dirty="0" smtClean="0">
                          <a:solidFill>
                            <a:srgbClr val="000000"/>
                          </a:solidFill>
                          <a:effectLst/>
                          <a:latin typeface="Arial" panose="020B0604020202020204" pitchFamily="34" charset="0"/>
                          <a:ea typeface="+mn-ea"/>
                          <a:cs typeface="+mn-cs"/>
                        </a:rPr>
                        <a:t>US East and US West</a:t>
                      </a:r>
                      <a:endParaRPr lang="en-US" sz="800" b="0" i="0" u="none" strike="noStrike" kern="1200" dirty="0">
                        <a:solidFill>
                          <a:srgbClr val="000000"/>
                        </a:solidFill>
                        <a:effectLst/>
                        <a:latin typeface="Arial" panose="020B0604020202020204" pitchFamily="34" charset="0"/>
                        <a:ea typeface="+mn-ea"/>
                        <a:cs typeface="+mn-cs"/>
                      </a:endParaRP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3569548"/>
                  </a:ext>
                </a:extLst>
              </a:tr>
              <a:tr h="136267">
                <a:tc>
                  <a:txBody>
                    <a:bodyPr/>
                    <a:lstStyle/>
                    <a:p>
                      <a:pPr algn="l" rtl="0" fontAlgn="b"/>
                      <a:r>
                        <a:rPr lang="en-US" sz="800" b="0" i="0" u="none" strike="noStrike" dirty="0" smtClean="0">
                          <a:solidFill>
                            <a:srgbClr val="000000"/>
                          </a:solidFill>
                          <a:effectLst/>
                          <a:latin typeface="Arial" panose="020B0604020202020204" pitchFamily="34" charset="0"/>
                        </a:rPr>
                        <a:t>AWS regions </a:t>
                      </a:r>
                      <a:endParaRPr lang="en-US" sz="800" b="0" i="0" u="none" strike="noStrike" dirty="0">
                        <a:solidFill>
                          <a:srgbClr val="000000"/>
                        </a:solidFill>
                        <a:effectLst/>
                        <a:latin typeface="Arial" panose="020B0604020202020204" pitchFamily="34" charset="0"/>
                      </a:endParaRP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r>
                        <a:rPr lang="en-US" sz="800" b="0" i="0" u="none" strike="noStrike" kern="1200" noProof="0" dirty="0" smtClean="0">
                          <a:solidFill>
                            <a:srgbClr val="000000"/>
                          </a:solidFill>
                          <a:effectLst/>
                          <a:latin typeface="Arial" panose="020B0604020202020204" pitchFamily="34" charset="0"/>
                          <a:ea typeface="+mn-ea"/>
                          <a:cs typeface="+mn-cs"/>
                        </a:rPr>
                        <a:t>US East 1</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0023426"/>
                  </a:ext>
                </a:extLst>
              </a:tr>
              <a:tr h="136267">
                <a:tc>
                  <a:txBody>
                    <a:bodyPr/>
                    <a:lstStyle/>
                    <a:p>
                      <a:pPr algn="l" rtl="0" fontAlgn="b"/>
                      <a:r>
                        <a:rPr lang="en-US" sz="800" b="0" i="0" u="none" strike="noStrike" dirty="0">
                          <a:solidFill>
                            <a:srgbClr val="000000"/>
                          </a:solidFill>
                          <a:effectLst/>
                          <a:latin typeface="Arial" panose="020B0604020202020204" pitchFamily="34" charset="0"/>
                        </a:rPr>
                        <a:t>Azure: Windows - Prod, UAT, Test</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US" sz="800" b="0" i="0" u="none" strike="noStrike" dirty="0">
                          <a:solidFill>
                            <a:srgbClr val="000000"/>
                          </a:solidFill>
                          <a:effectLst/>
                          <a:latin typeface="Arial" panose="020B0604020202020204" pitchFamily="34" charset="0"/>
                        </a:rPr>
                        <a:t>65</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78932708"/>
                  </a:ext>
                </a:extLst>
              </a:tr>
              <a:tr h="136267">
                <a:tc>
                  <a:txBody>
                    <a:bodyPr/>
                    <a:lstStyle/>
                    <a:p>
                      <a:pPr algn="l" rtl="0" fontAlgn="b"/>
                      <a:r>
                        <a:rPr lang="en-US" sz="800" b="0" i="0" u="none" strike="noStrike" dirty="0">
                          <a:solidFill>
                            <a:srgbClr val="000000"/>
                          </a:solidFill>
                          <a:effectLst/>
                          <a:latin typeface="Arial" panose="020B0604020202020204" pitchFamily="34" charset="0"/>
                        </a:rPr>
                        <a:t>Azure: Windows - Dev</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US" sz="800" b="0" i="0" u="none" strike="noStrike" dirty="0">
                          <a:solidFill>
                            <a:srgbClr val="000000"/>
                          </a:solidFill>
                          <a:effectLst/>
                          <a:latin typeface="Arial" panose="020B0604020202020204" pitchFamily="34" charset="0"/>
                        </a:rPr>
                        <a:t>9</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9080271"/>
                  </a:ext>
                </a:extLst>
              </a:tr>
              <a:tr h="136267">
                <a:tc>
                  <a:txBody>
                    <a:bodyPr/>
                    <a:lstStyle/>
                    <a:p>
                      <a:pPr algn="l" rtl="0" fontAlgn="b"/>
                      <a:r>
                        <a:rPr lang="en-US" sz="800" b="0" i="0" u="none" strike="noStrike" dirty="0">
                          <a:solidFill>
                            <a:srgbClr val="000000"/>
                          </a:solidFill>
                          <a:effectLst/>
                          <a:latin typeface="Arial" panose="020B0604020202020204" pitchFamily="34" charset="0"/>
                        </a:rPr>
                        <a:t>Azure: Linux - Prod, UAT, Test</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US" sz="800" b="0" i="0" u="none" strike="noStrike" dirty="0">
                          <a:solidFill>
                            <a:srgbClr val="000000"/>
                          </a:solidFill>
                          <a:effectLst/>
                          <a:latin typeface="Arial" panose="020B0604020202020204" pitchFamily="34" charset="0"/>
                        </a:rPr>
                        <a:t>0</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3451896"/>
                  </a:ext>
                </a:extLst>
              </a:tr>
              <a:tr h="136267">
                <a:tc>
                  <a:txBody>
                    <a:bodyPr/>
                    <a:lstStyle/>
                    <a:p>
                      <a:pPr algn="l" rtl="0" fontAlgn="b"/>
                      <a:r>
                        <a:rPr lang="en-US" sz="800" b="0" i="0" u="none" strike="noStrike" dirty="0">
                          <a:solidFill>
                            <a:srgbClr val="000000"/>
                          </a:solidFill>
                          <a:effectLst/>
                          <a:latin typeface="Arial" panose="020B0604020202020204" pitchFamily="34" charset="0"/>
                        </a:rPr>
                        <a:t>Azure: Linux - Dev</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US" sz="800" b="0" i="0" u="none" strike="noStrike" dirty="0">
                          <a:solidFill>
                            <a:srgbClr val="000000"/>
                          </a:solidFill>
                          <a:effectLst/>
                          <a:latin typeface="Arial" panose="020B0604020202020204" pitchFamily="34" charset="0"/>
                        </a:rPr>
                        <a:t>1</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40848957"/>
                  </a:ext>
                </a:extLst>
              </a:tr>
              <a:tr h="136267">
                <a:tc>
                  <a:txBody>
                    <a:bodyPr/>
                    <a:lstStyle/>
                    <a:p>
                      <a:pPr algn="l" rtl="0" fontAlgn="b"/>
                      <a:r>
                        <a:rPr lang="en-US" sz="800" b="0" i="0" u="none" strike="noStrike" dirty="0">
                          <a:solidFill>
                            <a:srgbClr val="000000"/>
                          </a:solidFill>
                          <a:effectLst/>
                          <a:latin typeface="Arial" panose="020B0604020202020204" pitchFamily="34" charset="0"/>
                        </a:rPr>
                        <a:t>Azure AD servers</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US" sz="800" b="0" i="0" u="none" strike="noStrike" dirty="0">
                          <a:solidFill>
                            <a:srgbClr val="000000"/>
                          </a:solidFill>
                          <a:effectLst/>
                          <a:latin typeface="Arial" panose="020B0604020202020204" pitchFamily="34" charset="0"/>
                        </a:rPr>
                        <a:t>18</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85914181"/>
                  </a:ext>
                </a:extLst>
              </a:tr>
              <a:tr h="265789">
                <a:tc>
                  <a:txBody>
                    <a:bodyPr/>
                    <a:lstStyle/>
                    <a:p>
                      <a:pPr algn="l" rtl="0" fontAlgn="b"/>
                      <a:r>
                        <a:rPr lang="en-US" sz="800" b="0" i="0" u="none" strike="noStrike" dirty="0">
                          <a:solidFill>
                            <a:srgbClr val="000000"/>
                          </a:solidFill>
                          <a:effectLst/>
                          <a:latin typeface="Arial" panose="020B0604020202020204" pitchFamily="34" charset="0"/>
                        </a:rPr>
                        <a:t>Windows 2016 Web Application Proxy for ADFS</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US" sz="800" b="0" i="0" u="none" strike="noStrike" dirty="0">
                          <a:solidFill>
                            <a:srgbClr val="000000"/>
                          </a:solidFill>
                          <a:effectLst/>
                          <a:latin typeface="Arial" panose="020B0604020202020204" pitchFamily="34" charset="0"/>
                        </a:rPr>
                        <a:t>6</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5693866"/>
                  </a:ext>
                </a:extLst>
              </a:tr>
              <a:tr h="136267">
                <a:tc>
                  <a:txBody>
                    <a:bodyPr/>
                    <a:lstStyle/>
                    <a:p>
                      <a:pPr algn="l" rtl="0" fontAlgn="b"/>
                      <a:r>
                        <a:rPr lang="en-US" sz="800" b="0" i="0" u="none" strike="noStrike" dirty="0">
                          <a:solidFill>
                            <a:srgbClr val="000000"/>
                          </a:solidFill>
                          <a:effectLst/>
                          <a:latin typeface="Arial" panose="020B0604020202020204" pitchFamily="34" charset="0"/>
                        </a:rPr>
                        <a:t>Windows PKI servers</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US" sz="800" b="0" i="0" u="none" strike="noStrike" dirty="0">
                          <a:solidFill>
                            <a:srgbClr val="000000"/>
                          </a:solidFill>
                          <a:effectLst/>
                          <a:latin typeface="Arial" panose="020B0604020202020204" pitchFamily="34" charset="0"/>
                        </a:rPr>
                        <a:t>4</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52123826"/>
                  </a:ext>
                </a:extLst>
              </a:tr>
              <a:tr h="136267">
                <a:tc>
                  <a:txBody>
                    <a:bodyPr/>
                    <a:lstStyle/>
                    <a:p>
                      <a:pPr algn="l" rtl="0" fontAlgn="b"/>
                      <a:r>
                        <a:rPr lang="en-US" sz="800" b="0" i="0" u="none" strike="noStrike" dirty="0">
                          <a:solidFill>
                            <a:srgbClr val="000000"/>
                          </a:solidFill>
                          <a:effectLst/>
                          <a:latin typeface="Arial" panose="020B0604020202020204" pitchFamily="34" charset="0"/>
                        </a:rPr>
                        <a:t>Azure File Server Size in TB</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US" sz="800" b="0" i="0" u="none" strike="noStrike" dirty="0">
                          <a:solidFill>
                            <a:srgbClr val="000000"/>
                          </a:solidFill>
                          <a:effectLst/>
                          <a:latin typeface="Arial" panose="020B0604020202020204" pitchFamily="34" charset="0"/>
                        </a:rPr>
                        <a:t>16</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3180840"/>
                  </a:ext>
                </a:extLst>
              </a:tr>
              <a:tr h="136267">
                <a:tc>
                  <a:txBody>
                    <a:bodyPr/>
                    <a:lstStyle/>
                    <a:p>
                      <a:pPr algn="l" rtl="0" fontAlgn="b"/>
                      <a:r>
                        <a:rPr lang="en-US" sz="800" b="0" i="0" u="none" strike="noStrike" dirty="0">
                          <a:solidFill>
                            <a:srgbClr val="000000"/>
                          </a:solidFill>
                          <a:effectLst/>
                          <a:latin typeface="Arial" panose="020B0604020202020204" pitchFamily="34" charset="0"/>
                        </a:rPr>
                        <a:t>Azure </a:t>
                      </a:r>
                      <a:r>
                        <a:rPr lang="en-US" sz="800" b="0" i="0" u="none" strike="noStrike" dirty="0" err="1">
                          <a:solidFill>
                            <a:srgbClr val="000000"/>
                          </a:solidFill>
                          <a:effectLst/>
                          <a:latin typeface="Arial" panose="020B0604020202020204" pitchFamily="34" charset="0"/>
                        </a:rPr>
                        <a:t>Loadbalancer</a:t>
                      </a:r>
                      <a:endParaRPr lang="en-US" sz="800" b="0" i="0" u="none" strike="noStrike" dirty="0">
                        <a:solidFill>
                          <a:srgbClr val="000000"/>
                        </a:solidFill>
                        <a:effectLst/>
                        <a:latin typeface="Arial" panose="020B0604020202020204" pitchFamily="34" charset="0"/>
                      </a:endParaRP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US" sz="800" b="0" i="0" u="none" strike="noStrike" dirty="0">
                          <a:solidFill>
                            <a:srgbClr val="000000"/>
                          </a:solidFill>
                          <a:effectLst/>
                          <a:latin typeface="Arial" panose="020B0604020202020204" pitchFamily="34" charset="0"/>
                        </a:rPr>
                        <a:t>12</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978584"/>
                  </a:ext>
                </a:extLst>
              </a:tr>
              <a:tr h="136267">
                <a:tc>
                  <a:txBody>
                    <a:bodyPr/>
                    <a:lstStyle/>
                    <a:p>
                      <a:pPr algn="l" rtl="0" fontAlgn="b"/>
                      <a:r>
                        <a:rPr lang="en-US" sz="800" b="0" i="0" u="none" strike="noStrike" dirty="0">
                          <a:solidFill>
                            <a:srgbClr val="000000"/>
                          </a:solidFill>
                          <a:effectLst/>
                          <a:latin typeface="Arial" panose="020B0604020202020204" pitchFamily="34" charset="0"/>
                        </a:rPr>
                        <a:t>AWS: Windows - Prod,</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US" sz="800" b="0" i="0" u="none" strike="noStrike" dirty="0">
                          <a:solidFill>
                            <a:srgbClr val="000000"/>
                          </a:solidFill>
                          <a:effectLst/>
                          <a:latin typeface="Arial" panose="020B0604020202020204" pitchFamily="34" charset="0"/>
                        </a:rPr>
                        <a:t>25</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26382554"/>
                  </a:ext>
                </a:extLst>
              </a:tr>
              <a:tr h="136267">
                <a:tc>
                  <a:txBody>
                    <a:bodyPr/>
                    <a:lstStyle/>
                    <a:p>
                      <a:pPr algn="l" rtl="0" fontAlgn="b"/>
                      <a:r>
                        <a:rPr lang="en-US" sz="800" b="0" i="0" u="none" strike="noStrike" dirty="0">
                          <a:solidFill>
                            <a:srgbClr val="000000"/>
                          </a:solidFill>
                          <a:effectLst/>
                          <a:latin typeface="Arial" panose="020B0604020202020204" pitchFamily="34" charset="0"/>
                        </a:rPr>
                        <a:t>AWS: Windows - Non Prod</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US" sz="800" b="0" i="0" u="none" strike="noStrike" dirty="0">
                          <a:solidFill>
                            <a:srgbClr val="000000"/>
                          </a:solidFill>
                          <a:effectLst/>
                          <a:latin typeface="Arial" panose="020B0604020202020204" pitchFamily="34" charset="0"/>
                        </a:rPr>
                        <a:t>29</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69317549"/>
                  </a:ext>
                </a:extLst>
              </a:tr>
              <a:tr h="136267">
                <a:tc>
                  <a:txBody>
                    <a:bodyPr/>
                    <a:lstStyle/>
                    <a:p>
                      <a:pPr algn="l" rtl="0" fontAlgn="b"/>
                      <a:r>
                        <a:rPr lang="en-US" sz="800" b="0" i="0" u="none" strike="noStrike" dirty="0">
                          <a:solidFill>
                            <a:srgbClr val="000000"/>
                          </a:solidFill>
                          <a:effectLst/>
                          <a:latin typeface="Arial" panose="020B0604020202020204" pitchFamily="34" charset="0"/>
                        </a:rPr>
                        <a:t>AWS: Linux - Prod</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US" sz="800" b="0" i="0" u="none" strike="noStrike" dirty="0">
                          <a:solidFill>
                            <a:srgbClr val="000000"/>
                          </a:solidFill>
                          <a:effectLst/>
                          <a:latin typeface="Arial" panose="020B0604020202020204" pitchFamily="34" charset="0"/>
                        </a:rPr>
                        <a:t>9</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61166815"/>
                  </a:ext>
                </a:extLst>
              </a:tr>
              <a:tr h="136267">
                <a:tc>
                  <a:txBody>
                    <a:bodyPr/>
                    <a:lstStyle/>
                    <a:p>
                      <a:pPr algn="l" rtl="0" fontAlgn="b"/>
                      <a:r>
                        <a:rPr lang="en-US" sz="800" b="0" i="0" u="none" strike="noStrike" dirty="0">
                          <a:solidFill>
                            <a:srgbClr val="000000"/>
                          </a:solidFill>
                          <a:effectLst/>
                          <a:latin typeface="Arial" panose="020B0604020202020204" pitchFamily="34" charset="0"/>
                        </a:rPr>
                        <a:t>AWS: Linux - Non Prod</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US" sz="800" b="0" i="0" u="none" strike="noStrike" dirty="0">
                          <a:solidFill>
                            <a:srgbClr val="000000"/>
                          </a:solidFill>
                          <a:effectLst/>
                          <a:latin typeface="Arial" panose="020B0604020202020204" pitchFamily="34" charset="0"/>
                        </a:rPr>
                        <a:t>11</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0989285"/>
                  </a:ext>
                </a:extLst>
              </a:tr>
              <a:tr h="136267">
                <a:tc>
                  <a:txBody>
                    <a:bodyPr/>
                    <a:lstStyle/>
                    <a:p>
                      <a:pPr algn="l" rtl="0" fontAlgn="b"/>
                      <a:r>
                        <a:rPr lang="en-US" sz="800" b="0" i="0" u="none" strike="noStrike" dirty="0">
                          <a:solidFill>
                            <a:srgbClr val="000000"/>
                          </a:solidFill>
                          <a:effectLst/>
                          <a:latin typeface="Arial" panose="020B0604020202020204" pitchFamily="34" charset="0"/>
                        </a:rPr>
                        <a:t>AWS Windows SQL Instance</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US" sz="800" b="0" i="0" u="none" strike="noStrike" dirty="0">
                          <a:solidFill>
                            <a:srgbClr val="000000"/>
                          </a:solidFill>
                          <a:effectLst/>
                          <a:latin typeface="Arial" panose="020B0604020202020204" pitchFamily="34" charset="0"/>
                        </a:rPr>
                        <a:t>7</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61922964"/>
                  </a:ext>
                </a:extLst>
              </a:tr>
              <a:tr h="136267">
                <a:tc>
                  <a:txBody>
                    <a:bodyPr/>
                    <a:lstStyle/>
                    <a:p>
                      <a:pPr algn="l" rtl="0" fontAlgn="b"/>
                      <a:r>
                        <a:rPr lang="en-US" sz="800" b="0" i="0" u="none" strike="noStrike" dirty="0">
                          <a:solidFill>
                            <a:srgbClr val="000000"/>
                          </a:solidFill>
                          <a:effectLst/>
                          <a:latin typeface="Arial" panose="020B0604020202020204" pitchFamily="34" charset="0"/>
                        </a:rPr>
                        <a:t>AWS Linux DB instance</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US" sz="800" b="0" i="0" u="none" strike="noStrike" dirty="0">
                          <a:solidFill>
                            <a:srgbClr val="000000"/>
                          </a:solidFill>
                          <a:effectLst/>
                          <a:latin typeface="Arial" panose="020B0604020202020204" pitchFamily="34" charset="0"/>
                        </a:rPr>
                        <a:t>3</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98825767"/>
                  </a:ext>
                </a:extLst>
              </a:tr>
              <a:tr h="136267">
                <a:tc>
                  <a:txBody>
                    <a:bodyPr/>
                    <a:lstStyle/>
                    <a:p>
                      <a:pPr algn="l" rtl="0" fontAlgn="b"/>
                      <a:r>
                        <a:rPr lang="en-US" sz="800" b="0" i="0" u="none" strike="noStrike" dirty="0">
                          <a:solidFill>
                            <a:srgbClr val="000000"/>
                          </a:solidFill>
                          <a:effectLst/>
                          <a:latin typeface="Arial" panose="020B0604020202020204" pitchFamily="34" charset="0"/>
                        </a:rPr>
                        <a:t>AWS </a:t>
                      </a:r>
                      <a:r>
                        <a:rPr lang="en-US" sz="800" b="0" i="0" u="none" strike="noStrike" dirty="0" err="1">
                          <a:solidFill>
                            <a:srgbClr val="000000"/>
                          </a:solidFill>
                          <a:effectLst/>
                          <a:latin typeface="Arial" panose="020B0604020202020204" pitchFamily="34" charset="0"/>
                        </a:rPr>
                        <a:t>Loadbalancer</a:t>
                      </a:r>
                      <a:endParaRPr lang="en-US" sz="800" b="0" i="0" u="none" strike="noStrike" dirty="0">
                        <a:solidFill>
                          <a:srgbClr val="000000"/>
                        </a:solidFill>
                        <a:effectLst/>
                        <a:latin typeface="Arial" panose="020B0604020202020204" pitchFamily="34" charset="0"/>
                      </a:endParaRP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US" sz="800" b="0" i="0" u="none" strike="noStrike" dirty="0">
                          <a:solidFill>
                            <a:srgbClr val="000000"/>
                          </a:solidFill>
                          <a:effectLst/>
                          <a:latin typeface="Arial" panose="020B0604020202020204" pitchFamily="34" charset="0"/>
                        </a:rPr>
                        <a:t>12</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30931022"/>
                  </a:ext>
                </a:extLst>
              </a:tr>
              <a:tr h="136267">
                <a:tc>
                  <a:txBody>
                    <a:bodyPr/>
                    <a:lstStyle/>
                    <a:p>
                      <a:pPr algn="l" rtl="0" fontAlgn="b"/>
                      <a:r>
                        <a:rPr lang="en-US" sz="800" b="0" i="0" u="none" strike="noStrike" dirty="0">
                          <a:solidFill>
                            <a:srgbClr val="000000"/>
                          </a:solidFill>
                          <a:effectLst/>
                          <a:latin typeface="Arial" panose="020B0604020202020204" pitchFamily="34" charset="0"/>
                        </a:rPr>
                        <a:t>AWS Storage burst capacity - TB</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US" sz="800" b="0" i="0" u="none" strike="noStrike" dirty="0">
                          <a:solidFill>
                            <a:srgbClr val="000000"/>
                          </a:solidFill>
                          <a:effectLst/>
                          <a:latin typeface="Arial" panose="020B0604020202020204" pitchFamily="34" charset="0"/>
                        </a:rPr>
                        <a:t>50</a:t>
                      </a: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5024393"/>
                  </a:ext>
                </a:extLst>
              </a:tr>
              <a:tr h="136267">
                <a:tc>
                  <a:txBody>
                    <a:bodyPr/>
                    <a:lstStyle/>
                    <a:p>
                      <a:pPr algn="l" rtl="0" fontAlgn="b"/>
                      <a:r>
                        <a:rPr lang="en-US" sz="800" b="0" i="0" u="none" strike="noStrike" dirty="0" err="1" smtClean="0">
                          <a:solidFill>
                            <a:srgbClr val="000000"/>
                          </a:solidFill>
                          <a:effectLst/>
                          <a:latin typeface="Arial" panose="020B0604020202020204" pitchFamily="34" charset="0"/>
                        </a:rPr>
                        <a:t>SoftLayer</a:t>
                      </a:r>
                      <a:r>
                        <a:rPr lang="en-US" sz="800" b="0" i="0" u="none" strike="noStrike" baseline="0" dirty="0" smtClean="0">
                          <a:solidFill>
                            <a:srgbClr val="000000"/>
                          </a:solidFill>
                          <a:effectLst/>
                          <a:latin typeface="Arial" panose="020B0604020202020204" pitchFamily="34" charset="0"/>
                        </a:rPr>
                        <a:t> VMs</a:t>
                      </a:r>
                      <a:endParaRPr lang="en-US" sz="800" b="0" i="0" u="none" strike="noStrike" dirty="0">
                        <a:solidFill>
                          <a:srgbClr val="000000"/>
                        </a:solidFill>
                        <a:effectLst/>
                        <a:latin typeface="Arial" panose="020B0604020202020204" pitchFamily="34" charset="0"/>
                      </a:endParaRP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r>
                        <a:rPr lang="en-US" sz="800" b="0" i="0" u="none" strike="noStrike" dirty="0" smtClean="0">
                          <a:solidFill>
                            <a:srgbClr val="000000"/>
                          </a:solidFill>
                          <a:effectLst/>
                          <a:latin typeface="Arial" panose="020B0604020202020204" pitchFamily="34" charset="0"/>
                        </a:rPr>
                        <a:t>96 (Not in Scope)</a:t>
                      </a:r>
                      <a:endParaRPr lang="en-US" sz="800" b="0" i="0" u="none" strike="noStrike" dirty="0">
                        <a:solidFill>
                          <a:srgbClr val="000000"/>
                        </a:solidFill>
                        <a:effectLst/>
                        <a:latin typeface="Arial" panose="020B0604020202020204" pitchFamily="34" charset="0"/>
                      </a:endParaRPr>
                    </a:p>
                  </a:txBody>
                  <a:tcPr marL="7144" marR="7144" marT="714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96165850"/>
                  </a:ext>
                </a:extLst>
              </a:tr>
            </a:tbl>
          </a:graphicData>
        </a:graphic>
      </p:graphicFrame>
    </p:spTree>
    <p:extLst>
      <p:ext uri="{BB962C8B-B14F-4D97-AF65-F5344CB8AC3E}">
        <p14:creationId xmlns:p14="http://schemas.microsoft.com/office/powerpoint/2010/main" val="15902086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b="1" dirty="0" smtClean="0">
                <a:solidFill>
                  <a:srgbClr val="0033A0"/>
                </a:solidFill>
              </a:rPr>
              <a:t>Security</a:t>
            </a:r>
            <a:endParaRPr lang="en-US" sz="2000" dirty="0">
              <a:solidFill>
                <a:srgbClr val="0033A0"/>
              </a:solidFill>
            </a:endParaRPr>
          </a:p>
        </p:txBody>
      </p:sp>
      <p:sp>
        <p:nvSpPr>
          <p:cNvPr id="6" name="Rectangle 5"/>
          <p:cNvSpPr/>
          <p:nvPr/>
        </p:nvSpPr>
        <p:spPr>
          <a:xfrm>
            <a:off x="4381500" y="618602"/>
            <a:ext cx="4419598" cy="244441"/>
          </a:xfrm>
          <a:prstGeom prst="rect">
            <a:avLst/>
          </a:prstGeom>
          <a:solidFill>
            <a:srgbClr val="328DFF"/>
          </a:solidFill>
          <a:ln>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0" h="0"/>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Key Volumetric</a:t>
            </a:r>
          </a:p>
        </p:txBody>
      </p:sp>
      <p:sp>
        <p:nvSpPr>
          <p:cNvPr id="8" name="TextBox 7"/>
          <p:cNvSpPr txBox="1"/>
          <p:nvPr/>
        </p:nvSpPr>
        <p:spPr>
          <a:xfrm>
            <a:off x="417477" y="2045181"/>
            <a:ext cx="3821147" cy="1200329"/>
          </a:xfrm>
          <a:prstGeom prst="rect">
            <a:avLst/>
          </a:prstGeom>
          <a:ln w="6350"/>
        </p:spPr>
        <p:style>
          <a:lnRef idx="2">
            <a:schemeClr val="accent1"/>
          </a:lnRef>
          <a:fillRef idx="1">
            <a:schemeClr val="lt1"/>
          </a:fillRef>
          <a:effectRef idx="0">
            <a:schemeClr val="accent1"/>
          </a:effectRef>
          <a:fontRef idx="minor">
            <a:schemeClr val="dk1"/>
          </a:fontRef>
        </p:style>
        <p:txBody>
          <a:bodyPr wrap="square" rtlCol="0">
            <a:spAutoFit/>
          </a:bodyPr>
          <a:lstStyle/>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Arial" panose="020B0604020202020204"/>
                <a:ea typeface="ＭＳ Ｐゴシック" pitchFamily="-12" charset="-128"/>
                <a:cs typeface="Arial" panose="020B0604020202020204" pitchFamily="34" charset="0"/>
              </a:rPr>
              <a:t>Service Desk – 24x7x365 (Tier 1)</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Arial" panose="020B0604020202020204"/>
                <a:ea typeface="ＭＳ Ｐゴシック" pitchFamily="-12" charset="-128"/>
                <a:cs typeface="Arial" panose="020B0604020202020204" pitchFamily="34" charset="0"/>
              </a:rPr>
              <a:t>Cyber Threat Defense – 24x7x365 (Tier1, Tier2 &amp; Tier3)</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Arial" panose="020B0604020202020204"/>
                <a:ea typeface="ＭＳ Ｐゴシック" pitchFamily="-12" charset="-128"/>
                <a:cs typeface="Arial" panose="020B0604020202020204" pitchFamily="34" charset="0"/>
              </a:rPr>
              <a:t>Cyber Tools Operations – 16x5 business hours and on-call support for </a:t>
            </a:r>
            <a:r>
              <a:rPr kumimoji="0" lang="en-US" sz="900" b="0" i="0" u="none" strike="noStrike" kern="0" cap="none" spc="0" normalizeH="0" baseline="0" noProof="0" dirty="0" smtClean="0">
                <a:ln>
                  <a:noFill/>
                </a:ln>
                <a:solidFill>
                  <a:prstClr val="black"/>
                </a:solidFill>
                <a:effectLst/>
                <a:uLnTx/>
                <a:uFillTx/>
                <a:latin typeface="Arial" panose="020B0604020202020204"/>
                <a:ea typeface="ＭＳ Ｐゴシック" pitchFamily="-12" charset="-128"/>
                <a:cs typeface="Arial" panose="020B0604020202020204" pitchFamily="34" charset="0"/>
              </a:rPr>
              <a:t>P1 &amp; P2 </a:t>
            </a:r>
            <a:r>
              <a:rPr kumimoji="0" lang="en-US" sz="900" b="0" i="0" u="none" strike="noStrike" kern="0" cap="none" spc="0" normalizeH="0" baseline="0" noProof="0" dirty="0">
                <a:ln>
                  <a:noFill/>
                </a:ln>
                <a:solidFill>
                  <a:prstClr val="black"/>
                </a:solidFill>
                <a:effectLst/>
                <a:uLnTx/>
                <a:uFillTx/>
                <a:latin typeface="Arial" panose="020B0604020202020204"/>
                <a:ea typeface="ＭＳ Ｐゴシック" pitchFamily="-12" charset="-128"/>
                <a:cs typeface="Arial" panose="020B0604020202020204" pitchFamily="34" charset="0"/>
              </a:rPr>
              <a:t>incidents (Tier 1.5, Tier2 &amp; Tier3)</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Arial" panose="020B0604020202020204"/>
                <a:ea typeface="ＭＳ Ｐゴシック" pitchFamily="-12" charset="-128"/>
                <a:cs typeface="Arial" panose="020B0604020202020204" pitchFamily="34" charset="0"/>
              </a:rPr>
              <a:t>Identity Mgmt. Operations; Data Protection Operations – 8x5 (Tier2, Tier3)</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Arial" panose="020B0604020202020204"/>
                <a:ea typeface="ＭＳ Ｐゴシック" pitchFamily="-12" charset="-128"/>
                <a:cs typeface="Arial" panose="020B0604020202020204" pitchFamily="34" charset="0"/>
              </a:rPr>
              <a:t>Vulnerability Management Operations – 8x5 </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Arial" panose="020B0604020202020204"/>
                <a:ea typeface="ＭＳ Ｐゴシック" pitchFamily="-12" charset="-128"/>
                <a:cs typeface="Arial" panose="020B0604020202020204" pitchFamily="34" charset="0"/>
              </a:rPr>
              <a:t>GRC Support Services – 8x5</a:t>
            </a:r>
          </a:p>
        </p:txBody>
      </p:sp>
      <p:sp>
        <p:nvSpPr>
          <p:cNvPr id="9" name="Rectangle 8"/>
          <p:cNvSpPr/>
          <p:nvPr/>
        </p:nvSpPr>
        <p:spPr>
          <a:xfrm>
            <a:off x="417479" y="1845793"/>
            <a:ext cx="3821145" cy="225405"/>
          </a:xfrm>
          <a:prstGeom prst="rect">
            <a:avLst/>
          </a:prstGeom>
          <a:solidFill>
            <a:srgbClr val="328DFF"/>
          </a:solidFill>
          <a:ln>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0" h="0"/>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Service Window</a:t>
            </a:r>
          </a:p>
        </p:txBody>
      </p:sp>
      <p:sp>
        <p:nvSpPr>
          <p:cNvPr id="10" name="TextBox 9"/>
          <p:cNvSpPr txBox="1"/>
          <p:nvPr/>
        </p:nvSpPr>
        <p:spPr>
          <a:xfrm>
            <a:off x="417481" y="863044"/>
            <a:ext cx="3821144" cy="923330"/>
          </a:xfrm>
          <a:prstGeom prst="rect">
            <a:avLst/>
          </a:prstGeom>
          <a:ln w="6350"/>
        </p:spPr>
        <p:style>
          <a:lnRef idx="2">
            <a:schemeClr val="accent1"/>
          </a:lnRef>
          <a:fillRef idx="1">
            <a:schemeClr val="lt1"/>
          </a:fillRef>
          <a:effectRef idx="0">
            <a:schemeClr val="accent1"/>
          </a:effectRef>
          <a:fontRef idx="minor">
            <a:schemeClr val="dk1"/>
          </a:fontRef>
        </p:style>
        <p:txBody>
          <a:bodyPr wrap="square" rtlCol="0">
            <a:spAutoFit/>
          </a:bodyPr>
          <a:lstStyle/>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Arial" panose="020B0604020202020204"/>
                <a:ea typeface="ＭＳ Ｐゴシック" pitchFamily="-12" charset="-128"/>
                <a:cs typeface="Arial" panose="020B0604020202020204" pitchFamily="34" charset="0"/>
              </a:rPr>
              <a:t>Cyber Threat Defense – Denver, USA &amp; </a:t>
            </a:r>
            <a:r>
              <a:rPr lang="en-US" sz="900" kern="0" dirty="0" smtClean="0">
                <a:solidFill>
                  <a:prstClr val="black"/>
                </a:solidFill>
                <a:latin typeface="Arial" panose="020B0604020202020204"/>
                <a:ea typeface="ＭＳ Ｐゴシック" pitchFamily="-12" charset="-128"/>
                <a:cs typeface="Arial" panose="020B0604020202020204" pitchFamily="34" charset="0"/>
              </a:rPr>
              <a:t>Bangalore</a:t>
            </a:r>
            <a:r>
              <a:rPr kumimoji="0" lang="en-US" sz="900" b="0" i="0" u="none" strike="noStrike" kern="0" cap="none" spc="0" normalizeH="0" baseline="0" noProof="0" dirty="0" smtClean="0">
                <a:ln>
                  <a:noFill/>
                </a:ln>
                <a:solidFill>
                  <a:prstClr val="black"/>
                </a:solidFill>
                <a:effectLst/>
                <a:uLnTx/>
                <a:uFillTx/>
                <a:latin typeface="Arial" panose="020B0604020202020204"/>
                <a:ea typeface="ＭＳ Ｐゴシック" pitchFamily="-12" charset="-128"/>
                <a:cs typeface="Arial" panose="020B0604020202020204" pitchFamily="34" charset="0"/>
              </a:rPr>
              <a:t>, </a:t>
            </a:r>
            <a:r>
              <a:rPr kumimoji="0" lang="en-US" sz="900" b="0" i="0" u="none" strike="noStrike" kern="0" cap="none" spc="0" normalizeH="0" baseline="0" noProof="0" dirty="0">
                <a:ln>
                  <a:noFill/>
                </a:ln>
                <a:solidFill>
                  <a:prstClr val="black"/>
                </a:solidFill>
                <a:effectLst/>
                <a:uLnTx/>
                <a:uFillTx/>
                <a:latin typeface="Arial" panose="020B0604020202020204"/>
                <a:ea typeface="ＭＳ Ｐゴシック" pitchFamily="-12" charset="-128"/>
                <a:cs typeface="Arial" panose="020B0604020202020204" pitchFamily="34" charset="0"/>
              </a:rPr>
              <a:t>India</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Arial" panose="020B0604020202020204"/>
                <a:ea typeface="ＭＳ Ｐゴシック" pitchFamily="-12" charset="-128"/>
                <a:cs typeface="Arial" panose="020B0604020202020204" pitchFamily="34" charset="0"/>
              </a:rPr>
              <a:t>Cyber Tools Operation – Chennai, India</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Arial" panose="020B0604020202020204"/>
                <a:ea typeface="ＭＳ Ｐゴシック" pitchFamily="-12" charset="-128"/>
                <a:cs typeface="Arial" panose="020B0604020202020204" pitchFamily="34" charset="0"/>
              </a:rPr>
              <a:t>Identity Mgmt. Operations – Chennai, India</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Arial" panose="020B0604020202020204"/>
                <a:ea typeface="ＭＳ Ｐゴシック" pitchFamily="-12" charset="-128"/>
                <a:cs typeface="Arial" panose="020B0604020202020204" pitchFamily="34" charset="0"/>
              </a:rPr>
              <a:t>Data Protection Operations – Chennai, India</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Arial" panose="020B0604020202020204"/>
                <a:ea typeface="ＭＳ Ｐゴシック" pitchFamily="-12" charset="-128"/>
                <a:cs typeface="Arial" panose="020B0604020202020204" pitchFamily="34" charset="0"/>
              </a:rPr>
              <a:t>Vulnerability Management Operations – Chennai, India</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Arial" panose="020B0604020202020204"/>
                <a:ea typeface="ＭＳ Ｐゴシック" pitchFamily="-12" charset="-128"/>
                <a:cs typeface="Arial" panose="020B0604020202020204" pitchFamily="34" charset="0"/>
              </a:rPr>
              <a:t>GRC Support Services – Chennai, India</a:t>
            </a:r>
          </a:p>
        </p:txBody>
      </p:sp>
      <p:sp>
        <p:nvSpPr>
          <p:cNvPr id="11" name="Rectangle 10"/>
          <p:cNvSpPr/>
          <p:nvPr/>
        </p:nvSpPr>
        <p:spPr>
          <a:xfrm>
            <a:off x="417479" y="637640"/>
            <a:ext cx="3821146" cy="241557"/>
          </a:xfrm>
          <a:prstGeom prst="rect">
            <a:avLst/>
          </a:prstGeom>
          <a:solidFill>
            <a:srgbClr val="0033A0"/>
          </a:solidFill>
          <a:ln>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0" h="0"/>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Service Delivery Locations</a:t>
            </a:r>
          </a:p>
        </p:txBody>
      </p:sp>
      <p:sp>
        <p:nvSpPr>
          <p:cNvPr id="12" name="TextBox 11"/>
          <p:cNvSpPr txBox="1"/>
          <p:nvPr/>
        </p:nvSpPr>
        <p:spPr>
          <a:xfrm>
            <a:off x="410595" y="3353092"/>
            <a:ext cx="8383621" cy="1338828"/>
          </a:xfrm>
          <a:prstGeom prst="rect">
            <a:avLst/>
          </a:prstGeom>
          <a:ln w="6350"/>
        </p:spPr>
        <p:style>
          <a:lnRef idx="2">
            <a:schemeClr val="accent1"/>
          </a:lnRef>
          <a:fillRef idx="1">
            <a:schemeClr val="lt1"/>
          </a:fillRef>
          <a:effectRef idx="0">
            <a:schemeClr val="accent1"/>
          </a:effectRef>
          <a:fontRef idx="minor">
            <a:schemeClr val="dk1"/>
          </a:fontRef>
        </p:style>
        <p:txBody>
          <a:bodyPr wrap="square" numCol="2" rtlCol="0">
            <a:spAutoFit/>
          </a:bodyPr>
          <a:lstStyle/>
          <a:p>
            <a:pPr marL="171442" marR="0" lvl="1"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endPar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mn-cs"/>
            </a:endParaRPr>
          </a:p>
          <a:p>
            <a:pPr marL="171442" marR="0" lvl="1"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mn-cs"/>
              </a:rPr>
              <a:t>Cyber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Threat Defense</a:t>
            </a:r>
          </a:p>
          <a:p>
            <a:pPr marL="514342" marR="0" lvl="2"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IBM QRadar, Anomali, ServiceNow SecOps (SIR)</a:t>
            </a:r>
          </a:p>
          <a:p>
            <a:pPr marL="171442" marR="0" lvl="1"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Cyber Tools Operations</a:t>
            </a:r>
          </a:p>
          <a:p>
            <a:pPr marL="514342" marR="0" lvl="2"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Zscaler Internet Access, Defender DLP, O365 DLP, Zscaler Cloud DLP, O365 Email Security, Proofpoint, Microsoft Defender AV, Carbon Black EDR, Paloalto Firewalls, MCAS, Zscaler Private Access, Cisco </a:t>
            </a: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mn-cs"/>
              </a:rPr>
              <a:t>ISE</a:t>
            </a:r>
          </a:p>
          <a:p>
            <a:pPr marL="171442" marR="0" lvl="1"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endPar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mn-cs"/>
            </a:endParaRPr>
          </a:p>
          <a:p>
            <a:pPr marL="171442" marR="0" lvl="1"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endPar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171442" marR="0" lvl="1"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mn-cs"/>
              </a:rPr>
              <a:t>Identity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Mgmt. &amp; Data Protection Operations</a:t>
            </a:r>
          </a:p>
          <a:p>
            <a:pPr marL="514342" marR="0" lvl="2"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Open Text, Azure AD, ADFS, </a:t>
            </a:r>
            <a:r>
              <a:rPr kumimoji="0" lang="en-US" sz="900" b="0" i="0" u="none" strike="noStrike" kern="1200" cap="none" spc="0" normalizeH="0" baseline="0" noProof="0" dirty="0" err="1">
                <a:ln>
                  <a:noFill/>
                </a:ln>
                <a:solidFill>
                  <a:srgbClr val="000000"/>
                </a:solidFill>
                <a:effectLst/>
                <a:uLnTx/>
                <a:uFillTx/>
                <a:latin typeface="Arial" panose="020B0604020202020204"/>
                <a:ea typeface="+mn-ea"/>
                <a:cs typeface="+mn-cs"/>
              </a:rPr>
              <a:t>Savyint</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 MS PKI, Azure Key Vault, Venafi, Cyber Ark, RSA MFA, Azure MFA</a:t>
            </a:r>
          </a:p>
          <a:p>
            <a:pPr marL="171442" marR="0" lvl="1"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Vulnerability Management Operations</a:t>
            </a:r>
          </a:p>
          <a:p>
            <a:pPr marL="514342" marR="0" lvl="2"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Qualys, VMaaS, </a:t>
            </a:r>
            <a:r>
              <a:rPr kumimoji="0" lang="en-US" sz="900" b="0" i="0" u="none" strike="noStrike" kern="1200" cap="none" spc="0" normalizeH="0" baseline="0" noProof="0" dirty="0" err="1">
                <a:ln>
                  <a:noFill/>
                </a:ln>
                <a:solidFill>
                  <a:srgbClr val="000000"/>
                </a:solidFill>
                <a:effectLst/>
                <a:uLnTx/>
                <a:uFillTx/>
                <a:latin typeface="Arial" panose="020B0604020202020204"/>
                <a:ea typeface="+mn-ea"/>
                <a:cs typeface="+mn-cs"/>
              </a:rPr>
              <a:t>Checkmarx</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900" b="0" i="0" u="none" strike="noStrike" kern="1200" cap="none" spc="0" normalizeH="0" baseline="0" noProof="0" dirty="0" err="1">
                <a:ln>
                  <a:noFill/>
                </a:ln>
                <a:solidFill>
                  <a:srgbClr val="000000"/>
                </a:solidFill>
                <a:effectLst/>
                <a:uLnTx/>
                <a:uFillTx/>
                <a:latin typeface="Arial" panose="020B0604020202020204"/>
                <a:ea typeface="+mn-ea"/>
                <a:cs typeface="+mn-cs"/>
              </a:rPr>
              <a:t>Appscan</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 Metasploit</a:t>
            </a:r>
          </a:p>
          <a:p>
            <a:pPr marL="171442" marR="0" lvl="1"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GRC Support Services</a:t>
            </a:r>
          </a:p>
          <a:p>
            <a:pPr marL="514342" marR="0" lvl="2"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Microsoft security &amp; compliance center, Paloalto Prisma SaaS (Redlock), </a:t>
            </a:r>
            <a:r>
              <a:rPr kumimoji="0" lang="en-US" sz="900" b="0" i="0" u="none" strike="noStrike" kern="1200" cap="none" spc="0" normalizeH="0" baseline="0" noProof="0" dirty="0" err="1" smtClean="0">
                <a:ln>
                  <a:noFill/>
                </a:ln>
                <a:solidFill>
                  <a:srgbClr val="000000"/>
                </a:solidFill>
                <a:effectLst/>
                <a:uLnTx/>
                <a:uFillTx/>
                <a:latin typeface="Arial" panose="020B0604020202020204"/>
                <a:ea typeface="+mn-ea"/>
                <a:cs typeface="+mn-cs"/>
              </a:rPr>
              <a:t>Proofpoint</a:t>
            </a: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mn-cs"/>
              </a:rPr>
              <a:t>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mn-cs"/>
              </a:rPr>
              <a:t>Wombat</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mn-cs"/>
              </a:rPr>
              <a:t>eDiscovery</a:t>
            </a:r>
          </a:p>
        </p:txBody>
      </p:sp>
      <p:sp>
        <p:nvSpPr>
          <p:cNvPr id="16" name="Footer Placeholder 15"/>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33A0"/>
                </a:solidFill>
                <a:effectLst/>
                <a:uLnTx/>
                <a:uFillTx/>
                <a:latin typeface="Arial" panose="020B0604020202020204" pitchFamily="34" charset="0"/>
                <a:ea typeface="+mn-ea"/>
                <a:cs typeface="Arial" panose="020B0604020202020204" pitchFamily="34" charset="0"/>
              </a:rPr>
              <a:t>© 2020 Cognizant</a:t>
            </a:r>
            <a:endParaRPr kumimoji="0" lang="en-US" sz="800" b="0" i="0" u="none" strike="noStrike" kern="1200" cap="none" spc="0" normalizeH="0" baseline="0" noProof="0" dirty="0">
              <a:ln>
                <a:noFill/>
              </a:ln>
              <a:solidFill>
                <a:srgbClr val="0033A0"/>
              </a:solidFill>
              <a:effectLst/>
              <a:uLnTx/>
              <a:uFillTx/>
              <a:latin typeface="Arial" panose="020B0604020202020204" pitchFamily="34" charset="0"/>
              <a:ea typeface="+mn-ea"/>
              <a:cs typeface="Arial" panose="020B0604020202020204" pitchFamily="34" charset="0"/>
            </a:endParaRPr>
          </a:p>
        </p:txBody>
      </p:sp>
      <p:sp>
        <p:nvSpPr>
          <p:cNvPr id="17" name="Slide Number Placeholder 16"/>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EFEF571-C9B4-4D92-A7F7-315B894862A8}" type="slidenum">
              <a:rPr kumimoji="0" lang="en-US" sz="800" b="1" i="0" u="none" strike="noStrike" kern="1200" cap="none" spc="0" normalizeH="0" baseline="0" noProof="0" smtClean="0">
                <a:ln>
                  <a:noFill/>
                </a:ln>
                <a:solidFill>
                  <a:srgbClr val="0033A0"/>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15</a:t>
            </a:fld>
            <a:endParaRPr kumimoji="0" lang="en-US" sz="800" b="1" i="0" u="none" strike="noStrike" kern="1200" cap="none" spc="0" normalizeH="0" baseline="0" noProof="0" dirty="0">
              <a:ln>
                <a:noFill/>
              </a:ln>
              <a:solidFill>
                <a:srgbClr val="0033A0"/>
              </a:solidFill>
              <a:effectLst/>
              <a:uLnTx/>
              <a:uFillTx/>
              <a:latin typeface="Arial" panose="020B0604020202020204" pitchFamily="34" charset="0"/>
              <a:ea typeface="+mn-ea"/>
              <a:cs typeface="Arial" panose="020B0604020202020204" pitchFamily="34" charset="0"/>
            </a:endParaRPr>
          </a:p>
        </p:txBody>
      </p:sp>
      <p:sp>
        <p:nvSpPr>
          <p:cNvPr id="14" name="TextBox 13"/>
          <p:cNvSpPr txBox="1"/>
          <p:nvPr/>
        </p:nvSpPr>
        <p:spPr>
          <a:xfrm>
            <a:off x="4381500" y="863043"/>
            <a:ext cx="4419598" cy="2446824"/>
          </a:xfrm>
          <a:prstGeom prst="rect">
            <a:avLst/>
          </a:prstGeom>
          <a:ln w="6350"/>
        </p:spPr>
        <p:style>
          <a:lnRef idx="2">
            <a:schemeClr val="accent1"/>
          </a:lnRef>
          <a:fillRef idx="1">
            <a:schemeClr val="lt1"/>
          </a:fillRef>
          <a:effectRef idx="0">
            <a:schemeClr val="accent1"/>
          </a:effectRef>
          <a:fontRef idx="minor">
            <a:schemeClr val="dk1"/>
          </a:fontRef>
        </p:style>
        <p:txBody>
          <a:bodyPr wrap="square" numCol="2" rtlCol="0">
            <a:spAutoFit/>
          </a:bodyPr>
          <a:lstStyle/>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smtClean="0">
                <a:ln>
                  <a:noFill/>
                </a:ln>
                <a:solidFill>
                  <a:prstClr val="black"/>
                </a:solidFill>
                <a:effectLst/>
                <a:uLnTx/>
                <a:uFillTx/>
                <a:latin typeface="Arial" panose="020B0604020202020204"/>
                <a:ea typeface="ＭＳ Ｐゴシック" pitchFamily="-12" charset="-128"/>
                <a:cs typeface="Arial" panose="020B0604020202020204" pitchFamily="34" charset="0"/>
              </a:rPr>
              <a:t>SIEM EPS (Event Per Second) – 2500</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smtClean="0">
                <a:ln>
                  <a:noFill/>
                </a:ln>
                <a:solidFill>
                  <a:prstClr val="black"/>
                </a:solidFill>
                <a:effectLst/>
                <a:uLnTx/>
                <a:uFillTx/>
                <a:latin typeface="Arial" panose="020B0604020202020204"/>
                <a:ea typeface="ＭＳ Ｐゴシック" pitchFamily="-12" charset="-128"/>
                <a:cs typeface="Arial" panose="020B0604020202020204" pitchFamily="34" charset="0"/>
              </a:rPr>
              <a:t>IR (Incident Response) Playbooks – 7</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smtClean="0">
                <a:ln>
                  <a:noFill/>
                </a:ln>
                <a:solidFill>
                  <a:prstClr val="black"/>
                </a:solidFill>
                <a:effectLst/>
                <a:uLnTx/>
                <a:uFillTx/>
                <a:latin typeface="Arial" panose="020B0604020202020204"/>
                <a:ea typeface="ＭＳ Ｐゴシック" pitchFamily="-12" charset="-128"/>
                <a:cs typeface="Arial" panose="020B0604020202020204" pitchFamily="34" charset="0"/>
              </a:rPr>
              <a:t>Endpoints – 3000</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smtClean="0">
                <a:ln>
                  <a:noFill/>
                </a:ln>
                <a:solidFill>
                  <a:prstClr val="black"/>
                </a:solidFill>
                <a:effectLst/>
                <a:uLnTx/>
                <a:uFillTx/>
                <a:latin typeface="Arial" panose="020B0604020202020204"/>
                <a:ea typeface="ＭＳ Ｐゴシック" pitchFamily="-12" charset="-128"/>
                <a:cs typeface="Arial" panose="020B0604020202020204" pitchFamily="34" charset="0"/>
              </a:rPr>
              <a:t>Network &amp; Servers – 778</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smtClean="0">
                <a:ln>
                  <a:noFill/>
                </a:ln>
                <a:solidFill>
                  <a:prstClr val="black"/>
                </a:solidFill>
                <a:effectLst/>
                <a:uLnTx/>
                <a:uFillTx/>
                <a:latin typeface="Arial" panose="020B0604020202020204"/>
                <a:ea typeface="ＭＳ Ｐゴシック" pitchFamily="-12" charset="-128"/>
                <a:cs typeface="Arial" panose="020B0604020202020204" pitchFamily="34" charset="0"/>
              </a:rPr>
              <a:t>Public IP Range – Upto 50 IP Address</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smtClean="0">
                <a:ln>
                  <a:noFill/>
                </a:ln>
                <a:solidFill>
                  <a:prstClr val="black"/>
                </a:solidFill>
                <a:effectLst/>
                <a:uLnTx/>
                <a:uFillTx/>
                <a:latin typeface="Arial" panose="020B0604020202020204"/>
                <a:ea typeface="ＭＳ Ｐゴシック" pitchFamily="-12" charset="-128"/>
                <a:cs typeface="Arial" panose="020B0604020202020204" pitchFamily="34" charset="0"/>
              </a:rPr>
              <a:t>500 employees &amp; 1000 contractors (guest users)</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smtClean="0">
                <a:ln>
                  <a:noFill/>
                </a:ln>
                <a:solidFill>
                  <a:prstClr val="black"/>
                </a:solidFill>
                <a:effectLst/>
                <a:uLnTx/>
                <a:uFillTx/>
                <a:latin typeface="Arial" panose="020B0604020202020204"/>
                <a:ea typeface="ＭＳ Ｐゴシック" pitchFamily="-12" charset="-128"/>
                <a:cs typeface="Arial" panose="020B0604020202020204" pitchFamily="34" charset="0"/>
              </a:rPr>
              <a:t>Firewalls Installed Locations – Boston; Charlotte, New Jersey, New York, </a:t>
            </a:r>
            <a:r>
              <a:rPr kumimoji="0" lang="en-US" sz="900" b="0" i="0" u="none" strike="noStrike" kern="0" cap="none" spc="0" normalizeH="0" baseline="0" noProof="0" dirty="0" err="1" smtClean="0">
                <a:ln>
                  <a:noFill/>
                </a:ln>
                <a:solidFill>
                  <a:prstClr val="black"/>
                </a:solidFill>
                <a:effectLst/>
                <a:uLnTx/>
                <a:uFillTx/>
                <a:latin typeface="Arial" panose="020B0604020202020204"/>
                <a:ea typeface="ＭＳ Ｐゴシック" pitchFamily="-12" charset="-128"/>
                <a:cs typeface="Arial" panose="020B0604020202020204" pitchFamily="34" charset="0"/>
              </a:rPr>
              <a:t>Phoneix</a:t>
            </a:r>
            <a:r>
              <a:rPr kumimoji="0" lang="en-US" sz="900" b="0" i="0" u="none" strike="noStrike" kern="0" cap="none" spc="0" normalizeH="0" baseline="0" noProof="0" dirty="0" smtClean="0">
                <a:ln>
                  <a:noFill/>
                </a:ln>
                <a:solidFill>
                  <a:prstClr val="black"/>
                </a:solidFill>
                <a:effectLst/>
                <a:uLnTx/>
                <a:uFillTx/>
                <a:latin typeface="Arial" panose="020B0604020202020204"/>
                <a:ea typeface="ＭＳ Ｐゴシック" pitchFamily="-12" charset="-128"/>
                <a:cs typeface="Arial" panose="020B0604020202020204" pitchFamily="34" charset="0"/>
              </a:rPr>
              <a:t>, Tampa, (</a:t>
            </a:r>
            <a:r>
              <a:rPr kumimoji="0" lang="en-US" sz="900" b="0" i="0" u="none" strike="noStrike" kern="0" cap="none" spc="0" normalizeH="0" baseline="0" noProof="0" dirty="0" err="1" smtClean="0">
                <a:ln>
                  <a:noFill/>
                </a:ln>
                <a:solidFill>
                  <a:prstClr val="black"/>
                </a:solidFill>
                <a:effectLst/>
                <a:uLnTx/>
                <a:uFillTx/>
                <a:latin typeface="Arial" panose="020B0604020202020204"/>
                <a:ea typeface="ＭＳ Ｐゴシック" pitchFamily="-12" charset="-128"/>
                <a:cs typeface="Arial" panose="020B0604020202020204" pitchFamily="34" charset="0"/>
              </a:rPr>
              <a:t>SoftLayer</a:t>
            </a:r>
            <a:r>
              <a:rPr kumimoji="0" lang="en-US" sz="900" b="0" i="0" u="none" strike="noStrike" kern="0" cap="none" spc="0" normalizeH="0" baseline="0" noProof="0" dirty="0" smtClean="0">
                <a:ln>
                  <a:noFill/>
                </a:ln>
                <a:solidFill>
                  <a:prstClr val="black"/>
                </a:solidFill>
                <a:effectLst/>
                <a:uLnTx/>
                <a:uFillTx/>
                <a:latin typeface="Arial" panose="020B0604020202020204"/>
                <a:ea typeface="ＭＳ Ｐゴシック" pitchFamily="-12" charset="-128"/>
                <a:cs typeface="Arial" panose="020B0604020202020204" pitchFamily="34" charset="0"/>
              </a:rPr>
              <a:t> – Dallas &amp; Washington DC will be decommissioned)</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smtClean="0">
                <a:ln>
                  <a:noFill/>
                </a:ln>
                <a:solidFill>
                  <a:prstClr val="black"/>
                </a:solidFill>
                <a:effectLst/>
                <a:uLnTx/>
                <a:uFillTx/>
                <a:latin typeface="Arial" panose="020B0604020202020204"/>
                <a:ea typeface="ＭＳ Ｐゴシック" pitchFamily="-12" charset="-128"/>
                <a:cs typeface="Arial" panose="020B0604020202020204" pitchFamily="34" charset="0"/>
              </a:rPr>
              <a:t>AWS VPCs – 5; Azure Regions – 2 </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smtClean="0">
                <a:ln>
                  <a:noFill/>
                </a:ln>
                <a:solidFill>
                  <a:prstClr val="black"/>
                </a:solidFill>
                <a:effectLst/>
                <a:uLnTx/>
                <a:uFillTx/>
                <a:latin typeface="Arial" panose="020B0604020202020204"/>
                <a:ea typeface="ＭＳ Ｐゴシック" pitchFamily="-12" charset="-128"/>
                <a:cs typeface="Arial" panose="020B0604020202020204" pitchFamily="34" charset="0"/>
              </a:rPr>
              <a:t>Domain Controller – 4 in Azure &amp; 4 in IBM </a:t>
            </a:r>
            <a:r>
              <a:rPr kumimoji="0" lang="en-US" sz="900" b="0" i="0" u="none" strike="noStrike" kern="0" cap="none" spc="0" normalizeH="0" baseline="0" noProof="0" dirty="0" err="1" smtClean="0">
                <a:ln>
                  <a:noFill/>
                </a:ln>
                <a:solidFill>
                  <a:prstClr val="black"/>
                </a:solidFill>
                <a:effectLst/>
                <a:uLnTx/>
                <a:uFillTx/>
                <a:latin typeface="Arial" panose="020B0604020202020204"/>
                <a:ea typeface="ＭＳ Ｐゴシック" pitchFamily="-12" charset="-128"/>
                <a:cs typeface="Arial" panose="020B0604020202020204" pitchFamily="34" charset="0"/>
              </a:rPr>
              <a:t>Softlayer</a:t>
            </a:r>
            <a:endParaRPr kumimoji="0" lang="en-US" sz="900" b="0" i="0" u="none" strike="noStrike" kern="0" cap="none" spc="0" normalizeH="0" baseline="0" noProof="0" dirty="0" smtClean="0">
              <a:ln>
                <a:noFill/>
              </a:ln>
              <a:solidFill>
                <a:prstClr val="black"/>
              </a:solidFill>
              <a:effectLst/>
              <a:uLnTx/>
              <a:uFillTx/>
              <a:latin typeface="Arial" panose="020B0604020202020204"/>
              <a:ea typeface="ＭＳ Ｐゴシック" pitchFamily="-12" charset="-128"/>
              <a:cs typeface="Arial" panose="020B0604020202020204" pitchFamily="34" charset="0"/>
            </a:endParaRP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smtClean="0">
                <a:ln>
                  <a:noFill/>
                </a:ln>
                <a:solidFill>
                  <a:prstClr val="black"/>
                </a:solidFill>
                <a:effectLst/>
                <a:uLnTx/>
                <a:uFillTx/>
                <a:latin typeface="Arial" panose="020B0604020202020204"/>
                <a:ea typeface="ＭＳ Ｐゴシック" pitchFamily="-12" charset="-128"/>
                <a:cs typeface="Arial" panose="020B0604020202020204" pitchFamily="34" charset="0"/>
              </a:rPr>
              <a:t>CyberArk Agents Installed – 49 systems</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smtClean="0">
                <a:ln>
                  <a:noFill/>
                </a:ln>
                <a:solidFill>
                  <a:prstClr val="black"/>
                </a:solidFill>
                <a:effectLst/>
                <a:uLnTx/>
                <a:uFillTx/>
                <a:latin typeface="Arial" panose="020B0604020202020204"/>
                <a:ea typeface="ＭＳ Ｐゴシック" pitchFamily="-12" charset="-128"/>
                <a:cs typeface="Arial" panose="020B0604020202020204" pitchFamily="34" charset="0"/>
              </a:rPr>
              <a:t>Bluecoat Agents Installed – 2925 systems</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smtClean="0">
                <a:ln>
                  <a:noFill/>
                </a:ln>
                <a:solidFill>
                  <a:prstClr val="black"/>
                </a:solidFill>
                <a:effectLst/>
                <a:uLnTx/>
                <a:uFillTx/>
                <a:latin typeface="Arial" panose="020B0604020202020204"/>
                <a:ea typeface="ＭＳ Ｐゴシック" pitchFamily="-12" charset="-128"/>
                <a:cs typeface="Arial" panose="020B0604020202020204" pitchFamily="34" charset="0"/>
              </a:rPr>
              <a:t>Carbon Black Agents Installed – 3410 systems</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smtClean="0">
                <a:ln>
                  <a:noFill/>
                </a:ln>
                <a:solidFill>
                  <a:prstClr val="black"/>
                </a:solidFill>
                <a:effectLst/>
                <a:uLnTx/>
                <a:uFillTx/>
                <a:latin typeface="Arial" panose="020B0604020202020204"/>
                <a:ea typeface="ＭＳ Ｐゴシック" pitchFamily="-12" charset="-128"/>
                <a:cs typeface="Arial" panose="020B0604020202020204" pitchFamily="34" charset="0"/>
              </a:rPr>
              <a:t>Anyconnect Agents installed – 423 systems</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smtClean="0">
                <a:ln>
                  <a:noFill/>
                </a:ln>
                <a:solidFill>
                  <a:prstClr val="black"/>
                </a:solidFill>
                <a:effectLst/>
                <a:uLnTx/>
                <a:uFillTx/>
                <a:latin typeface="Arial" panose="020B0604020202020204"/>
                <a:ea typeface="ＭＳ Ｐゴシック" pitchFamily="-12" charset="-128"/>
                <a:cs typeface="Arial" panose="020B0604020202020204" pitchFamily="34" charset="0"/>
              </a:rPr>
              <a:t>Qualys Agents installed – 3096 systems</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smtClean="0">
                <a:ln>
                  <a:noFill/>
                </a:ln>
                <a:solidFill>
                  <a:prstClr val="black"/>
                </a:solidFill>
                <a:effectLst/>
                <a:uLnTx/>
                <a:uFillTx/>
                <a:latin typeface="Arial" panose="020B0604020202020204"/>
                <a:ea typeface="ＭＳ Ｐゴシック" pitchFamily="-12" charset="-128"/>
                <a:cs typeface="Arial" panose="020B0604020202020204" pitchFamily="34" charset="0"/>
              </a:rPr>
              <a:t>RSA tokens installed – 1244</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smtClean="0">
                <a:ln>
                  <a:noFill/>
                </a:ln>
                <a:solidFill>
                  <a:prstClr val="black"/>
                </a:solidFill>
                <a:effectLst/>
                <a:uLnTx/>
                <a:uFillTx/>
                <a:latin typeface="Arial" panose="020B0604020202020204"/>
                <a:ea typeface="ＭＳ Ｐゴシック" pitchFamily="-12" charset="-128"/>
                <a:cs typeface="Arial" panose="020B0604020202020204" pitchFamily="34" charset="0"/>
              </a:rPr>
              <a:t>Symantec Endpoint Installed – 2983 systems</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smtClean="0">
                <a:ln>
                  <a:noFill/>
                </a:ln>
                <a:solidFill>
                  <a:prstClr val="black"/>
                </a:solidFill>
                <a:effectLst/>
                <a:uLnTx/>
                <a:uFillTx/>
                <a:latin typeface="Arial" panose="020B0604020202020204"/>
                <a:ea typeface="ＭＳ Ｐゴシック" pitchFamily="-12" charset="-128"/>
                <a:cs typeface="Arial" panose="020B0604020202020204" pitchFamily="34" charset="0"/>
              </a:rPr>
              <a:t>External identities – 200,000</a:t>
            </a:r>
          </a:p>
          <a:p>
            <a:pPr marL="171442" marR="0" lvl="0" indent="-171442" algn="l" defTabSz="914318"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smtClean="0">
                <a:ln>
                  <a:noFill/>
                </a:ln>
                <a:solidFill>
                  <a:prstClr val="black"/>
                </a:solidFill>
                <a:effectLst/>
                <a:uLnTx/>
                <a:uFillTx/>
                <a:latin typeface="Arial" panose="020B0604020202020204"/>
                <a:ea typeface="ＭＳ Ｐゴシック" pitchFamily="-12" charset="-128"/>
                <a:cs typeface="Arial" panose="020B0604020202020204" pitchFamily="34" charset="0"/>
              </a:rPr>
              <a:t>Certificates – 6000 (Internal); 200 (External)</a:t>
            </a:r>
          </a:p>
        </p:txBody>
      </p:sp>
      <p:sp>
        <p:nvSpPr>
          <p:cNvPr id="13" name="Rectangle 12"/>
          <p:cNvSpPr/>
          <p:nvPr/>
        </p:nvSpPr>
        <p:spPr>
          <a:xfrm>
            <a:off x="417478" y="3232784"/>
            <a:ext cx="8383620" cy="228600"/>
          </a:xfrm>
          <a:prstGeom prst="rect">
            <a:avLst/>
          </a:prstGeom>
          <a:solidFill>
            <a:srgbClr val="0033A0"/>
          </a:solidFill>
          <a:ln>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0" h="0"/>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Target State Tools</a:t>
            </a:r>
          </a:p>
        </p:txBody>
      </p:sp>
    </p:spTree>
    <p:extLst>
      <p:ext uri="{BB962C8B-B14F-4D97-AF65-F5344CB8AC3E}">
        <p14:creationId xmlns:p14="http://schemas.microsoft.com/office/powerpoint/2010/main" val="149442025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821799" y="1709543"/>
            <a:ext cx="6731000" cy="1828193"/>
          </a:xfrm>
        </p:spPr>
        <p:txBody>
          <a:bodyPr/>
          <a:lstStyle/>
          <a:p>
            <a:r>
              <a:rPr lang="en-US" dirty="0" smtClean="0"/>
              <a:t>Proposed Tools &amp; FRM</a:t>
            </a:r>
            <a:r>
              <a:rPr lang="en-US" dirty="0"/>
              <a:t/>
            </a:r>
            <a:br>
              <a:rPr lang="en-US" dirty="0"/>
            </a:br>
            <a:r>
              <a:rPr lang="en-US" dirty="0"/>
              <a:t/>
            </a:r>
            <a:br>
              <a:rPr lang="en-US" dirty="0"/>
            </a:br>
            <a:endParaRPr lang="en-US" dirty="0"/>
          </a:p>
        </p:txBody>
      </p:sp>
      <p:sp>
        <p:nvSpPr>
          <p:cNvPr id="4" name="Slide Number"/>
          <p:cNvSpPr txBox="1"/>
          <p:nvPr/>
        </p:nvSpPr>
        <p:spPr>
          <a:xfrm>
            <a:off x="285750" y="4886325"/>
            <a:ext cx="170117" cy="196208"/>
          </a:xfrm>
          <a:prstGeom prst="rect">
            <a:avLst/>
          </a:prstGeom>
          <a:noFill/>
        </p:spPr>
        <p:txBody>
          <a:bodyPr vert="horz" rtlCol="0">
            <a:spAutoFit/>
          </a:bodyPr>
          <a:lstStyle/>
          <a:p>
            <a:pPr algn="ctr"/>
            <a:r>
              <a:rPr lang="en-US" sz="675">
                <a:solidFill>
                  <a:srgbClr val="000000"/>
                </a:solidFill>
              </a:rPr>
              <a:t>7</a:t>
            </a:r>
          </a:p>
        </p:txBody>
      </p:sp>
    </p:spTree>
    <p:extLst>
      <p:ext uri="{BB962C8B-B14F-4D97-AF65-F5344CB8AC3E}">
        <p14:creationId xmlns:p14="http://schemas.microsoft.com/office/powerpoint/2010/main" val="142938000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5100" y="180044"/>
            <a:ext cx="8417052" cy="621030"/>
          </a:xfrm>
        </p:spPr>
        <p:txBody>
          <a:bodyPr/>
          <a:lstStyle/>
          <a:p>
            <a:r>
              <a:rPr lang="en-US" dirty="0"/>
              <a:t>Tools- Current vs Target</a:t>
            </a:r>
          </a:p>
        </p:txBody>
      </p:sp>
      <p:sp>
        <p:nvSpPr>
          <p:cNvPr id="4" name="Footer Placeholder 3"/>
          <p:cNvSpPr>
            <a:spLocks noGrp="1"/>
          </p:cNvSpPr>
          <p:nvPr>
            <p:ph type="ftr" sz="quarter" idx="3"/>
          </p:nvPr>
        </p:nvSpPr>
        <p:spPr/>
        <p:txBody>
          <a:bodyPr/>
          <a:lstStyle/>
          <a:p>
            <a:r>
              <a:rPr lang="en-US" smtClean="0"/>
              <a:t>© 2020 Cognizant</a:t>
            </a:r>
            <a:endParaRPr lang="en-US" dirty="0"/>
          </a:p>
        </p:txBody>
      </p:sp>
      <p:sp>
        <p:nvSpPr>
          <p:cNvPr id="5" name="Slide Number Placeholder 4"/>
          <p:cNvSpPr>
            <a:spLocks noGrp="1"/>
          </p:cNvSpPr>
          <p:nvPr>
            <p:ph type="sldNum" sz="quarter" idx="4"/>
          </p:nvPr>
        </p:nvSpPr>
        <p:spPr/>
        <p:txBody>
          <a:bodyPr/>
          <a:lstStyle/>
          <a:p>
            <a:fld id="{2EFEF571-C9B4-4D92-A7F7-315B894862A8}" type="slidenum">
              <a:rPr lang="en-US" smtClean="0"/>
              <a:pPr/>
              <a:t>17</a:t>
            </a:fld>
            <a:endParaRPr lang="en-US" dirty="0"/>
          </a:p>
        </p:txBody>
      </p:sp>
      <p:graphicFrame>
        <p:nvGraphicFramePr>
          <p:cNvPr id="6" name="Table 5"/>
          <p:cNvGraphicFramePr>
            <a:graphicFrameLocks noGrp="1"/>
          </p:cNvGraphicFramePr>
          <p:nvPr>
            <p:extLst/>
          </p:nvPr>
        </p:nvGraphicFramePr>
        <p:xfrm>
          <a:off x="449033" y="627017"/>
          <a:ext cx="8255079" cy="3996066"/>
        </p:xfrm>
        <a:graphic>
          <a:graphicData uri="http://schemas.openxmlformats.org/drawingml/2006/table">
            <a:tbl>
              <a:tblPr/>
              <a:tblGrid>
                <a:gridCol w="1333338">
                  <a:extLst>
                    <a:ext uri="{9D8B030D-6E8A-4147-A177-3AD203B41FA5}">
                      <a16:colId xmlns:a16="http://schemas.microsoft.com/office/drawing/2014/main" val="2420154811"/>
                    </a:ext>
                  </a:extLst>
                </a:gridCol>
                <a:gridCol w="2000007">
                  <a:extLst>
                    <a:ext uri="{9D8B030D-6E8A-4147-A177-3AD203B41FA5}">
                      <a16:colId xmlns:a16="http://schemas.microsoft.com/office/drawing/2014/main" val="1704742090"/>
                    </a:ext>
                  </a:extLst>
                </a:gridCol>
                <a:gridCol w="2477281">
                  <a:extLst>
                    <a:ext uri="{9D8B030D-6E8A-4147-A177-3AD203B41FA5}">
                      <a16:colId xmlns:a16="http://schemas.microsoft.com/office/drawing/2014/main" val="4038011550"/>
                    </a:ext>
                  </a:extLst>
                </a:gridCol>
                <a:gridCol w="2444453">
                  <a:extLst>
                    <a:ext uri="{9D8B030D-6E8A-4147-A177-3AD203B41FA5}">
                      <a16:colId xmlns:a16="http://schemas.microsoft.com/office/drawing/2014/main" val="3130054274"/>
                    </a:ext>
                  </a:extLst>
                </a:gridCol>
              </a:tblGrid>
              <a:tr h="173742">
                <a:tc>
                  <a:txBody>
                    <a:bodyPr/>
                    <a:lstStyle/>
                    <a:p>
                      <a:pPr algn="ctr" fontAlgn="b"/>
                      <a:r>
                        <a:rPr lang="en-US" sz="900" b="1" i="0" u="none" strike="noStrike" dirty="0">
                          <a:solidFill>
                            <a:srgbClr val="FFFFFF"/>
                          </a:solidFill>
                          <a:effectLst/>
                          <a:latin typeface="Calibri" panose="020F0502020204030204" pitchFamily="34" charset="0"/>
                        </a:rPr>
                        <a:t>Tower</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r>
                        <a:rPr lang="en-US" sz="900" b="1" i="0" u="none" strike="noStrike">
                          <a:solidFill>
                            <a:srgbClr val="FFFFFF"/>
                          </a:solidFill>
                          <a:effectLst/>
                          <a:latin typeface="Calibri" panose="020F0502020204030204" pitchFamily="34" charset="0"/>
                        </a:rPr>
                        <a:t>Functionality</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r>
                        <a:rPr lang="en-US" sz="900" b="1" i="0" u="none" strike="noStrike">
                          <a:solidFill>
                            <a:srgbClr val="FFFFFF"/>
                          </a:solidFill>
                          <a:effectLst/>
                          <a:latin typeface="Calibri" panose="020F0502020204030204" pitchFamily="34" charset="0"/>
                        </a:rPr>
                        <a:t>Curren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r>
                        <a:rPr lang="en-US" sz="900" b="1" i="0" u="none" strike="noStrike" dirty="0">
                          <a:solidFill>
                            <a:srgbClr val="FFFFFF"/>
                          </a:solidFill>
                          <a:effectLst/>
                          <a:latin typeface="Calibri" panose="020F0502020204030204" pitchFamily="34" charset="0"/>
                        </a:rPr>
                        <a:t>Targe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extLst>
                  <a:ext uri="{0D108BD9-81ED-4DB2-BD59-A6C34878D82A}">
                    <a16:rowId xmlns:a16="http://schemas.microsoft.com/office/drawing/2014/main" val="2103003625"/>
                  </a:ext>
                </a:extLst>
              </a:tr>
              <a:tr h="173742">
                <a:tc>
                  <a:txBody>
                    <a:bodyPr/>
                    <a:lstStyle/>
                    <a:p>
                      <a:pPr algn="l" fontAlgn="b"/>
                      <a:r>
                        <a:rPr lang="en-US" sz="900" b="1" i="0" u="none" strike="noStrike" dirty="0">
                          <a:solidFill>
                            <a:srgbClr val="000000"/>
                          </a:solidFill>
                          <a:effectLst/>
                          <a:latin typeface="Calibri" panose="020F0502020204030204" pitchFamily="34" charset="0"/>
                        </a:rPr>
                        <a:t>Cloud &amp; Cross Tower Tools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buClr>
                          <a:srgbClr val="000000"/>
                        </a:buClr>
                        <a:buSzPts val="1100"/>
                        <a:buFont typeface="Calibri" panose="020F0502020204030204" pitchFamily="34" charset="0"/>
                        <a:buChar char="C"/>
                      </a:pPr>
                      <a:r>
                        <a:rPr lang="en-US" sz="800" b="0" i="0" u="none" strike="noStrike" dirty="0" smtClean="0">
                          <a:solidFill>
                            <a:srgbClr val="000000"/>
                          </a:solidFill>
                          <a:effectLst/>
                          <a:latin typeface="Calibri" panose="020F0502020204030204" pitchFamily="34" charset="0"/>
                        </a:rPr>
                        <a:t>loud Monitoring</a:t>
                      </a:r>
                      <a:endParaRPr lang="en-US" sz="800" b="0" i="0" u="none" strike="noStrike" dirty="0">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a:solidFill>
                            <a:schemeClr val="bg1"/>
                          </a:solidFill>
                          <a:effectLst/>
                          <a:latin typeface="Calibri" panose="020F0502020204030204" pitchFamily="34" charset="0"/>
                        </a:rPr>
                        <a:t>AWS </a:t>
                      </a:r>
                      <a:r>
                        <a:rPr lang="en-US" sz="900" b="1" i="0" u="none" strike="noStrike" dirty="0" err="1">
                          <a:solidFill>
                            <a:schemeClr val="bg1"/>
                          </a:solidFill>
                          <a:effectLst/>
                          <a:latin typeface="Calibri" panose="020F0502020204030204" pitchFamily="34" charset="0"/>
                        </a:rPr>
                        <a:t>CloudWatch</a:t>
                      </a:r>
                      <a:r>
                        <a:rPr lang="en-US" sz="900" b="1" i="0" u="none" strike="noStrike" dirty="0">
                          <a:solidFill>
                            <a:schemeClr val="bg1"/>
                          </a:solidFill>
                          <a:effectLst/>
                          <a:latin typeface="Calibri" panose="020F0502020204030204" pitchFamily="34" charset="0"/>
                        </a:rPr>
                        <a:t>, Azure monitor</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algn="l" fontAlgn="b"/>
                      <a:r>
                        <a:rPr lang="en-US" sz="900" b="1" i="0" u="none" strike="noStrike" dirty="0">
                          <a:solidFill>
                            <a:schemeClr val="bg1"/>
                          </a:solidFill>
                          <a:effectLst/>
                          <a:latin typeface="Calibri" panose="020F0502020204030204" pitchFamily="34" charset="0"/>
                        </a:rPr>
                        <a:t>AWS </a:t>
                      </a:r>
                      <a:r>
                        <a:rPr lang="en-US" sz="900" b="1" i="0" u="none" strike="noStrike" dirty="0" err="1">
                          <a:solidFill>
                            <a:schemeClr val="bg1"/>
                          </a:solidFill>
                          <a:effectLst/>
                          <a:latin typeface="Calibri" panose="020F0502020204030204" pitchFamily="34" charset="0"/>
                        </a:rPr>
                        <a:t>CloudWatch</a:t>
                      </a:r>
                      <a:r>
                        <a:rPr lang="en-US" sz="900" b="1" i="0" u="none" strike="noStrike" dirty="0">
                          <a:solidFill>
                            <a:schemeClr val="bg1"/>
                          </a:solidFill>
                          <a:effectLst/>
                          <a:latin typeface="Calibri" panose="020F0502020204030204" pitchFamily="34" charset="0"/>
                        </a:rPr>
                        <a:t>, Azure </a:t>
                      </a:r>
                      <a:r>
                        <a:rPr lang="en-US" sz="900" b="1" i="0" u="none" strike="noStrike" dirty="0" smtClean="0">
                          <a:solidFill>
                            <a:schemeClr val="bg1"/>
                          </a:solidFill>
                          <a:effectLst/>
                          <a:latin typeface="Calibri" panose="020F0502020204030204" pitchFamily="34" charset="0"/>
                        </a:rPr>
                        <a:t>monitor *</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extLst>
                  <a:ext uri="{0D108BD9-81ED-4DB2-BD59-A6C34878D82A}">
                    <a16:rowId xmlns:a16="http://schemas.microsoft.com/office/drawing/2014/main" val="2514144908"/>
                  </a:ext>
                </a:extLst>
              </a:tr>
              <a:tr h="173742">
                <a:tc>
                  <a:txBody>
                    <a:bodyPr/>
                    <a:lstStyle/>
                    <a:p>
                      <a:pPr algn="l" fontAlgn="b"/>
                      <a:r>
                        <a:rPr lang="en-US" sz="900" b="1" i="0" u="none" strike="noStrike">
                          <a:solidFill>
                            <a:srgbClr val="000000"/>
                          </a:solidFill>
                          <a:effectLst/>
                          <a:latin typeface="Calibri" panose="020F0502020204030204" pitchFamily="34" charset="0"/>
                        </a:rPr>
                        <a:t>Cloud &amp; Cross Tower Tools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buClr>
                          <a:srgbClr val="000000"/>
                        </a:buClr>
                        <a:buSzPts val="1100"/>
                        <a:buFont typeface="Calibri" panose="020F0502020204030204" pitchFamily="34" charset="0"/>
                        <a:buChar char="O"/>
                      </a:pPr>
                      <a:r>
                        <a:rPr lang="en-US" sz="800" b="0" i="0" u="none" strike="noStrike" dirty="0" smtClean="0">
                          <a:solidFill>
                            <a:srgbClr val="000000"/>
                          </a:solidFill>
                          <a:effectLst/>
                          <a:latin typeface="Calibri" panose="020F0502020204030204" pitchFamily="34" charset="0"/>
                        </a:rPr>
                        <a:t>S, DB, MW Monitoring</a:t>
                      </a:r>
                      <a:endParaRPr lang="en-US" sz="800" b="0" i="0" u="none" strike="noStrike" dirty="0">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err="1">
                          <a:solidFill>
                            <a:schemeClr val="bg1"/>
                          </a:solidFill>
                          <a:effectLst/>
                          <a:latin typeface="Calibri" panose="020F0502020204030204" pitchFamily="34" charset="0"/>
                        </a:rPr>
                        <a:t>Zabbix</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algn="l" fontAlgn="b"/>
                      <a:r>
                        <a:rPr lang="en-US" sz="900" b="1" i="0" u="none" strike="noStrike" dirty="0" err="1" smtClean="0">
                          <a:solidFill>
                            <a:schemeClr val="bg1"/>
                          </a:solidFill>
                          <a:effectLst/>
                          <a:latin typeface="Calibri" panose="020F0502020204030204" pitchFamily="34" charset="0"/>
                        </a:rPr>
                        <a:t>Zabbix</a:t>
                      </a:r>
                      <a:r>
                        <a:rPr lang="en-US" sz="900" b="1" i="0" u="none" strike="noStrike" dirty="0" smtClean="0">
                          <a:solidFill>
                            <a:schemeClr val="bg1"/>
                          </a:solidFill>
                          <a:effectLst/>
                          <a:latin typeface="Calibri" panose="020F0502020204030204" pitchFamily="34" charset="0"/>
                        </a:rPr>
                        <a:t>*</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extLst>
                  <a:ext uri="{0D108BD9-81ED-4DB2-BD59-A6C34878D82A}">
                    <a16:rowId xmlns:a16="http://schemas.microsoft.com/office/drawing/2014/main" val="639416751"/>
                  </a:ext>
                </a:extLst>
              </a:tr>
              <a:tr h="173742">
                <a:tc>
                  <a:txBody>
                    <a:bodyPr/>
                    <a:lstStyle/>
                    <a:p>
                      <a:pPr algn="l" fontAlgn="b"/>
                      <a:r>
                        <a:rPr lang="en-US" sz="900" b="1" i="0" u="none" strike="noStrike">
                          <a:solidFill>
                            <a:srgbClr val="000000"/>
                          </a:solidFill>
                          <a:effectLst/>
                          <a:latin typeface="Calibri" panose="020F0502020204030204" pitchFamily="34" charset="0"/>
                        </a:rPr>
                        <a:t>Cloud &amp; Cross Tower Tools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buClr>
                          <a:srgbClr val="000000"/>
                        </a:buClr>
                        <a:buSzPts val="1100"/>
                        <a:buFont typeface="Calibri" panose="020F0502020204030204" pitchFamily="34" charset="0"/>
                        <a:buChar char="S"/>
                      </a:pPr>
                      <a:r>
                        <a:rPr lang="en-US" sz="800" b="0" i="0" u="none" strike="noStrike" dirty="0" err="1" smtClean="0">
                          <a:solidFill>
                            <a:srgbClr val="000000"/>
                          </a:solidFill>
                          <a:effectLst/>
                          <a:latin typeface="Calibri" panose="020F0502020204030204" pitchFamily="34" charset="0"/>
                        </a:rPr>
                        <a:t>erver</a:t>
                      </a:r>
                      <a:r>
                        <a:rPr lang="en-US" sz="800" b="0" i="0" u="none" strike="noStrike" baseline="0" dirty="0" smtClean="0">
                          <a:solidFill>
                            <a:srgbClr val="000000"/>
                          </a:solidFill>
                          <a:effectLst/>
                          <a:latin typeface="Calibri" panose="020F0502020204030204" pitchFamily="34" charset="0"/>
                        </a:rPr>
                        <a:t>, DB Backup</a:t>
                      </a:r>
                      <a:endParaRPr lang="en-US" sz="800" b="0" i="0" u="none" strike="noStrike" dirty="0">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a:solidFill>
                            <a:schemeClr val="bg1"/>
                          </a:solidFill>
                          <a:effectLst/>
                          <a:latin typeface="Calibri" panose="020F0502020204030204" pitchFamily="34" charset="0"/>
                        </a:rPr>
                        <a:t>Cloud native backup</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algn="l" fontAlgn="b"/>
                      <a:r>
                        <a:rPr lang="en-US" sz="900" b="1" i="0" u="none" strike="noStrike" dirty="0" smtClean="0">
                          <a:solidFill>
                            <a:schemeClr val="bg1"/>
                          </a:solidFill>
                          <a:effectLst/>
                          <a:latin typeface="Calibri" panose="020F0502020204030204" pitchFamily="34" charset="0"/>
                        </a:rPr>
                        <a:t>Cloud Native Backup</a:t>
                      </a:r>
                      <a:endParaRPr lang="en-US" sz="900" b="1" i="0" u="none" strike="noStrike" baseline="30000"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2879604681"/>
                  </a:ext>
                </a:extLst>
              </a:tr>
              <a:tr h="173742">
                <a:tc>
                  <a:txBody>
                    <a:bodyPr/>
                    <a:lstStyle/>
                    <a:p>
                      <a:pPr algn="l" fontAlgn="b"/>
                      <a:r>
                        <a:rPr lang="en-US" sz="900" b="1" i="0" u="none" strike="noStrike">
                          <a:solidFill>
                            <a:srgbClr val="000000"/>
                          </a:solidFill>
                          <a:effectLst/>
                          <a:latin typeface="Calibri" panose="020F0502020204030204" pitchFamily="34" charset="0"/>
                        </a:rPr>
                        <a:t>Cloud &amp; Cross Tower Tools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buClr>
                          <a:srgbClr val="000000"/>
                        </a:buClr>
                        <a:buSzPts val="1100"/>
                        <a:buFont typeface="Calibri" panose="020F0502020204030204" pitchFamily="34" charset="0"/>
                        <a:buChar char="S"/>
                      </a:pPr>
                      <a:r>
                        <a:rPr lang="en-US" sz="800" b="0" i="0" u="none" strike="noStrike" dirty="0" err="1" smtClean="0">
                          <a:solidFill>
                            <a:srgbClr val="000000"/>
                          </a:solidFill>
                          <a:effectLst/>
                          <a:latin typeface="Calibri" panose="020F0502020204030204" pitchFamily="34" charset="0"/>
                        </a:rPr>
                        <a:t>erver</a:t>
                      </a:r>
                      <a:r>
                        <a:rPr lang="en-US" sz="800" b="0" i="0" u="none" strike="noStrike" baseline="0" dirty="0" smtClean="0">
                          <a:solidFill>
                            <a:srgbClr val="000000"/>
                          </a:solidFill>
                          <a:effectLst/>
                          <a:latin typeface="Calibri" panose="020F0502020204030204" pitchFamily="34" charset="0"/>
                        </a:rPr>
                        <a:t> Patch Management</a:t>
                      </a:r>
                      <a:endParaRPr lang="en-US" sz="800" b="0" i="0" u="none" strike="noStrike" dirty="0">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err="1">
                          <a:solidFill>
                            <a:schemeClr val="bg1"/>
                          </a:solidFill>
                          <a:effectLst/>
                          <a:latin typeface="Calibri" panose="020F0502020204030204" pitchFamily="34" charset="0"/>
                        </a:rPr>
                        <a:t>Bigfix</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algn="l" fontAlgn="b"/>
                      <a:r>
                        <a:rPr lang="en-US" sz="900" b="1" i="0" u="none" strike="noStrike" dirty="0">
                          <a:solidFill>
                            <a:schemeClr val="bg1"/>
                          </a:solidFill>
                          <a:effectLst/>
                          <a:latin typeface="Calibri" panose="020F0502020204030204" pitchFamily="34" charset="0"/>
                        </a:rPr>
                        <a:t>Microsoft SCCM </a:t>
                      </a:r>
                      <a:r>
                        <a:rPr lang="en-US" sz="900" b="1" i="0" u="none" strike="noStrike" dirty="0" smtClean="0">
                          <a:solidFill>
                            <a:schemeClr val="bg1"/>
                          </a:solidFill>
                          <a:effectLst/>
                          <a:latin typeface="Calibri" panose="020F0502020204030204" pitchFamily="34" charset="0"/>
                        </a:rPr>
                        <a:t>*</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99841426"/>
                  </a:ext>
                </a:extLst>
              </a:tr>
              <a:tr h="173742">
                <a:tc>
                  <a:txBody>
                    <a:bodyPr/>
                    <a:lstStyle/>
                    <a:p>
                      <a:pPr algn="l" fontAlgn="b"/>
                      <a:r>
                        <a:rPr lang="en-US" sz="900" b="1" i="0" u="none" strike="noStrike">
                          <a:solidFill>
                            <a:srgbClr val="000000"/>
                          </a:solidFill>
                          <a:effectLst/>
                          <a:latin typeface="Calibri" panose="020F0502020204030204" pitchFamily="34" charset="0"/>
                        </a:rPr>
                        <a:t>Cloud &amp; Cross Tower Tools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buClr>
                          <a:srgbClr val="000000"/>
                        </a:buClr>
                        <a:buSzPts val="1100"/>
                        <a:buFont typeface="Calibri" panose="020F0502020204030204" pitchFamily="34" charset="0"/>
                        <a:buChar char="E"/>
                      </a:pPr>
                      <a:r>
                        <a:rPr lang="en-US" sz="800" b="0" i="0" u="none" strike="noStrike" dirty="0" smtClean="0">
                          <a:solidFill>
                            <a:srgbClr val="000000"/>
                          </a:solidFill>
                          <a:effectLst/>
                          <a:latin typeface="Calibri" panose="020F0502020204030204" pitchFamily="34" charset="0"/>
                        </a:rPr>
                        <a:t>vent</a:t>
                      </a:r>
                      <a:r>
                        <a:rPr lang="en-US" sz="800" b="0" i="0" u="none" strike="noStrike" baseline="0" dirty="0" smtClean="0">
                          <a:solidFill>
                            <a:srgbClr val="000000"/>
                          </a:solidFill>
                          <a:effectLst/>
                          <a:latin typeface="Calibri" panose="020F0502020204030204" pitchFamily="34" charset="0"/>
                        </a:rPr>
                        <a:t> Management</a:t>
                      </a:r>
                      <a:endParaRPr lang="en-US" sz="800" b="0" i="0" u="none" strike="noStrike" dirty="0">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err="1">
                          <a:solidFill>
                            <a:schemeClr val="bg1"/>
                          </a:solidFill>
                          <a:effectLst/>
                          <a:latin typeface="Calibri" panose="020F0502020204030204" pitchFamily="34" charset="0"/>
                        </a:rPr>
                        <a:t>Moogsoft</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algn="l" fontAlgn="b"/>
                      <a:r>
                        <a:rPr lang="en-US" sz="900" b="1" i="0" u="none" strike="noStrike" dirty="0" err="1" smtClean="0">
                          <a:solidFill>
                            <a:schemeClr val="bg1"/>
                          </a:solidFill>
                          <a:effectLst/>
                          <a:latin typeface="Calibri" panose="020F0502020204030204" pitchFamily="34" charset="0"/>
                        </a:rPr>
                        <a:t>Moogsoft</a:t>
                      </a:r>
                      <a:r>
                        <a:rPr lang="en-US" sz="900" b="1" i="0" u="none" strike="noStrike" dirty="0" smtClean="0">
                          <a:solidFill>
                            <a:schemeClr val="bg1"/>
                          </a:solidFill>
                          <a:effectLst/>
                          <a:latin typeface="Calibri" panose="020F0502020204030204" pitchFamily="34" charset="0"/>
                        </a:rPr>
                        <a:t>*</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extLst>
                  <a:ext uri="{0D108BD9-81ED-4DB2-BD59-A6C34878D82A}">
                    <a16:rowId xmlns:a16="http://schemas.microsoft.com/office/drawing/2014/main" val="3174983620"/>
                  </a:ext>
                </a:extLst>
              </a:tr>
              <a:tr h="173742">
                <a:tc>
                  <a:txBody>
                    <a:bodyPr/>
                    <a:lstStyle/>
                    <a:p>
                      <a:pPr algn="l" fontAlgn="b"/>
                      <a:r>
                        <a:rPr lang="en-US" sz="900" b="1" i="0" u="none" strike="noStrike">
                          <a:solidFill>
                            <a:srgbClr val="000000"/>
                          </a:solidFill>
                          <a:effectLst/>
                          <a:latin typeface="Calibri" panose="020F0502020204030204" pitchFamily="34" charset="0"/>
                        </a:rPr>
                        <a:t>Cloud &amp; Cross Tower Tools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ITSM</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err="1">
                          <a:solidFill>
                            <a:schemeClr val="bg1"/>
                          </a:solidFill>
                          <a:effectLst/>
                          <a:latin typeface="Calibri" panose="020F0502020204030204" pitchFamily="34" charset="0"/>
                        </a:rPr>
                        <a:t>ServiceNow</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algn="l" fontAlgn="b"/>
                      <a:r>
                        <a:rPr lang="en-US" sz="900" b="1" i="0" u="none" strike="noStrike" dirty="0" err="1" smtClean="0">
                          <a:solidFill>
                            <a:schemeClr val="bg1"/>
                          </a:solidFill>
                          <a:effectLst/>
                          <a:latin typeface="Calibri" panose="020F0502020204030204" pitchFamily="34" charset="0"/>
                        </a:rPr>
                        <a:t>ServiceNow</a:t>
                      </a:r>
                      <a:r>
                        <a:rPr lang="en-US" sz="900" b="1" i="0" u="none" strike="noStrike" dirty="0" smtClean="0">
                          <a:solidFill>
                            <a:schemeClr val="bg1"/>
                          </a:solidFill>
                          <a:effectLst/>
                          <a:latin typeface="Calibri" panose="020F0502020204030204" pitchFamily="34" charset="0"/>
                        </a:rPr>
                        <a:t>*</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extLst>
                  <a:ext uri="{0D108BD9-81ED-4DB2-BD59-A6C34878D82A}">
                    <a16:rowId xmlns:a16="http://schemas.microsoft.com/office/drawing/2014/main" val="3186484470"/>
                  </a:ext>
                </a:extLst>
              </a:tr>
              <a:tr h="173742">
                <a:tc>
                  <a:txBody>
                    <a:bodyPr/>
                    <a:lstStyle/>
                    <a:p>
                      <a:pPr algn="l" fontAlgn="b"/>
                      <a:r>
                        <a:rPr lang="en-US" sz="900" b="1" i="0" u="none" strike="noStrike">
                          <a:solidFill>
                            <a:srgbClr val="000000"/>
                          </a:solidFill>
                          <a:effectLst/>
                          <a:latin typeface="Calibri" panose="020F0502020204030204" pitchFamily="34" charset="0"/>
                        </a:rPr>
                        <a:t>Cloud &amp; Cross Tower Tools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Reporting</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err="1">
                          <a:solidFill>
                            <a:schemeClr val="bg1"/>
                          </a:solidFill>
                          <a:effectLst/>
                          <a:latin typeface="Calibri" panose="020F0502020204030204" pitchFamily="34" charset="0"/>
                        </a:rPr>
                        <a:t>ServiceNow</a:t>
                      </a:r>
                      <a:r>
                        <a:rPr lang="en-US" sz="900" b="1" i="0" u="none" strike="noStrike" dirty="0">
                          <a:solidFill>
                            <a:schemeClr val="bg1"/>
                          </a:solidFill>
                          <a:effectLst/>
                          <a:latin typeface="Calibri" panose="020F0502020204030204" pitchFamily="34" charset="0"/>
                        </a:rPr>
                        <a:t> Reporting</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algn="l" fontAlgn="b"/>
                      <a:r>
                        <a:rPr lang="en-US" sz="900" b="1" i="0" u="none" strike="noStrike" dirty="0" smtClean="0">
                          <a:solidFill>
                            <a:schemeClr val="bg1"/>
                          </a:solidFill>
                          <a:effectLst/>
                          <a:latin typeface="Calibri" panose="020F0502020204030204" pitchFamily="34" charset="0"/>
                        </a:rPr>
                        <a:t>ELK Enterprise Edition#</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2492470772"/>
                  </a:ext>
                </a:extLst>
              </a:tr>
              <a:tr h="173742">
                <a:tc>
                  <a:txBody>
                    <a:bodyPr/>
                    <a:lstStyle/>
                    <a:p>
                      <a:pPr algn="l" fontAlgn="b"/>
                      <a:r>
                        <a:rPr lang="en-US" sz="900" b="1" i="0" u="none" strike="noStrike">
                          <a:solidFill>
                            <a:srgbClr val="000000"/>
                          </a:solidFill>
                          <a:effectLst/>
                          <a:latin typeface="Calibri" panose="020F0502020204030204" pitchFamily="34" charset="0"/>
                        </a:rPr>
                        <a:t>Cloud &amp; Cross Tower Tools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Log Managemen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1" i="0" u="none" strike="noStrike" dirty="0">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a:solidFill>
                            <a:schemeClr val="bg1"/>
                          </a:solidFill>
                          <a:effectLst/>
                          <a:latin typeface="Calibri" panose="020F0502020204030204" pitchFamily="34" charset="0"/>
                        </a:rPr>
                        <a:t>ELK (Enterprise</a:t>
                      </a:r>
                      <a:r>
                        <a:rPr lang="en-US" sz="900" b="1" i="0" u="none" strike="noStrike" dirty="0" smtClean="0">
                          <a:solidFill>
                            <a:schemeClr val="bg1"/>
                          </a:solidFill>
                          <a:effectLst/>
                          <a:latin typeface="Calibri" panose="020F0502020204030204" pitchFamily="34" charset="0"/>
                        </a:rPr>
                        <a:t>)</a:t>
                      </a:r>
                      <a:r>
                        <a:rPr lang="en-US" sz="900" b="1" i="0" u="none" strike="noStrike" baseline="30000" dirty="0" smtClean="0">
                          <a:solidFill>
                            <a:schemeClr val="bg1"/>
                          </a:solidFill>
                          <a:effectLst/>
                          <a:latin typeface="Calibri" panose="020F0502020204030204" pitchFamily="34" charset="0"/>
                        </a:rPr>
                        <a:t>#</a:t>
                      </a:r>
                      <a:endParaRPr lang="en-US" sz="900" b="1" i="0" u="none" strike="noStrike" baseline="30000"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1509773459"/>
                  </a:ext>
                </a:extLst>
              </a:tr>
              <a:tr h="173742">
                <a:tc>
                  <a:txBody>
                    <a:bodyPr/>
                    <a:lstStyle/>
                    <a:p>
                      <a:pPr algn="l" fontAlgn="b"/>
                      <a:r>
                        <a:rPr lang="en-US" sz="900" b="1" i="0" u="none" strike="noStrike">
                          <a:solidFill>
                            <a:srgbClr val="000000"/>
                          </a:solidFill>
                          <a:effectLst/>
                          <a:latin typeface="Calibri" panose="020F0502020204030204" pitchFamily="34" charset="0"/>
                        </a:rPr>
                        <a:t>Cloud &amp; Cross Tower Tools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Cloud Economics</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1" i="0" u="none" strike="noStrike" dirty="0">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a:solidFill>
                            <a:schemeClr val="bg1"/>
                          </a:solidFill>
                          <a:effectLst/>
                          <a:latin typeface="Calibri" panose="020F0502020204030204" pitchFamily="34" charset="0"/>
                        </a:rPr>
                        <a:t>Azure cost management </a:t>
                      </a:r>
                      <a:r>
                        <a:rPr lang="en-US" sz="900" b="1" i="0" u="none" strike="noStrike" dirty="0" smtClean="0">
                          <a:solidFill>
                            <a:schemeClr val="bg1"/>
                          </a:solidFill>
                          <a:effectLst/>
                          <a:latin typeface="Calibri" panose="020F0502020204030204" pitchFamily="34" charset="0"/>
                        </a:rPr>
                        <a:t>\*</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2436533109"/>
                  </a:ext>
                </a:extLst>
              </a:tr>
              <a:tr h="173742">
                <a:tc>
                  <a:txBody>
                    <a:bodyPr/>
                    <a:lstStyle/>
                    <a:p>
                      <a:pPr algn="l" fontAlgn="b"/>
                      <a:r>
                        <a:rPr lang="en-US" sz="900" b="1" i="0" u="none" strike="noStrike">
                          <a:solidFill>
                            <a:srgbClr val="000000"/>
                          </a:solidFill>
                          <a:effectLst/>
                          <a:latin typeface="Calibri" panose="020F0502020204030204" pitchFamily="34" charset="0"/>
                        </a:rPr>
                        <a:t>Cloud &amp; Cross Tower Tools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Cloud Management Platform</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1" i="0" u="none" strike="noStrike" dirty="0">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err="1">
                          <a:solidFill>
                            <a:schemeClr val="bg1"/>
                          </a:solidFill>
                          <a:effectLst/>
                          <a:latin typeface="Calibri" panose="020F0502020204030204" pitchFamily="34" charset="0"/>
                        </a:rPr>
                        <a:t>ServiceNow</a:t>
                      </a:r>
                      <a:r>
                        <a:rPr lang="en-US" sz="900" b="1" i="0" u="none" strike="noStrike" dirty="0">
                          <a:solidFill>
                            <a:schemeClr val="bg1"/>
                          </a:solidFill>
                          <a:effectLst/>
                          <a:latin typeface="Calibri" panose="020F0502020204030204" pitchFamily="34" charset="0"/>
                        </a:rPr>
                        <a:t> </a:t>
                      </a:r>
                      <a:r>
                        <a:rPr lang="en-US" sz="900" b="1" i="0" u="none" strike="noStrike" dirty="0" smtClean="0">
                          <a:solidFill>
                            <a:schemeClr val="bg1"/>
                          </a:solidFill>
                          <a:effectLst/>
                          <a:latin typeface="Calibri" panose="020F0502020204030204" pitchFamily="34" charset="0"/>
                        </a:rPr>
                        <a:t>CMP*</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110268546"/>
                  </a:ext>
                </a:extLst>
              </a:tr>
              <a:tr h="173742">
                <a:tc>
                  <a:txBody>
                    <a:bodyPr/>
                    <a:lstStyle/>
                    <a:p>
                      <a:pPr algn="l" fontAlgn="b"/>
                      <a:r>
                        <a:rPr lang="en-US" sz="900" b="1" i="0" u="none" strike="noStrike">
                          <a:solidFill>
                            <a:srgbClr val="000000"/>
                          </a:solidFill>
                          <a:effectLst/>
                          <a:latin typeface="Calibri" panose="020F0502020204030204" pitchFamily="34" charset="0"/>
                        </a:rPr>
                        <a:t>End User Computing</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Win10 Device Managemen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1" i="0" u="none" strike="noStrike" dirty="0">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a:solidFill>
                            <a:schemeClr val="bg1"/>
                          </a:solidFill>
                          <a:effectLst/>
                          <a:latin typeface="Calibri" panose="020F0502020204030204" pitchFamily="34" charset="0"/>
                        </a:rPr>
                        <a:t>MS </a:t>
                      </a:r>
                      <a:r>
                        <a:rPr lang="en-US" sz="900" b="1" i="0" u="none" strike="noStrike" dirty="0" smtClean="0">
                          <a:solidFill>
                            <a:schemeClr val="bg1"/>
                          </a:solidFill>
                          <a:effectLst/>
                          <a:latin typeface="Calibri" panose="020F0502020204030204" pitchFamily="34" charset="0"/>
                        </a:rPr>
                        <a:t>Intune*</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1140357358"/>
                  </a:ext>
                </a:extLst>
              </a:tr>
              <a:tr h="173742">
                <a:tc>
                  <a:txBody>
                    <a:bodyPr/>
                    <a:lstStyle/>
                    <a:p>
                      <a:pPr algn="l" fontAlgn="b"/>
                      <a:r>
                        <a:rPr lang="en-US" sz="900" b="1" i="0" u="none" strike="noStrike" dirty="0">
                          <a:solidFill>
                            <a:srgbClr val="000000"/>
                          </a:solidFill>
                          <a:effectLst/>
                          <a:latin typeface="Calibri" panose="020F0502020204030204" pitchFamily="34" charset="0"/>
                        </a:rPr>
                        <a:t>End User Computing</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MDM</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err="1">
                          <a:solidFill>
                            <a:schemeClr val="bg1"/>
                          </a:solidFill>
                          <a:effectLst/>
                          <a:latin typeface="Calibri" panose="020F0502020204030204" pitchFamily="34" charset="0"/>
                        </a:rPr>
                        <a:t>MaaS</a:t>
                      </a:r>
                      <a:r>
                        <a:rPr lang="en-US" sz="900" b="1" i="0" u="none" strike="noStrike" dirty="0">
                          <a:solidFill>
                            <a:schemeClr val="bg1"/>
                          </a:solidFill>
                          <a:effectLst/>
                          <a:latin typeface="Calibri" panose="020F0502020204030204" pitchFamily="34" charset="0"/>
                        </a:rPr>
                        <a:t> 360 / </a:t>
                      </a:r>
                      <a:r>
                        <a:rPr lang="en-US" sz="900" b="1" i="0" u="none" strike="noStrike" dirty="0" err="1">
                          <a:solidFill>
                            <a:schemeClr val="bg1"/>
                          </a:solidFill>
                          <a:effectLst/>
                          <a:latin typeface="Calibri" panose="020F0502020204030204" pitchFamily="34" charset="0"/>
                        </a:rPr>
                        <a:t>Jamf</a:t>
                      </a:r>
                      <a:r>
                        <a:rPr lang="en-US" sz="900" b="1" i="0" u="none" strike="noStrike" dirty="0">
                          <a:solidFill>
                            <a:schemeClr val="bg1"/>
                          </a:solidFill>
                          <a:effectLst/>
                          <a:latin typeface="Calibri" panose="020F0502020204030204" pitchFamily="34" charset="0"/>
                        </a:rPr>
                        <a:t> Pro</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algn="l" fontAlgn="b"/>
                      <a:r>
                        <a:rPr lang="en-US" sz="900" b="1" i="0" u="none" strike="noStrike" dirty="0">
                          <a:solidFill>
                            <a:schemeClr val="bg1"/>
                          </a:solidFill>
                          <a:effectLst/>
                          <a:latin typeface="Calibri" panose="020F0502020204030204" pitchFamily="34" charset="0"/>
                        </a:rPr>
                        <a:t>MS </a:t>
                      </a:r>
                      <a:r>
                        <a:rPr lang="en-US" sz="900" b="1" i="0" u="none" strike="noStrike" dirty="0" smtClean="0">
                          <a:solidFill>
                            <a:schemeClr val="bg1"/>
                          </a:solidFill>
                          <a:effectLst/>
                          <a:latin typeface="Calibri" panose="020F0502020204030204" pitchFamily="34" charset="0"/>
                        </a:rPr>
                        <a:t>Intune*</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1418214525"/>
                  </a:ext>
                </a:extLst>
              </a:tr>
              <a:tr h="173742">
                <a:tc>
                  <a:txBody>
                    <a:bodyPr/>
                    <a:lstStyle/>
                    <a:p>
                      <a:pPr algn="l" fontAlgn="b"/>
                      <a:r>
                        <a:rPr lang="en-US" sz="900" b="1" i="0" u="none" strike="noStrike" dirty="0">
                          <a:solidFill>
                            <a:srgbClr val="000000"/>
                          </a:solidFill>
                          <a:effectLst/>
                          <a:latin typeface="Calibri" panose="020F0502020204030204" pitchFamily="34" charset="0"/>
                        </a:rPr>
                        <a:t>End User Computing</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Patch Managemen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err="1">
                          <a:solidFill>
                            <a:schemeClr val="bg1"/>
                          </a:solidFill>
                          <a:effectLst/>
                          <a:latin typeface="Calibri" panose="020F0502020204030204" pitchFamily="34" charset="0"/>
                        </a:rPr>
                        <a:t>BigFix</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algn="l" fontAlgn="b"/>
                      <a:r>
                        <a:rPr lang="en-US" sz="900" b="1" i="0" u="none" strike="noStrike" dirty="0">
                          <a:solidFill>
                            <a:schemeClr val="bg1"/>
                          </a:solidFill>
                          <a:effectLst/>
                          <a:latin typeface="Calibri" panose="020F0502020204030204" pitchFamily="34" charset="0"/>
                        </a:rPr>
                        <a:t>Windows Update for </a:t>
                      </a:r>
                      <a:r>
                        <a:rPr lang="en-US" sz="900" b="1" i="0" u="none" strike="noStrike" dirty="0" smtClean="0">
                          <a:solidFill>
                            <a:schemeClr val="bg1"/>
                          </a:solidFill>
                          <a:effectLst/>
                          <a:latin typeface="Calibri" panose="020F0502020204030204" pitchFamily="34" charset="0"/>
                        </a:rPr>
                        <a:t>Business*</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2025806891"/>
                  </a:ext>
                </a:extLst>
              </a:tr>
              <a:tr h="173742">
                <a:tc>
                  <a:txBody>
                    <a:bodyPr/>
                    <a:lstStyle/>
                    <a:p>
                      <a:pPr algn="l" fontAlgn="b"/>
                      <a:r>
                        <a:rPr lang="en-US" sz="900" b="1" i="0" u="none" strike="noStrike">
                          <a:solidFill>
                            <a:srgbClr val="000000"/>
                          </a:solidFill>
                          <a:effectLst/>
                          <a:latin typeface="Calibri" panose="020F0502020204030204" pitchFamily="34" charset="0"/>
                        </a:rPr>
                        <a:t>End User Computing</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Password Reset Self Help</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1" i="0" u="none" strike="noStrike" dirty="0">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a:solidFill>
                            <a:schemeClr val="bg1"/>
                          </a:solidFill>
                          <a:effectLst/>
                          <a:latin typeface="Calibri" panose="020F0502020204030204" pitchFamily="34" charset="0"/>
                        </a:rPr>
                        <a:t>Azure AD + </a:t>
                      </a:r>
                      <a:r>
                        <a:rPr lang="en-US" sz="900" b="1" i="0" u="none" strike="noStrike" dirty="0" smtClean="0">
                          <a:solidFill>
                            <a:schemeClr val="bg1"/>
                          </a:solidFill>
                          <a:effectLst/>
                          <a:latin typeface="Calibri" panose="020F0502020204030204" pitchFamily="34" charset="0"/>
                        </a:rPr>
                        <a:t>SSPR*</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136705993"/>
                  </a:ext>
                </a:extLst>
              </a:tr>
              <a:tr h="173742">
                <a:tc>
                  <a:txBody>
                    <a:bodyPr/>
                    <a:lstStyle/>
                    <a:p>
                      <a:pPr algn="l" fontAlgn="b"/>
                      <a:r>
                        <a:rPr lang="en-US" sz="900" b="1" i="0" u="none" strike="noStrike">
                          <a:solidFill>
                            <a:srgbClr val="000000"/>
                          </a:solidFill>
                          <a:effectLst/>
                          <a:latin typeface="Calibri" panose="020F0502020204030204" pitchFamily="34" charset="0"/>
                        </a:rPr>
                        <a:t>End User Computing</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Password less authentication</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1" i="0" u="none" strike="noStrike" dirty="0">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a:solidFill>
                            <a:schemeClr val="bg1"/>
                          </a:solidFill>
                          <a:effectLst/>
                          <a:latin typeface="Calibri" panose="020F0502020204030204" pitchFamily="34" charset="0"/>
                        </a:rPr>
                        <a:t>Windows </a:t>
                      </a:r>
                      <a:r>
                        <a:rPr lang="en-US" sz="900" b="1" i="0" u="none" strike="noStrike" dirty="0" smtClean="0">
                          <a:solidFill>
                            <a:schemeClr val="bg1"/>
                          </a:solidFill>
                          <a:effectLst/>
                          <a:latin typeface="Calibri" panose="020F0502020204030204" pitchFamily="34" charset="0"/>
                        </a:rPr>
                        <a:t>Hello*</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1154171911"/>
                  </a:ext>
                </a:extLst>
              </a:tr>
              <a:tr h="173742">
                <a:tc>
                  <a:txBody>
                    <a:bodyPr/>
                    <a:lstStyle/>
                    <a:p>
                      <a:pPr algn="l" fontAlgn="b"/>
                      <a:r>
                        <a:rPr lang="en-US" sz="900" b="1" i="0" u="none" strike="noStrike">
                          <a:solidFill>
                            <a:srgbClr val="000000"/>
                          </a:solidFill>
                          <a:effectLst/>
                          <a:latin typeface="Calibri" panose="020F0502020204030204" pitchFamily="34" charset="0"/>
                        </a:rPr>
                        <a:t>End User Computing</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Print Services</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a:solidFill>
                            <a:schemeClr val="bg1"/>
                          </a:solidFill>
                          <a:effectLst/>
                          <a:latin typeface="Calibri" panose="020F0502020204030204" pitchFamily="34" charset="0"/>
                        </a:rPr>
                        <a:t>Follow Me Prin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marL="0" algn="l" defTabSz="914378" rtl="0" eaLnBrk="1" fontAlgn="b" latinLnBrk="0" hangingPunct="1"/>
                      <a:r>
                        <a:rPr lang="en-US" sz="900" b="1" i="0" u="none" strike="noStrike" dirty="0">
                          <a:solidFill>
                            <a:schemeClr val="bg1"/>
                          </a:solidFill>
                          <a:effectLst/>
                          <a:latin typeface="Calibri" panose="020F0502020204030204" pitchFamily="34" charset="0"/>
                        </a:rPr>
                        <a:t>Follow Me </a:t>
                      </a:r>
                      <a:r>
                        <a:rPr lang="en-US" sz="900" b="1" i="0" u="none" strike="noStrike" dirty="0" smtClean="0">
                          <a:solidFill>
                            <a:schemeClr val="bg1"/>
                          </a:solidFill>
                          <a:effectLst/>
                          <a:latin typeface="Calibri" panose="020F0502020204030204" pitchFamily="34" charset="0"/>
                        </a:rPr>
                        <a:t>Print</a:t>
                      </a:r>
                      <a:r>
                        <a:rPr lang="en-US" sz="900" b="1" i="0" u="none" strike="noStrike" kern="1200" dirty="0" smtClean="0">
                          <a:solidFill>
                            <a:schemeClr val="bg1"/>
                          </a:solidFill>
                          <a:effectLst/>
                          <a:latin typeface="Calibri" panose="020F0502020204030204" pitchFamily="34" charset="0"/>
                          <a:ea typeface="+mn-ea"/>
                          <a:cs typeface="+mn-cs"/>
                        </a:rPr>
                        <a:t>*</a:t>
                      </a:r>
                      <a:endParaRPr lang="en-US" sz="900" b="1" i="0" u="none" strike="noStrike" kern="1200" dirty="0">
                        <a:solidFill>
                          <a:schemeClr val="bg1"/>
                        </a:solidFill>
                        <a:effectLst/>
                        <a:latin typeface="Calibri" panose="020F0502020204030204" pitchFamily="34" charset="0"/>
                        <a:ea typeface="+mn-ea"/>
                        <a:cs typeface="+mn-cs"/>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extLst>
                  <a:ext uri="{0D108BD9-81ED-4DB2-BD59-A6C34878D82A}">
                    <a16:rowId xmlns:a16="http://schemas.microsoft.com/office/drawing/2014/main" val="3577796969"/>
                  </a:ext>
                </a:extLst>
              </a:tr>
              <a:tr h="173742">
                <a:tc>
                  <a:txBody>
                    <a:bodyPr/>
                    <a:lstStyle/>
                    <a:p>
                      <a:pPr algn="l" fontAlgn="b"/>
                      <a:r>
                        <a:rPr lang="en-US" sz="900" b="1" i="0" u="none" strike="noStrike">
                          <a:solidFill>
                            <a:srgbClr val="000000"/>
                          </a:solidFill>
                          <a:effectLst/>
                          <a:latin typeface="Calibri" panose="020F0502020204030204" pitchFamily="34" charset="0"/>
                        </a:rPr>
                        <a:t>End User Computing</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User Experience Managemen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1" i="0" u="none" strike="noStrike" dirty="0">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err="1" smtClean="0">
                          <a:solidFill>
                            <a:schemeClr val="bg1"/>
                          </a:solidFill>
                          <a:effectLst/>
                          <a:latin typeface="Calibri" panose="020F0502020204030204" pitchFamily="34" charset="0"/>
                        </a:rPr>
                        <a:t>Systrack</a:t>
                      </a:r>
                      <a:r>
                        <a:rPr lang="en-US" sz="900" b="1" i="0" u="none" strike="noStrike" kern="1200" baseline="30000" dirty="0" smtClean="0">
                          <a:solidFill>
                            <a:schemeClr val="bg1"/>
                          </a:solidFill>
                          <a:effectLst/>
                          <a:latin typeface="Calibri" panose="020F0502020204030204" pitchFamily="34" charset="0"/>
                          <a:ea typeface="+mn-ea"/>
                          <a:cs typeface="+mn-cs"/>
                        </a:rPr>
                        <a:t>#</a:t>
                      </a:r>
                      <a:endParaRPr lang="en-US" sz="900" b="1" i="0" u="none" strike="noStrike" kern="1200" baseline="30000" dirty="0">
                        <a:solidFill>
                          <a:schemeClr val="bg1"/>
                        </a:solidFill>
                        <a:effectLst/>
                        <a:latin typeface="Calibri" panose="020F0502020204030204" pitchFamily="34" charset="0"/>
                        <a:ea typeface="+mn-ea"/>
                        <a:cs typeface="+mn-cs"/>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1669671837"/>
                  </a:ext>
                </a:extLst>
              </a:tr>
              <a:tr h="173742">
                <a:tc>
                  <a:txBody>
                    <a:bodyPr/>
                    <a:lstStyle/>
                    <a:p>
                      <a:pPr algn="l" fontAlgn="b"/>
                      <a:r>
                        <a:rPr lang="en-US" sz="900" b="1" i="0" u="none" strike="noStrike">
                          <a:solidFill>
                            <a:srgbClr val="000000"/>
                          </a:solidFill>
                          <a:effectLst/>
                          <a:latin typeface="Calibri" panose="020F0502020204030204" pitchFamily="34" charset="0"/>
                        </a:rPr>
                        <a:t>End User Computing</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Backup Services</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a:solidFill>
                            <a:schemeClr val="bg1"/>
                          </a:solidFill>
                          <a:effectLst/>
                          <a:latin typeface="Calibri" panose="020F0502020204030204" pitchFamily="34" charset="0"/>
                        </a:rPr>
                        <a:t>Crash Plan</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algn="l" fontAlgn="b"/>
                      <a:r>
                        <a:rPr lang="en-US" sz="900" b="1" i="0" u="none" strike="noStrike" dirty="0" err="1">
                          <a:solidFill>
                            <a:schemeClr val="bg1"/>
                          </a:solidFill>
                          <a:effectLst/>
                          <a:latin typeface="Calibri" panose="020F0502020204030204" pitchFamily="34" charset="0"/>
                        </a:rPr>
                        <a:t>Druva</a:t>
                      </a:r>
                      <a:r>
                        <a:rPr lang="en-US" sz="900" b="1" i="0" u="none" strike="noStrike" dirty="0">
                          <a:solidFill>
                            <a:schemeClr val="bg1"/>
                          </a:solidFill>
                          <a:effectLst/>
                          <a:latin typeface="Calibri" panose="020F0502020204030204" pitchFamily="34" charset="0"/>
                        </a:rPr>
                        <a:t> </a:t>
                      </a:r>
                      <a:r>
                        <a:rPr lang="en-US" sz="900" b="1" i="0" u="none" strike="noStrike" dirty="0" err="1" smtClean="0">
                          <a:solidFill>
                            <a:schemeClr val="bg1"/>
                          </a:solidFill>
                          <a:effectLst/>
                          <a:latin typeface="Calibri" panose="020F0502020204030204" pitchFamily="34" charset="0"/>
                        </a:rPr>
                        <a:t>Insync</a:t>
                      </a:r>
                      <a:r>
                        <a:rPr lang="en-US" sz="900" b="1" i="0" u="none" strike="noStrike" kern="1200" baseline="30000" dirty="0" smtClean="0">
                          <a:solidFill>
                            <a:schemeClr val="bg1"/>
                          </a:solidFill>
                          <a:effectLst/>
                          <a:latin typeface="Calibri" panose="020F0502020204030204" pitchFamily="34" charset="0"/>
                          <a:ea typeface="+mn-ea"/>
                          <a:cs typeface="+mn-cs"/>
                        </a:rPr>
                        <a:t>#</a:t>
                      </a:r>
                      <a:endParaRPr lang="en-US" sz="900" b="1" i="0" u="none" strike="noStrike" kern="1200" baseline="30000" dirty="0">
                        <a:solidFill>
                          <a:schemeClr val="bg1"/>
                        </a:solidFill>
                        <a:effectLst/>
                        <a:latin typeface="Calibri" panose="020F0502020204030204" pitchFamily="34" charset="0"/>
                        <a:ea typeface="+mn-ea"/>
                        <a:cs typeface="+mn-cs"/>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2014385177"/>
                  </a:ext>
                </a:extLst>
              </a:tr>
              <a:tr h="173742">
                <a:tc>
                  <a:txBody>
                    <a:bodyPr/>
                    <a:lstStyle/>
                    <a:p>
                      <a:pPr algn="l" fontAlgn="b"/>
                      <a:r>
                        <a:rPr lang="en-US" sz="900" b="1" i="0" u="none" strike="noStrike">
                          <a:solidFill>
                            <a:srgbClr val="000000"/>
                          </a:solidFill>
                          <a:effectLst/>
                          <a:latin typeface="Calibri" panose="020F0502020204030204" pitchFamily="34" charset="0"/>
                        </a:rPr>
                        <a:t>End User Computing</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Collaboration</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a:solidFill>
                            <a:schemeClr val="bg1"/>
                          </a:solidFill>
                          <a:effectLst/>
                          <a:latin typeface="Calibri" panose="020F0502020204030204" pitchFamily="34" charset="0"/>
                        </a:rPr>
                        <a:t>Skype for Business</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algn="l" fontAlgn="b"/>
                      <a:r>
                        <a:rPr lang="en-US" sz="900" b="1" i="0" u="none" strike="noStrike" dirty="0">
                          <a:solidFill>
                            <a:schemeClr val="bg1"/>
                          </a:solidFill>
                          <a:effectLst/>
                          <a:latin typeface="Calibri" panose="020F0502020204030204" pitchFamily="34" charset="0"/>
                        </a:rPr>
                        <a:t>MS </a:t>
                      </a:r>
                      <a:r>
                        <a:rPr lang="en-US" sz="900" b="1" i="0" u="none" strike="noStrike" dirty="0" smtClean="0">
                          <a:solidFill>
                            <a:schemeClr val="bg1"/>
                          </a:solidFill>
                          <a:effectLst/>
                          <a:latin typeface="Calibri" panose="020F0502020204030204" pitchFamily="34" charset="0"/>
                        </a:rPr>
                        <a:t>Teams*</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3255825735"/>
                  </a:ext>
                </a:extLst>
              </a:tr>
              <a:tr h="173742">
                <a:tc>
                  <a:txBody>
                    <a:bodyPr/>
                    <a:lstStyle/>
                    <a:p>
                      <a:pPr algn="l" fontAlgn="b"/>
                      <a:r>
                        <a:rPr lang="en-US" sz="900" b="1" i="0" u="none" strike="noStrike">
                          <a:solidFill>
                            <a:srgbClr val="000000"/>
                          </a:solidFill>
                          <a:effectLst/>
                          <a:latin typeface="Calibri" panose="020F0502020204030204" pitchFamily="34" charset="0"/>
                        </a:rPr>
                        <a:t>End User Computing</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Vending Machines</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1" i="0" u="none" strike="noStrike" dirty="0">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a:solidFill>
                            <a:schemeClr val="bg1"/>
                          </a:solidFill>
                          <a:effectLst/>
                          <a:latin typeface="Calibri" panose="020F0502020204030204" pitchFamily="34" charset="0"/>
                        </a:rPr>
                        <a:t>IVM Vending </a:t>
                      </a:r>
                      <a:r>
                        <a:rPr lang="en-US" sz="900" b="1" i="0" u="none" strike="noStrike" dirty="0" smtClean="0">
                          <a:solidFill>
                            <a:schemeClr val="bg1"/>
                          </a:solidFill>
                          <a:effectLst/>
                          <a:latin typeface="Calibri" panose="020F0502020204030204" pitchFamily="34" charset="0"/>
                        </a:rPr>
                        <a:t>Machines</a:t>
                      </a:r>
                      <a:r>
                        <a:rPr lang="en-US" sz="900" b="1" i="0" u="none" strike="noStrike" kern="1200" baseline="30000" dirty="0" smtClean="0">
                          <a:solidFill>
                            <a:schemeClr val="bg1"/>
                          </a:solidFill>
                          <a:effectLst/>
                          <a:latin typeface="Calibri" panose="020F0502020204030204" pitchFamily="34" charset="0"/>
                          <a:ea typeface="+mn-ea"/>
                          <a:cs typeface="+mn-cs"/>
                        </a:rPr>
                        <a:t>#</a:t>
                      </a:r>
                      <a:endParaRPr lang="en-US" sz="900" b="1" i="0" u="none" strike="noStrike" kern="1200" baseline="30000" dirty="0">
                        <a:solidFill>
                          <a:schemeClr val="bg1"/>
                        </a:solidFill>
                        <a:effectLst/>
                        <a:latin typeface="Calibri" panose="020F0502020204030204" pitchFamily="34" charset="0"/>
                        <a:ea typeface="+mn-ea"/>
                        <a:cs typeface="+mn-cs"/>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236814291"/>
                  </a:ext>
                </a:extLst>
              </a:tr>
              <a:tr h="173742">
                <a:tc>
                  <a:txBody>
                    <a:bodyPr/>
                    <a:lstStyle/>
                    <a:p>
                      <a:pPr algn="l" fontAlgn="b"/>
                      <a:r>
                        <a:rPr lang="en-US" sz="900" b="1" i="0" u="none" strike="noStrike">
                          <a:solidFill>
                            <a:srgbClr val="000000"/>
                          </a:solidFill>
                          <a:effectLst/>
                          <a:latin typeface="Calibri" panose="020F0502020204030204" pitchFamily="34" charset="0"/>
                        </a:rPr>
                        <a:t>End User Computing</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Digital Lockers</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1" i="0" u="none" strike="noStrike" dirty="0">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a:solidFill>
                            <a:schemeClr val="bg1"/>
                          </a:solidFill>
                          <a:effectLst/>
                          <a:latin typeface="Calibri" panose="020F0502020204030204" pitchFamily="34" charset="0"/>
                        </a:rPr>
                        <a:t>IVM Smart </a:t>
                      </a:r>
                      <a:r>
                        <a:rPr lang="en-US" sz="900" b="1" i="0" u="none" strike="noStrike" dirty="0" smtClean="0">
                          <a:solidFill>
                            <a:schemeClr val="bg1"/>
                          </a:solidFill>
                          <a:effectLst/>
                          <a:latin typeface="Calibri" panose="020F0502020204030204" pitchFamily="34" charset="0"/>
                        </a:rPr>
                        <a:t>Lockers</a:t>
                      </a:r>
                      <a:r>
                        <a:rPr lang="en-US" sz="900" b="1" i="0" u="none" strike="noStrike" kern="1200" baseline="30000" dirty="0" smtClean="0">
                          <a:solidFill>
                            <a:schemeClr val="bg1"/>
                          </a:solidFill>
                          <a:effectLst/>
                          <a:latin typeface="Calibri" panose="020F0502020204030204" pitchFamily="34" charset="0"/>
                          <a:ea typeface="+mn-ea"/>
                          <a:cs typeface="+mn-cs"/>
                        </a:rPr>
                        <a:t>#</a:t>
                      </a:r>
                      <a:endParaRPr lang="en-US" sz="900" b="1" i="0" u="none" strike="noStrike" kern="1200" baseline="30000" dirty="0">
                        <a:solidFill>
                          <a:schemeClr val="bg1"/>
                        </a:solidFill>
                        <a:effectLst/>
                        <a:latin typeface="Calibri" panose="020F0502020204030204" pitchFamily="34" charset="0"/>
                        <a:ea typeface="+mn-ea"/>
                        <a:cs typeface="+mn-cs"/>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583768651"/>
                  </a:ext>
                </a:extLst>
              </a:tr>
              <a:tr h="173742">
                <a:tc>
                  <a:txBody>
                    <a:bodyPr/>
                    <a:lstStyle/>
                    <a:p>
                      <a:pPr algn="l" fontAlgn="b"/>
                      <a:r>
                        <a:rPr lang="en-US" sz="900" b="1" i="0" u="none" strike="noStrike">
                          <a:solidFill>
                            <a:srgbClr val="000000"/>
                          </a:solidFill>
                          <a:effectLst/>
                          <a:latin typeface="Calibri" panose="020F0502020204030204" pitchFamily="34" charset="0"/>
                        </a:rPr>
                        <a:t>End User Computing</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Cloud Workspace</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1" i="0" u="none" strike="noStrike" dirty="0">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a:solidFill>
                            <a:schemeClr val="bg1"/>
                          </a:solidFill>
                          <a:effectLst/>
                          <a:latin typeface="Calibri" panose="020F0502020204030204" pitchFamily="34" charset="0"/>
                        </a:rPr>
                        <a:t>WVD on </a:t>
                      </a:r>
                      <a:r>
                        <a:rPr lang="en-US" sz="900" b="1" i="0" u="none" strike="noStrike" dirty="0" smtClean="0">
                          <a:solidFill>
                            <a:schemeClr val="bg1"/>
                          </a:solidFill>
                          <a:effectLst/>
                          <a:latin typeface="Calibri" panose="020F0502020204030204" pitchFamily="34" charset="0"/>
                        </a:rPr>
                        <a:t>Azure*</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2896539567"/>
                  </a:ext>
                </a:extLst>
              </a:tr>
            </a:tbl>
          </a:graphicData>
        </a:graphic>
      </p:graphicFrame>
      <p:sp>
        <p:nvSpPr>
          <p:cNvPr id="9" name="Freeform 8"/>
          <p:cNvSpPr/>
          <p:nvPr/>
        </p:nvSpPr>
        <p:spPr>
          <a:xfrm>
            <a:off x="1554053" y="4765508"/>
            <a:ext cx="1371600" cy="274320"/>
          </a:xfrm>
          <a:custGeom>
            <a:avLst/>
            <a:gdLst>
              <a:gd name="connsiteX0" fmla="*/ 0 w 643360"/>
              <a:gd name="connsiteY0" fmla="*/ 0 h 386016"/>
              <a:gd name="connsiteX1" fmla="*/ 643360 w 643360"/>
              <a:gd name="connsiteY1" fmla="*/ 0 h 386016"/>
              <a:gd name="connsiteX2" fmla="*/ 643360 w 643360"/>
              <a:gd name="connsiteY2" fmla="*/ 386016 h 386016"/>
              <a:gd name="connsiteX3" fmla="*/ 0 w 643360"/>
              <a:gd name="connsiteY3" fmla="*/ 386016 h 386016"/>
              <a:gd name="connsiteX4" fmla="*/ 0 w 643360"/>
              <a:gd name="connsiteY4" fmla="*/ 0 h 386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360" h="386016">
                <a:moveTo>
                  <a:pt x="0" y="0"/>
                </a:moveTo>
                <a:lnTo>
                  <a:pt x="643360" y="0"/>
                </a:lnTo>
                <a:lnTo>
                  <a:pt x="643360" y="386016"/>
                </a:lnTo>
                <a:lnTo>
                  <a:pt x="0" y="386016"/>
                </a:lnTo>
                <a:lnTo>
                  <a:pt x="0" y="0"/>
                </a:lnTo>
                <a:close/>
              </a:path>
            </a:pathLst>
          </a:custGeom>
          <a:solidFill>
            <a:srgbClr val="00B140"/>
          </a:solidFill>
          <a:ln w="12700" cap="flat" cmpd="sng" algn="ctr">
            <a:solidFill>
              <a:srgbClr val="FFFFFF">
                <a:hueOff val="0"/>
                <a:satOff val="0"/>
                <a:lumOff val="0"/>
                <a:alphaOff val="0"/>
              </a:srgbClr>
            </a:solidFill>
            <a:prstDash val="solid"/>
            <a:miter lim="800000"/>
          </a:ln>
          <a:effectLst/>
        </p:spPr>
        <p:txBody>
          <a:bodyPr spcFirstLastPara="0" vert="horz" wrap="square" lIns="28575" tIns="28575" rIns="28575" bIns="28575" numCol="1" spcCol="1270" anchor="ctr" anchorCtr="0">
            <a:noAutofit/>
          </a:bodyPr>
          <a:lstStyle/>
          <a:p>
            <a:pPr marL="0" marR="0" lvl="0" indent="0" algn="ctr" defTabSz="333375" eaLnBrk="1" fontAlgn="auto" latinLnBrk="0" hangingPunct="1">
              <a:lnSpc>
                <a:spcPct val="90000"/>
              </a:lnSpc>
              <a:spcBef>
                <a:spcPct val="0"/>
              </a:spcBef>
              <a:spcAft>
                <a:spcPct val="3500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Arial" panose="020B0604020202020204"/>
                <a:ea typeface="+mn-ea"/>
                <a:cs typeface="Calibri" panose="020F0502020204030204" pitchFamily="34" charset="0"/>
              </a:rPr>
              <a:t>Existing Tool</a:t>
            </a:r>
          </a:p>
        </p:txBody>
      </p:sp>
      <p:sp>
        <p:nvSpPr>
          <p:cNvPr id="10" name="Freeform 9"/>
          <p:cNvSpPr/>
          <p:nvPr/>
        </p:nvSpPr>
        <p:spPr>
          <a:xfrm>
            <a:off x="3007313" y="4765508"/>
            <a:ext cx="1371600" cy="274320"/>
          </a:xfrm>
          <a:custGeom>
            <a:avLst/>
            <a:gdLst>
              <a:gd name="connsiteX0" fmla="*/ 0 w 643360"/>
              <a:gd name="connsiteY0" fmla="*/ 0 h 386016"/>
              <a:gd name="connsiteX1" fmla="*/ 643360 w 643360"/>
              <a:gd name="connsiteY1" fmla="*/ 0 h 386016"/>
              <a:gd name="connsiteX2" fmla="*/ 643360 w 643360"/>
              <a:gd name="connsiteY2" fmla="*/ 386016 h 386016"/>
              <a:gd name="connsiteX3" fmla="*/ 0 w 643360"/>
              <a:gd name="connsiteY3" fmla="*/ 386016 h 386016"/>
              <a:gd name="connsiteX4" fmla="*/ 0 w 643360"/>
              <a:gd name="connsiteY4" fmla="*/ 0 h 386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360" h="386016">
                <a:moveTo>
                  <a:pt x="0" y="0"/>
                </a:moveTo>
                <a:lnTo>
                  <a:pt x="643360" y="0"/>
                </a:lnTo>
                <a:lnTo>
                  <a:pt x="643360" y="386016"/>
                </a:lnTo>
                <a:lnTo>
                  <a:pt x="0" y="386016"/>
                </a:lnTo>
                <a:lnTo>
                  <a:pt x="0" y="0"/>
                </a:lnTo>
                <a:close/>
              </a:path>
            </a:pathLst>
          </a:custGeom>
          <a:solidFill>
            <a:srgbClr val="0033B4"/>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Arial" panose="020B0604020202020204"/>
                <a:ea typeface="+mn-ea"/>
                <a:cs typeface="Calibri" panose="020F0502020204030204" pitchFamily="34" charset="0"/>
              </a:rPr>
              <a:t>Proposed Tool</a:t>
            </a:r>
          </a:p>
        </p:txBody>
      </p:sp>
      <p:sp>
        <p:nvSpPr>
          <p:cNvPr id="11" name="TextBox 10"/>
          <p:cNvSpPr txBox="1"/>
          <p:nvPr/>
        </p:nvSpPr>
        <p:spPr>
          <a:xfrm>
            <a:off x="4581833" y="4759541"/>
            <a:ext cx="1936954" cy="323165"/>
          </a:xfrm>
          <a:prstGeom prst="rect">
            <a:avLst/>
          </a:prstGeom>
          <a:ln>
            <a:solidFill>
              <a:schemeClr val="accent1"/>
            </a:solidFill>
          </a:ln>
        </p:spPr>
        <p:txBody>
          <a:bodyPr wrap="square" lIns="0" tIns="0" rIns="0" bIns="0" rtlCol="0">
            <a:spAutoFit/>
          </a:bodyPr>
          <a:lstStyle/>
          <a:p>
            <a:pPr marL="91440" algn="l"/>
            <a:r>
              <a:rPr lang="en-US" sz="1000" dirty="0" smtClean="0">
                <a:solidFill>
                  <a:schemeClr val="tx2"/>
                </a:solidFill>
              </a:rPr>
              <a:t>“</a:t>
            </a:r>
            <a:r>
              <a:rPr lang="en-US" sz="1100" dirty="0" smtClean="0">
                <a:solidFill>
                  <a:schemeClr val="tx2"/>
                </a:solidFill>
              </a:rPr>
              <a:t>*</a:t>
            </a:r>
            <a:r>
              <a:rPr lang="en-US" sz="1000" dirty="0" smtClean="0">
                <a:solidFill>
                  <a:schemeClr val="tx2"/>
                </a:solidFill>
              </a:rPr>
              <a:t>”- BHF owns License</a:t>
            </a:r>
          </a:p>
          <a:p>
            <a:pPr marL="91440" algn="l"/>
            <a:r>
              <a:rPr lang="en-US" sz="1000" dirty="0" smtClean="0">
                <a:solidFill>
                  <a:schemeClr val="tx2"/>
                </a:solidFill>
              </a:rPr>
              <a:t>“#”- Cognizant to Own License</a:t>
            </a:r>
          </a:p>
        </p:txBody>
      </p:sp>
    </p:spTree>
    <p:extLst>
      <p:ext uri="{BB962C8B-B14F-4D97-AF65-F5344CB8AC3E}">
        <p14:creationId xmlns:p14="http://schemas.microsoft.com/office/powerpoint/2010/main" val="356360269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5100" y="180044"/>
            <a:ext cx="8417052" cy="621030"/>
          </a:xfrm>
        </p:spPr>
        <p:txBody>
          <a:bodyPr/>
          <a:lstStyle/>
          <a:p>
            <a:r>
              <a:rPr lang="en-US" dirty="0"/>
              <a:t>Tools- Current vs </a:t>
            </a:r>
            <a:r>
              <a:rPr lang="en-US" dirty="0" smtClean="0"/>
              <a:t>Target (Contd.)</a:t>
            </a:r>
            <a:endParaRPr lang="en-US" dirty="0"/>
          </a:p>
        </p:txBody>
      </p:sp>
      <p:sp>
        <p:nvSpPr>
          <p:cNvPr id="4" name="Footer Placeholder 3"/>
          <p:cNvSpPr>
            <a:spLocks noGrp="1"/>
          </p:cNvSpPr>
          <p:nvPr>
            <p:ph type="ftr" sz="quarter" idx="3"/>
          </p:nvPr>
        </p:nvSpPr>
        <p:spPr/>
        <p:txBody>
          <a:bodyPr/>
          <a:lstStyle/>
          <a:p>
            <a:r>
              <a:rPr lang="en-US" smtClean="0"/>
              <a:t>© 2020 Cognizant</a:t>
            </a:r>
            <a:endParaRPr lang="en-US" dirty="0"/>
          </a:p>
        </p:txBody>
      </p:sp>
      <p:sp>
        <p:nvSpPr>
          <p:cNvPr id="5" name="Slide Number Placeholder 4"/>
          <p:cNvSpPr>
            <a:spLocks noGrp="1"/>
          </p:cNvSpPr>
          <p:nvPr>
            <p:ph type="sldNum" sz="quarter" idx="4"/>
          </p:nvPr>
        </p:nvSpPr>
        <p:spPr/>
        <p:txBody>
          <a:bodyPr/>
          <a:lstStyle/>
          <a:p>
            <a:fld id="{2EFEF571-C9B4-4D92-A7F7-315B894862A8}" type="slidenum">
              <a:rPr lang="en-US" smtClean="0"/>
              <a:pPr/>
              <a:t>18</a:t>
            </a:fld>
            <a:endParaRPr lang="en-US" dirty="0"/>
          </a:p>
        </p:txBody>
      </p:sp>
      <p:sp>
        <p:nvSpPr>
          <p:cNvPr id="9" name="Freeform 8"/>
          <p:cNvSpPr/>
          <p:nvPr/>
        </p:nvSpPr>
        <p:spPr>
          <a:xfrm>
            <a:off x="1554053" y="4765508"/>
            <a:ext cx="1371600" cy="274320"/>
          </a:xfrm>
          <a:custGeom>
            <a:avLst/>
            <a:gdLst>
              <a:gd name="connsiteX0" fmla="*/ 0 w 643360"/>
              <a:gd name="connsiteY0" fmla="*/ 0 h 386016"/>
              <a:gd name="connsiteX1" fmla="*/ 643360 w 643360"/>
              <a:gd name="connsiteY1" fmla="*/ 0 h 386016"/>
              <a:gd name="connsiteX2" fmla="*/ 643360 w 643360"/>
              <a:gd name="connsiteY2" fmla="*/ 386016 h 386016"/>
              <a:gd name="connsiteX3" fmla="*/ 0 w 643360"/>
              <a:gd name="connsiteY3" fmla="*/ 386016 h 386016"/>
              <a:gd name="connsiteX4" fmla="*/ 0 w 643360"/>
              <a:gd name="connsiteY4" fmla="*/ 0 h 386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360" h="386016">
                <a:moveTo>
                  <a:pt x="0" y="0"/>
                </a:moveTo>
                <a:lnTo>
                  <a:pt x="643360" y="0"/>
                </a:lnTo>
                <a:lnTo>
                  <a:pt x="643360" y="386016"/>
                </a:lnTo>
                <a:lnTo>
                  <a:pt x="0" y="386016"/>
                </a:lnTo>
                <a:lnTo>
                  <a:pt x="0" y="0"/>
                </a:lnTo>
                <a:close/>
              </a:path>
            </a:pathLst>
          </a:custGeom>
          <a:solidFill>
            <a:srgbClr val="00B140"/>
          </a:solidFill>
          <a:ln w="12700" cap="flat" cmpd="sng" algn="ctr">
            <a:solidFill>
              <a:srgbClr val="FFFFFF">
                <a:hueOff val="0"/>
                <a:satOff val="0"/>
                <a:lumOff val="0"/>
                <a:alphaOff val="0"/>
              </a:srgbClr>
            </a:solidFill>
            <a:prstDash val="solid"/>
            <a:miter lim="800000"/>
          </a:ln>
          <a:effectLst/>
        </p:spPr>
        <p:txBody>
          <a:bodyPr spcFirstLastPara="0" vert="horz" wrap="square" lIns="28575" tIns="28575" rIns="28575" bIns="28575" numCol="1" spcCol="1270" anchor="ctr" anchorCtr="0">
            <a:noAutofit/>
          </a:bodyPr>
          <a:lstStyle/>
          <a:p>
            <a:pPr marL="0" marR="0" lvl="0" indent="0" algn="ctr" defTabSz="333375" eaLnBrk="1" fontAlgn="auto" latinLnBrk="0" hangingPunct="1">
              <a:lnSpc>
                <a:spcPct val="90000"/>
              </a:lnSpc>
              <a:spcBef>
                <a:spcPct val="0"/>
              </a:spcBef>
              <a:spcAft>
                <a:spcPct val="3500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Arial" panose="020B0604020202020204"/>
                <a:ea typeface="+mn-ea"/>
                <a:cs typeface="Calibri" panose="020F0502020204030204" pitchFamily="34" charset="0"/>
              </a:rPr>
              <a:t>Existing Tool</a:t>
            </a:r>
          </a:p>
        </p:txBody>
      </p:sp>
      <p:sp>
        <p:nvSpPr>
          <p:cNvPr id="10" name="Freeform 9"/>
          <p:cNvSpPr/>
          <p:nvPr/>
        </p:nvSpPr>
        <p:spPr>
          <a:xfrm>
            <a:off x="3007313" y="4765508"/>
            <a:ext cx="1371600" cy="274320"/>
          </a:xfrm>
          <a:custGeom>
            <a:avLst/>
            <a:gdLst>
              <a:gd name="connsiteX0" fmla="*/ 0 w 643360"/>
              <a:gd name="connsiteY0" fmla="*/ 0 h 386016"/>
              <a:gd name="connsiteX1" fmla="*/ 643360 w 643360"/>
              <a:gd name="connsiteY1" fmla="*/ 0 h 386016"/>
              <a:gd name="connsiteX2" fmla="*/ 643360 w 643360"/>
              <a:gd name="connsiteY2" fmla="*/ 386016 h 386016"/>
              <a:gd name="connsiteX3" fmla="*/ 0 w 643360"/>
              <a:gd name="connsiteY3" fmla="*/ 386016 h 386016"/>
              <a:gd name="connsiteX4" fmla="*/ 0 w 643360"/>
              <a:gd name="connsiteY4" fmla="*/ 0 h 386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360" h="386016">
                <a:moveTo>
                  <a:pt x="0" y="0"/>
                </a:moveTo>
                <a:lnTo>
                  <a:pt x="643360" y="0"/>
                </a:lnTo>
                <a:lnTo>
                  <a:pt x="643360" y="386016"/>
                </a:lnTo>
                <a:lnTo>
                  <a:pt x="0" y="386016"/>
                </a:lnTo>
                <a:lnTo>
                  <a:pt x="0" y="0"/>
                </a:lnTo>
                <a:close/>
              </a:path>
            </a:pathLst>
          </a:custGeom>
          <a:solidFill>
            <a:srgbClr val="0033B4"/>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Arial" panose="020B0604020202020204"/>
                <a:ea typeface="+mn-ea"/>
                <a:cs typeface="Calibri" panose="020F0502020204030204" pitchFamily="34" charset="0"/>
              </a:rPr>
              <a:t>Proposed Tool</a:t>
            </a:r>
          </a:p>
        </p:txBody>
      </p:sp>
      <p:graphicFrame>
        <p:nvGraphicFramePr>
          <p:cNvPr id="8" name="Table 7"/>
          <p:cNvGraphicFramePr>
            <a:graphicFrameLocks noGrp="1"/>
          </p:cNvGraphicFramePr>
          <p:nvPr>
            <p:extLst/>
          </p:nvPr>
        </p:nvGraphicFramePr>
        <p:xfrm>
          <a:off x="384048" y="632718"/>
          <a:ext cx="8385049" cy="4026100"/>
        </p:xfrm>
        <a:graphic>
          <a:graphicData uri="http://schemas.openxmlformats.org/drawingml/2006/table">
            <a:tbl>
              <a:tblPr/>
              <a:tblGrid>
                <a:gridCol w="1354330">
                  <a:extLst>
                    <a:ext uri="{9D8B030D-6E8A-4147-A177-3AD203B41FA5}">
                      <a16:colId xmlns:a16="http://schemas.microsoft.com/office/drawing/2014/main" val="3883936043"/>
                    </a:ext>
                  </a:extLst>
                </a:gridCol>
                <a:gridCol w="2031496">
                  <a:extLst>
                    <a:ext uri="{9D8B030D-6E8A-4147-A177-3AD203B41FA5}">
                      <a16:colId xmlns:a16="http://schemas.microsoft.com/office/drawing/2014/main" val="2952892803"/>
                    </a:ext>
                  </a:extLst>
                </a:gridCol>
                <a:gridCol w="2516284">
                  <a:extLst>
                    <a:ext uri="{9D8B030D-6E8A-4147-A177-3AD203B41FA5}">
                      <a16:colId xmlns:a16="http://schemas.microsoft.com/office/drawing/2014/main" val="2940333813"/>
                    </a:ext>
                  </a:extLst>
                </a:gridCol>
                <a:gridCol w="2482939">
                  <a:extLst>
                    <a:ext uri="{9D8B030D-6E8A-4147-A177-3AD203B41FA5}">
                      <a16:colId xmlns:a16="http://schemas.microsoft.com/office/drawing/2014/main" val="2706723144"/>
                    </a:ext>
                  </a:extLst>
                </a:gridCol>
              </a:tblGrid>
              <a:tr h="178316">
                <a:tc>
                  <a:txBody>
                    <a:bodyPr/>
                    <a:lstStyle/>
                    <a:p>
                      <a:pPr algn="ctr" fontAlgn="b"/>
                      <a:r>
                        <a:rPr lang="en-US" sz="900" b="1" i="0" u="none" strike="noStrike" dirty="0">
                          <a:solidFill>
                            <a:srgbClr val="FFFFFF"/>
                          </a:solidFill>
                          <a:effectLst/>
                          <a:latin typeface="Calibri" panose="020F0502020204030204" pitchFamily="34" charset="0"/>
                        </a:rPr>
                        <a:t>Tower</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r>
                        <a:rPr lang="en-US" sz="900" b="1" i="0" u="none" strike="noStrike">
                          <a:solidFill>
                            <a:srgbClr val="FFFFFF"/>
                          </a:solidFill>
                          <a:effectLst/>
                          <a:latin typeface="Calibri" panose="020F0502020204030204" pitchFamily="34" charset="0"/>
                        </a:rPr>
                        <a:t>Functionality</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r>
                        <a:rPr lang="en-US" sz="900" b="1" i="0" u="none" strike="noStrike">
                          <a:solidFill>
                            <a:srgbClr val="FFFFFF"/>
                          </a:solidFill>
                          <a:effectLst/>
                          <a:latin typeface="Calibri" panose="020F0502020204030204" pitchFamily="34" charset="0"/>
                        </a:rPr>
                        <a:t>Curren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b"/>
                      <a:r>
                        <a:rPr lang="en-US" sz="900" b="1" i="0" u="none" strike="noStrike">
                          <a:solidFill>
                            <a:srgbClr val="FFFFFF"/>
                          </a:solidFill>
                          <a:effectLst/>
                          <a:latin typeface="Calibri" panose="020F0502020204030204" pitchFamily="34" charset="0"/>
                        </a:rPr>
                        <a:t>Targe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extLst>
                  <a:ext uri="{0D108BD9-81ED-4DB2-BD59-A6C34878D82A}">
                    <a16:rowId xmlns:a16="http://schemas.microsoft.com/office/drawing/2014/main" val="3609540324"/>
                  </a:ext>
                </a:extLst>
              </a:tr>
              <a:tr h="178316">
                <a:tc>
                  <a:txBody>
                    <a:bodyPr/>
                    <a:lstStyle/>
                    <a:p>
                      <a:pPr algn="l" fontAlgn="b"/>
                      <a:r>
                        <a:rPr lang="en-US" sz="900" b="1" i="0" u="none" strike="noStrike" dirty="0">
                          <a:solidFill>
                            <a:srgbClr val="000000"/>
                          </a:solidFill>
                          <a:effectLst/>
                          <a:latin typeface="Calibri" panose="020F0502020204030204" pitchFamily="34" charset="0"/>
                        </a:rPr>
                        <a:t>Network</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Network Configuration Managemen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1" i="0" u="none" strike="noStrike" dirty="0">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err="1" smtClean="0">
                          <a:solidFill>
                            <a:schemeClr val="bg1"/>
                          </a:solidFill>
                          <a:effectLst/>
                          <a:latin typeface="Calibri" panose="020F0502020204030204" pitchFamily="34" charset="0"/>
                        </a:rPr>
                        <a:t>Solarwinds</a:t>
                      </a:r>
                      <a:r>
                        <a:rPr lang="en-US" sz="900" b="1" i="0" u="none" strike="noStrike" baseline="30000" dirty="0" smtClean="0">
                          <a:solidFill>
                            <a:schemeClr val="bg1"/>
                          </a:solidFill>
                          <a:effectLst/>
                          <a:latin typeface="Calibri" panose="020F0502020204030204" pitchFamily="34" charset="0"/>
                        </a:rPr>
                        <a:t>#</a:t>
                      </a:r>
                      <a:endParaRPr lang="en-US" sz="900" b="1" i="0" u="none" strike="noStrike" baseline="30000"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998219401"/>
                  </a:ext>
                </a:extLst>
              </a:tr>
              <a:tr h="178316">
                <a:tc>
                  <a:txBody>
                    <a:bodyPr/>
                    <a:lstStyle/>
                    <a:p>
                      <a:pPr algn="l" fontAlgn="b"/>
                      <a:r>
                        <a:rPr lang="en-US" sz="900" b="1" i="0" u="none" strike="noStrike" dirty="0">
                          <a:solidFill>
                            <a:srgbClr val="000000"/>
                          </a:solidFill>
                          <a:effectLst/>
                          <a:latin typeface="Calibri" panose="020F0502020204030204" pitchFamily="34" charset="0"/>
                        </a:rPr>
                        <a:t>Network</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Calibri" panose="020F0502020204030204" pitchFamily="34" charset="0"/>
                        </a:rPr>
                        <a:t>Network Performance Monitoring</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1" i="0" u="none" strike="noStrike" dirty="0">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378" rtl="0" eaLnBrk="1" fontAlgn="b" latinLnBrk="0" hangingPunct="1"/>
                      <a:r>
                        <a:rPr lang="en-US" sz="900" b="1" i="0" u="none" strike="noStrike" dirty="0" err="1" smtClean="0">
                          <a:solidFill>
                            <a:schemeClr val="bg1"/>
                          </a:solidFill>
                          <a:effectLst/>
                          <a:latin typeface="Calibri" panose="020F0502020204030204" pitchFamily="34" charset="0"/>
                        </a:rPr>
                        <a:t>Solarwinds</a:t>
                      </a:r>
                      <a:r>
                        <a:rPr lang="en-US" sz="900" b="1" i="0" u="none" strike="noStrike" kern="1200" baseline="30000" dirty="0" smtClean="0">
                          <a:solidFill>
                            <a:schemeClr val="bg1"/>
                          </a:solidFill>
                          <a:effectLst/>
                          <a:latin typeface="Calibri" panose="020F0502020204030204" pitchFamily="34" charset="0"/>
                          <a:ea typeface="+mn-ea"/>
                          <a:cs typeface="+mn-cs"/>
                        </a:rPr>
                        <a:t>#</a:t>
                      </a:r>
                      <a:endParaRPr lang="en-US" sz="900" b="1" i="0" u="none" strike="noStrike" kern="1200" baseline="30000" dirty="0">
                        <a:solidFill>
                          <a:schemeClr val="bg1"/>
                        </a:solidFill>
                        <a:effectLst/>
                        <a:latin typeface="Calibri" panose="020F0502020204030204" pitchFamily="34" charset="0"/>
                        <a:ea typeface="+mn-ea"/>
                        <a:cs typeface="+mn-cs"/>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2570929019"/>
                  </a:ext>
                </a:extLst>
              </a:tr>
              <a:tr h="178316">
                <a:tc>
                  <a:txBody>
                    <a:bodyPr/>
                    <a:lstStyle/>
                    <a:p>
                      <a:pPr algn="l" fontAlgn="b"/>
                      <a:r>
                        <a:rPr lang="en-US" sz="900" b="1" i="0" u="none" strike="noStrike">
                          <a:solidFill>
                            <a:srgbClr val="000000"/>
                          </a:solidFill>
                          <a:effectLst/>
                          <a:latin typeface="Calibri" panose="020F0502020204030204" pitchFamily="34" charset="0"/>
                        </a:rPr>
                        <a:t>Network</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Calibri" panose="020F0502020204030204" pitchFamily="34" charset="0"/>
                        </a:rPr>
                        <a:t>Network Traffic </a:t>
                      </a:r>
                      <a:r>
                        <a:rPr lang="en-US" sz="900" b="0" i="0" u="none" strike="noStrike" dirty="0" err="1">
                          <a:solidFill>
                            <a:srgbClr val="000000"/>
                          </a:solidFill>
                          <a:effectLst/>
                          <a:latin typeface="Calibri" panose="020F0502020204030204" pitchFamily="34" charset="0"/>
                        </a:rPr>
                        <a:t>Analyser</a:t>
                      </a:r>
                      <a:endParaRPr lang="en-US" sz="900" b="0" i="0" u="none" strike="noStrike" dirty="0">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1" i="0" u="none" strike="noStrike" dirty="0">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378" rtl="0" eaLnBrk="1" fontAlgn="b" latinLnBrk="0" hangingPunct="1"/>
                      <a:r>
                        <a:rPr lang="en-US" sz="900" b="1" i="0" u="none" strike="noStrike" dirty="0" err="1" smtClean="0">
                          <a:solidFill>
                            <a:schemeClr val="bg1"/>
                          </a:solidFill>
                          <a:effectLst/>
                          <a:latin typeface="Calibri" panose="020F0502020204030204" pitchFamily="34" charset="0"/>
                        </a:rPr>
                        <a:t>Solarwinds</a:t>
                      </a:r>
                      <a:r>
                        <a:rPr lang="en-US" sz="900" b="1" i="0" u="none" strike="noStrike" kern="1200" baseline="30000" dirty="0" smtClean="0">
                          <a:solidFill>
                            <a:schemeClr val="bg1"/>
                          </a:solidFill>
                          <a:effectLst/>
                          <a:latin typeface="Calibri" panose="020F0502020204030204" pitchFamily="34" charset="0"/>
                          <a:ea typeface="+mn-ea"/>
                          <a:cs typeface="+mn-cs"/>
                        </a:rPr>
                        <a:t>#</a:t>
                      </a:r>
                      <a:endParaRPr lang="en-US" sz="900" b="1" i="0" u="none" strike="noStrike" kern="1200" baseline="30000" dirty="0">
                        <a:solidFill>
                          <a:schemeClr val="bg1"/>
                        </a:solidFill>
                        <a:effectLst/>
                        <a:latin typeface="Calibri" panose="020F0502020204030204" pitchFamily="34" charset="0"/>
                        <a:ea typeface="+mn-ea"/>
                        <a:cs typeface="+mn-cs"/>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4103883825"/>
                  </a:ext>
                </a:extLst>
              </a:tr>
              <a:tr h="178316">
                <a:tc>
                  <a:txBody>
                    <a:bodyPr/>
                    <a:lstStyle/>
                    <a:p>
                      <a:pPr algn="l" fontAlgn="b"/>
                      <a:r>
                        <a:rPr lang="en-US" sz="900" b="1" i="0" u="none" strike="noStrike">
                          <a:solidFill>
                            <a:srgbClr val="000000"/>
                          </a:solidFill>
                          <a:effectLst/>
                          <a:latin typeface="Calibri" panose="020F0502020204030204" pitchFamily="34" charset="0"/>
                        </a:rPr>
                        <a:t>Network</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Calibri" panose="020F0502020204030204" pitchFamily="34" charset="0"/>
                        </a:rPr>
                        <a:t>IP Address Managemen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err="1">
                          <a:solidFill>
                            <a:schemeClr val="bg1"/>
                          </a:solidFill>
                          <a:effectLst/>
                          <a:latin typeface="Calibri" panose="020F0502020204030204" pitchFamily="34" charset="0"/>
                        </a:rPr>
                        <a:t>Infoblox</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algn="l" fontAlgn="b"/>
                      <a:r>
                        <a:rPr lang="en-US" sz="900" b="1" i="0" u="none" strike="noStrike" dirty="0" err="1" smtClean="0">
                          <a:solidFill>
                            <a:schemeClr val="bg1"/>
                          </a:solidFill>
                          <a:effectLst/>
                          <a:latin typeface="Calibri" panose="020F0502020204030204" pitchFamily="34" charset="0"/>
                        </a:rPr>
                        <a:t>Infoblox</a:t>
                      </a:r>
                      <a:r>
                        <a:rPr lang="en-US" sz="900" b="1" i="0" u="none" strike="noStrike" dirty="0" smtClean="0">
                          <a:solidFill>
                            <a:schemeClr val="bg1"/>
                          </a:solidFill>
                          <a:effectLst/>
                          <a:latin typeface="Calibri" panose="020F0502020204030204" pitchFamily="34" charset="0"/>
                        </a:rPr>
                        <a:t>*</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extLst>
                  <a:ext uri="{0D108BD9-81ED-4DB2-BD59-A6C34878D82A}">
                    <a16:rowId xmlns:a16="http://schemas.microsoft.com/office/drawing/2014/main" val="1822244229"/>
                  </a:ext>
                </a:extLst>
              </a:tr>
              <a:tr h="178316">
                <a:tc>
                  <a:txBody>
                    <a:bodyPr/>
                    <a:lstStyle/>
                    <a:p>
                      <a:pPr algn="l" fontAlgn="b"/>
                      <a:r>
                        <a:rPr lang="en-US" sz="900" b="1" i="0" u="none" strike="noStrike">
                          <a:solidFill>
                            <a:srgbClr val="000000"/>
                          </a:solidFill>
                          <a:effectLst/>
                          <a:latin typeface="Calibri" panose="020F0502020204030204" pitchFamily="34" charset="0"/>
                        </a:rPr>
                        <a:t>Network</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Calibri" panose="020F0502020204030204" pitchFamily="34" charset="0"/>
                        </a:rPr>
                        <a:t>External DNS Managemen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a:solidFill>
                            <a:schemeClr val="bg1"/>
                          </a:solidFill>
                          <a:effectLst/>
                          <a:latin typeface="Calibri" panose="020F0502020204030204" pitchFamily="34" charset="0"/>
                        </a:rPr>
                        <a:t>External DNS</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algn="l" fontAlgn="b"/>
                      <a:r>
                        <a:rPr lang="en-US" sz="900" b="1" i="0" u="none" strike="noStrike" dirty="0">
                          <a:solidFill>
                            <a:schemeClr val="bg1"/>
                          </a:solidFill>
                          <a:effectLst/>
                          <a:latin typeface="Calibri" panose="020F0502020204030204" pitchFamily="34" charset="0"/>
                        </a:rPr>
                        <a:t>External </a:t>
                      </a:r>
                      <a:r>
                        <a:rPr lang="en-US" sz="900" b="1" i="0" u="none" strike="noStrike" dirty="0" smtClean="0">
                          <a:solidFill>
                            <a:schemeClr val="bg1"/>
                          </a:solidFill>
                          <a:effectLst/>
                          <a:latin typeface="Calibri" panose="020F0502020204030204" pitchFamily="34" charset="0"/>
                        </a:rPr>
                        <a:t>DNS*</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extLst>
                  <a:ext uri="{0D108BD9-81ED-4DB2-BD59-A6C34878D82A}">
                    <a16:rowId xmlns:a16="http://schemas.microsoft.com/office/drawing/2014/main" val="1189635648"/>
                  </a:ext>
                </a:extLst>
              </a:tr>
              <a:tr h="178316">
                <a:tc>
                  <a:txBody>
                    <a:bodyPr/>
                    <a:lstStyle/>
                    <a:p>
                      <a:pPr algn="l" fontAlgn="b"/>
                      <a:r>
                        <a:rPr lang="en-US" sz="900" b="1" i="0" u="none" strike="noStrike">
                          <a:solidFill>
                            <a:srgbClr val="000000"/>
                          </a:solidFill>
                          <a:effectLst/>
                          <a:latin typeface="Calibri" panose="020F0502020204030204" pitchFamily="34" charset="0"/>
                        </a:rPr>
                        <a:t>Network</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Calibri" panose="020F0502020204030204" pitchFamily="34" charset="0"/>
                        </a:rPr>
                        <a:t>IP Monitoring</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err="1">
                          <a:solidFill>
                            <a:schemeClr val="bg1"/>
                          </a:solidFill>
                          <a:effectLst/>
                          <a:latin typeface="Calibri" panose="020F0502020204030204" pitchFamily="34" charset="0"/>
                        </a:rPr>
                        <a:t>Zabbix</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algn="l" fontAlgn="b"/>
                      <a:r>
                        <a:rPr lang="en-US" sz="900" b="1" i="0" u="none" strike="noStrike" dirty="0" err="1" smtClean="0">
                          <a:solidFill>
                            <a:schemeClr val="bg1"/>
                          </a:solidFill>
                          <a:effectLst/>
                          <a:latin typeface="Calibri" panose="020F0502020204030204" pitchFamily="34" charset="0"/>
                        </a:rPr>
                        <a:t>Zabbix</a:t>
                      </a:r>
                      <a:r>
                        <a:rPr lang="en-US" sz="900" b="1" i="0" u="none" strike="noStrike" dirty="0" smtClean="0">
                          <a:solidFill>
                            <a:schemeClr val="bg1"/>
                          </a:solidFill>
                          <a:effectLst/>
                          <a:latin typeface="Calibri" panose="020F0502020204030204" pitchFamily="34" charset="0"/>
                        </a:rPr>
                        <a:t>*</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extLst>
                  <a:ext uri="{0D108BD9-81ED-4DB2-BD59-A6C34878D82A}">
                    <a16:rowId xmlns:a16="http://schemas.microsoft.com/office/drawing/2014/main" val="3592110246"/>
                  </a:ext>
                </a:extLst>
              </a:tr>
              <a:tr h="178316">
                <a:tc>
                  <a:txBody>
                    <a:bodyPr/>
                    <a:lstStyle/>
                    <a:p>
                      <a:pPr algn="l" fontAlgn="b"/>
                      <a:r>
                        <a:rPr lang="en-US" sz="900" b="1" i="0" u="none" strike="noStrike">
                          <a:solidFill>
                            <a:srgbClr val="000000"/>
                          </a:solidFill>
                          <a:effectLst/>
                          <a:latin typeface="Calibri" panose="020F0502020204030204" pitchFamily="34" charset="0"/>
                        </a:rPr>
                        <a:t>Network</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Calibri" panose="020F0502020204030204" pitchFamily="34" charset="0"/>
                        </a:rPr>
                        <a:t>Firewall</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err="1">
                          <a:solidFill>
                            <a:schemeClr val="bg1"/>
                          </a:solidFill>
                          <a:effectLst/>
                          <a:latin typeface="Calibri" panose="020F0502020204030204" pitchFamily="34" charset="0"/>
                        </a:rPr>
                        <a:t>Fortigate</a:t>
                      </a:r>
                      <a:r>
                        <a:rPr lang="en-US" sz="900" b="1" i="0" u="none" strike="noStrike" dirty="0">
                          <a:solidFill>
                            <a:schemeClr val="bg1"/>
                          </a:solidFill>
                          <a:effectLst/>
                          <a:latin typeface="Calibri" panose="020F0502020204030204" pitchFamily="34" charset="0"/>
                        </a:rPr>
                        <a:t>, Cisco</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marL="0" marR="0" lvl="0" indent="0" algn="l" defTabSz="914378" rtl="0" eaLnBrk="1" fontAlgn="b" latinLnBrk="0" hangingPunct="1">
                        <a:lnSpc>
                          <a:spcPct val="100000"/>
                        </a:lnSpc>
                        <a:spcBef>
                          <a:spcPts val="0"/>
                        </a:spcBef>
                        <a:spcAft>
                          <a:spcPts val="0"/>
                        </a:spcAft>
                        <a:buClrTx/>
                        <a:buSzTx/>
                        <a:buFontTx/>
                        <a:buNone/>
                        <a:tabLst/>
                        <a:defRPr/>
                      </a:pPr>
                      <a:r>
                        <a:rPr lang="en-US" sz="900" b="1" i="0" u="none" strike="noStrike" dirty="0">
                          <a:solidFill>
                            <a:schemeClr val="bg1"/>
                          </a:solidFill>
                          <a:effectLst/>
                          <a:latin typeface="Calibri" panose="020F0502020204030204" pitchFamily="34" charset="0"/>
                        </a:rPr>
                        <a:t>Palo </a:t>
                      </a:r>
                      <a:r>
                        <a:rPr lang="en-US" sz="900" b="1" i="0" u="none" strike="noStrike" dirty="0" smtClean="0">
                          <a:solidFill>
                            <a:schemeClr val="bg1"/>
                          </a:solidFill>
                          <a:effectLst/>
                          <a:latin typeface="Calibri" panose="020F0502020204030204" pitchFamily="34" charset="0"/>
                        </a:rPr>
                        <a:t>Alto</a:t>
                      </a:r>
                      <a:r>
                        <a:rPr lang="en-US" sz="900" b="1" i="0" u="none" strike="noStrike" kern="1200" baseline="30000" dirty="0" smtClean="0">
                          <a:solidFill>
                            <a:schemeClr val="bg1"/>
                          </a:solidFill>
                          <a:effectLst/>
                          <a:latin typeface="Calibri" panose="020F0502020204030204" pitchFamily="34" charset="0"/>
                          <a:ea typeface="+mn-ea"/>
                          <a:cs typeface="+mn-cs"/>
                        </a:rPr>
                        <a: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3677862110"/>
                  </a:ext>
                </a:extLst>
              </a:tr>
              <a:tr h="178316">
                <a:tc>
                  <a:txBody>
                    <a:bodyPr/>
                    <a:lstStyle/>
                    <a:p>
                      <a:pPr algn="l" fontAlgn="b"/>
                      <a:r>
                        <a:rPr lang="en-US" sz="900" b="1" i="0" u="none" strike="noStrike">
                          <a:solidFill>
                            <a:srgbClr val="000000"/>
                          </a:solidFill>
                          <a:effectLst/>
                          <a:latin typeface="Calibri" panose="020F0502020204030204" pitchFamily="34" charset="0"/>
                        </a:rPr>
                        <a:t>Security</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Calibri" panose="020F0502020204030204" pitchFamily="34" charset="0"/>
                        </a:rPr>
                        <a:t>SIEM</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err="1">
                          <a:solidFill>
                            <a:schemeClr val="bg1"/>
                          </a:solidFill>
                          <a:effectLst/>
                          <a:latin typeface="Calibri" panose="020F0502020204030204" pitchFamily="34" charset="0"/>
                        </a:rPr>
                        <a:t>Qradar</a:t>
                      </a:r>
                      <a:r>
                        <a:rPr lang="en-US" sz="900" b="1" i="0" u="none" strike="noStrike" dirty="0">
                          <a:solidFill>
                            <a:schemeClr val="bg1"/>
                          </a:solidFill>
                          <a:effectLst/>
                          <a:latin typeface="Calibri" panose="020F0502020204030204" pitchFamily="34" charset="0"/>
                        </a:rPr>
                        <a:t>, Resilien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marL="0" algn="l" defTabSz="914378" rtl="0" eaLnBrk="1" fontAlgn="b" latinLnBrk="0" hangingPunct="1"/>
                      <a:r>
                        <a:rPr lang="en-US" sz="900" b="1" i="0" u="none" strike="noStrike" dirty="0">
                          <a:solidFill>
                            <a:schemeClr val="bg1"/>
                          </a:solidFill>
                          <a:effectLst/>
                          <a:latin typeface="Calibri" panose="020F0502020204030204" pitchFamily="34" charset="0"/>
                        </a:rPr>
                        <a:t>CTD – </a:t>
                      </a:r>
                      <a:r>
                        <a:rPr lang="en-US" sz="900" b="1" i="0" u="none" strike="noStrike" dirty="0" err="1">
                          <a:solidFill>
                            <a:schemeClr val="bg1"/>
                          </a:solidFill>
                          <a:effectLst/>
                          <a:latin typeface="Calibri" panose="020F0502020204030204" pitchFamily="34" charset="0"/>
                        </a:rPr>
                        <a:t>QRadar</a:t>
                      </a:r>
                      <a:r>
                        <a:rPr lang="en-US" sz="900" b="1" i="0" u="none" strike="noStrike" dirty="0">
                          <a:solidFill>
                            <a:schemeClr val="bg1"/>
                          </a:solidFill>
                          <a:effectLst/>
                          <a:latin typeface="Calibri" panose="020F0502020204030204" pitchFamily="34" charset="0"/>
                        </a:rPr>
                        <a:t>, </a:t>
                      </a:r>
                      <a:r>
                        <a:rPr lang="en-US" sz="900" b="1" i="0" u="none" strike="noStrike" dirty="0" err="1">
                          <a:solidFill>
                            <a:schemeClr val="bg1"/>
                          </a:solidFill>
                          <a:effectLst/>
                          <a:latin typeface="Calibri" panose="020F0502020204030204" pitchFamily="34" charset="0"/>
                        </a:rPr>
                        <a:t>SecOps</a:t>
                      </a:r>
                      <a:r>
                        <a:rPr lang="en-US" sz="900" b="1" i="0" u="none" strike="noStrike" dirty="0">
                          <a:solidFill>
                            <a:schemeClr val="bg1"/>
                          </a:solidFill>
                          <a:effectLst/>
                          <a:latin typeface="Calibri" panose="020F0502020204030204" pitchFamily="34" charset="0"/>
                        </a:rPr>
                        <a:t>, </a:t>
                      </a:r>
                      <a:r>
                        <a:rPr lang="en-US" sz="900" b="1" i="0" u="none" strike="noStrike" dirty="0" err="1" smtClean="0">
                          <a:solidFill>
                            <a:schemeClr val="bg1"/>
                          </a:solidFill>
                          <a:effectLst/>
                          <a:latin typeface="Calibri" panose="020F0502020204030204" pitchFamily="34" charset="0"/>
                        </a:rPr>
                        <a:t>Anomali</a:t>
                      </a:r>
                      <a:r>
                        <a:rPr lang="en-US" sz="900" b="1" i="0" u="none" strike="noStrike" kern="1200" baseline="30000" dirty="0" smtClean="0">
                          <a:solidFill>
                            <a:schemeClr val="bg1"/>
                          </a:solidFill>
                          <a:effectLst/>
                          <a:latin typeface="Calibri" panose="020F0502020204030204" pitchFamily="34" charset="0"/>
                          <a:ea typeface="+mn-ea"/>
                          <a:cs typeface="+mn-cs"/>
                        </a:rPr>
                        <a:t>#</a:t>
                      </a:r>
                      <a:endParaRPr lang="en-US" sz="900" b="1" i="0" u="none" strike="noStrike" kern="1200" baseline="30000" dirty="0">
                        <a:solidFill>
                          <a:schemeClr val="bg1"/>
                        </a:solidFill>
                        <a:effectLst/>
                        <a:latin typeface="Calibri" panose="020F0502020204030204" pitchFamily="34" charset="0"/>
                        <a:ea typeface="+mn-ea"/>
                        <a:cs typeface="+mn-cs"/>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245592851"/>
                  </a:ext>
                </a:extLst>
              </a:tr>
              <a:tr h="178316">
                <a:tc rowSpan="2">
                  <a:txBody>
                    <a:bodyPr/>
                    <a:lstStyle/>
                    <a:p>
                      <a:pPr algn="l" fontAlgn="ctr"/>
                      <a:r>
                        <a:rPr lang="en-US" sz="900" b="1" i="0" u="none" strike="noStrike" dirty="0" smtClean="0">
                          <a:solidFill>
                            <a:srgbClr val="000000"/>
                          </a:solidFill>
                          <a:effectLst/>
                          <a:latin typeface="Calibri" panose="020F0502020204030204" pitchFamily="34" charset="0"/>
                        </a:rPr>
                        <a:t>Security</a:t>
                      </a:r>
                      <a:endParaRPr lang="en-US" sz="900" b="1" i="0" u="none" strike="noStrike" dirty="0">
                        <a:solidFill>
                          <a:srgbClr val="000000"/>
                        </a:solidFill>
                        <a:effectLst/>
                        <a:latin typeface="Calibri" panose="020F0502020204030204" pitchFamily="34" charset="0"/>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ctr"/>
                      <a:r>
                        <a:rPr lang="en-US" sz="900" b="0" i="0" u="none" strike="noStrike" dirty="0">
                          <a:solidFill>
                            <a:srgbClr val="000000"/>
                          </a:solidFill>
                          <a:effectLst/>
                          <a:latin typeface="Calibri" panose="020F0502020204030204" pitchFamily="34" charset="0"/>
                        </a:rPr>
                        <a:t>Vulnerability Management</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err="1">
                          <a:solidFill>
                            <a:schemeClr val="bg1"/>
                          </a:solidFill>
                          <a:effectLst/>
                          <a:latin typeface="Calibri" panose="020F0502020204030204" pitchFamily="34" charset="0"/>
                        </a:rPr>
                        <a:t>Qualys</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marL="0" marR="0" lvl="0" indent="0" algn="l" defTabSz="914378" rtl="0" eaLnBrk="1" fontAlgn="b" latinLnBrk="0" hangingPunct="1">
                        <a:lnSpc>
                          <a:spcPct val="100000"/>
                        </a:lnSpc>
                        <a:spcBef>
                          <a:spcPts val="0"/>
                        </a:spcBef>
                        <a:spcAft>
                          <a:spcPts val="0"/>
                        </a:spcAft>
                        <a:buClrTx/>
                        <a:buSzTx/>
                        <a:buFontTx/>
                        <a:buNone/>
                        <a:tabLst/>
                        <a:defRPr/>
                      </a:pPr>
                      <a:r>
                        <a:rPr lang="en-US" sz="900" b="1" i="0" u="none" strike="noStrike" dirty="0" err="1">
                          <a:solidFill>
                            <a:schemeClr val="bg1"/>
                          </a:solidFill>
                          <a:effectLst/>
                          <a:latin typeface="Calibri" panose="020F0502020204030204" pitchFamily="34" charset="0"/>
                        </a:rPr>
                        <a:t>VMaaS</a:t>
                      </a:r>
                      <a:r>
                        <a:rPr lang="en-US" sz="900" b="1" i="0" u="none" strike="noStrike" dirty="0">
                          <a:solidFill>
                            <a:schemeClr val="bg1"/>
                          </a:solidFill>
                          <a:effectLst/>
                          <a:latin typeface="Calibri" panose="020F0502020204030204" pitchFamily="34" charset="0"/>
                        </a:rPr>
                        <a:t> – </a:t>
                      </a:r>
                      <a:r>
                        <a:rPr lang="en-US" sz="900" b="1" i="0" u="none" strike="noStrike" dirty="0" err="1">
                          <a:solidFill>
                            <a:schemeClr val="bg1"/>
                          </a:solidFill>
                          <a:effectLst/>
                          <a:latin typeface="Calibri" panose="020F0502020204030204" pitchFamily="34" charset="0"/>
                        </a:rPr>
                        <a:t>Qualys</a:t>
                      </a:r>
                      <a:r>
                        <a:rPr lang="en-US" sz="900" b="1" i="0" u="none" strike="noStrike" dirty="0">
                          <a:solidFill>
                            <a:schemeClr val="bg1"/>
                          </a:solidFill>
                          <a:effectLst/>
                          <a:latin typeface="Calibri" panose="020F0502020204030204" pitchFamily="34" charset="0"/>
                        </a:rPr>
                        <a:t>, </a:t>
                      </a:r>
                      <a:r>
                        <a:rPr lang="en-US" sz="900" b="1" i="0" u="none" strike="noStrike" dirty="0" err="1">
                          <a:solidFill>
                            <a:schemeClr val="bg1"/>
                          </a:solidFill>
                          <a:effectLst/>
                          <a:latin typeface="Calibri" panose="020F0502020204030204" pitchFamily="34" charset="0"/>
                        </a:rPr>
                        <a:t>AppScan</a:t>
                      </a:r>
                      <a:r>
                        <a:rPr lang="en-US" sz="900" b="1" i="0" u="none" strike="noStrike" dirty="0">
                          <a:solidFill>
                            <a:schemeClr val="bg1"/>
                          </a:solidFill>
                          <a:effectLst/>
                          <a:latin typeface="Calibri" panose="020F0502020204030204" pitchFamily="34" charset="0"/>
                        </a:rPr>
                        <a:t>, </a:t>
                      </a:r>
                      <a:r>
                        <a:rPr lang="en-US" sz="900" b="1" i="0" u="none" strike="noStrike" dirty="0" err="1">
                          <a:solidFill>
                            <a:schemeClr val="bg1"/>
                          </a:solidFill>
                          <a:effectLst/>
                          <a:latin typeface="Calibri" panose="020F0502020204030204" pitchFamily="34" charset="0"/>
                        </a:rPr>
                        <a:t>CheckMarx</a:t>
                      </a:r>
                      <a:r>
                        <a:rPr lang="en-US" sz="900" b="1" i="0" u="none" strike="noStrike" dirty="0">
                          <a:solidFill>
                            <a:schemeClr val="bg1"/>
                          </a:solidFill>
                          <a:effectLst/>
                          <a:latin typeface="Calibri" panose="020F0502020204030204" pitchFamily="34" charset="0"/>
                        </a:rPr>
                        <a:t>, </a:t>
                      </a:r>
                      <a:r>
                        <a:rPr lang="en-US" sz="900" b="1" i="0" u="none" strike="noStrike" dirty="0" err="1" smtClean="0">
                          <a:solidFill>
                            <a:schemeClr val="bg1"/>
                          </a:solidFill>
                          <a:effectLst/>
                          <a:latin typeface="Calibri" panose="020F0502020204030204" pitchFamily="34" charset="0"/>
                        </a:rPr>
                        <a:t>MetaSploit</a:t>
                      </a:r>
                      <a:r>
                        <a:rPr lang="en-US" sz="900" b="1" i="0" u="none" strike="noStrike" kern="1200" baseline="30000" dirty="0" smtClean="0">
                          <a:solidFill>
                            <a:schemeClr val="bg1"/>
                          </a:solidFill>
                          <a:effectLst/>
                          <a:latin typeface="Calibri" panose="020F0502020204030204" pitchFamily="34" charset="0"/>
                          <a:ea typeface="+mn-ea"/>
                          <a:cs typeface="+mn-cs"/>
                        </a:rPr>
                        <a: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526978487"/>
                  </a:ext>
                </a:extLst>
              </a:tr>
              <a:tr h="178316">
                <a:tc vMerge="1">
                  <a:txBody>
                    <a:bodyPr/>
                    <a:lstStyle/>
                    <a:p>
                      <a:endParaRPr lang="en-US"/>
                    </a:p>
                  </a:txBody>
                  <a:tcPr/>
                </a:tc>
                <a:tc vMerge="1">
                  <a:txBody>
                    <a:bodyPr/>
                    <a:lstStyle/>
                    <a:p>
                      <a:endParaRPr lang="en-US"/>
                    </a:p>
                  </a:txBody>
                  <a:tcPr/>
                </a:tc>
                <a:tc>
                  <a:txBody>
                    <a:bodyPr/>
                    <a:lstStyle/>
                    <a:p>
                      <a:pPr algn="l" fontAlgn="b"/>
                      <a:r>
                        <a:rPr lang="en-US" sz="900" b="1" i="0" u="none" strike="noStrike" dirty="0">
                          <a:solidFill>
                            <a:srgbClr val="000000"/>
                          </a:solidFill>
                          <a:effectLst/>
                          <a:latin typeface="Calibri" panose="020F0502020204030204" pitchFamily="34" charset="0"/>
                        </a:rPr>
                        <a:t>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378" rtl="0" eaLnBrk="1" fontAlgn="b" latinLnBrk="0" hangingPunct="1">
                        <a:lnSpc>
                          <a:spcPct val="100000"/>
                        </a:lnSpc>
                        <a:spcBef>
                          <a:spcPts val="0"/>
                        </a:spcBef>
                        <a:spcAft>
                          <a:spcPts val="0"/>
                        </a:spcAft>
                        <a:buClrTx/>
                        <a:buSzTx/>
                        <a:buFontTx/>
                        <a:buNone/>
                        <a:tabLst/>
                        <a:defRPr/>
                      </a:pPr>
                      <a:r>
                        <a:rPr lang="en-US" sz="900" b="1" i="0" u="none" strike="noStrike" dirty="0" err="1">
                          <a:solidFill>
                            <a:schemeClr val="bg1"/>
                          </a:solidFill>
                          <a:effectLst/>
                          <a:latin typeface="Calibri" panose="020F0502020204030204" pitchFamily="34" charset="0"/>
                        </a:rPr>
                        <a:t>Qualys</a:t>
                      </a:r>
                      <a:r>
                        <a:rPr lang="en-US" sz="900" b="1" i="0" u="none" strike="noStrike" dirty="0">
                          <a:solidFill>
                            <a:schemeClr val="bg1"/>
                          </a:solidFill>
                          <a:effectLst/>
                          <a:latin typeface="Calibri" panose="020F0502020204030204" pitchFamily="34" charset="0"/>
                        </a:rPr>
                        <a:t> Policy </a:t>
                      </a:r>
                      <a:r>
                        <a:rPr lang="en-US" sz="900" b="1" i="0" u="none" strike="noStrike" dirty="0" smtClean="0">
                          <a:solidFill>
                            <a:schemeClr val="bg1"/>
                          </a:solidFill>
                          <a:effectLst/>
                          <a:latin typeface="Calibri" panose="020F0502020204030204" pitchFamily="34" charset="0"/>
                        </a:rPr>
                        <a:t>Compliance</a:t>
                      </a:r>
                      <a:r>
                        <a:rPr lang="en-US" sz="900" b="1" i="0" u="none" strike="noStrike" kern="1200" baseline="30000" dirty="0" smtClean="0">
                          <a:solidFill>
                            <a:schemeClr val="bg1"/>
                          </a:solidFill>
                          <a:effectLst/>
                          <a:latin typeface="Calibri" panose="020F0502020204030204" pitchFamily="34" charset="0"/>
                          <a:ea typeface="+mn-ea"/>
                          <a:cs typeface="+mn-cs"/>
                        </a:rPr>
                        <a: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165517340"/>
                  </a:ext>
                </a:extLst>
              </a:tr>
              <a:tr h="178316">
                <a:tc>
                  <a:txBody>
                    <a:bodyPr/>
                    <a:lstStyle/>
                    <a:p>
                      <a:pPr algn="l" fontAlgn="b"/>
                      <a:r>
                        <a:rPr lang="en-US" sz="900" b="1" i="0" u="none" strike="noStrike">
                          <a:solidFill>
                            <a:srgbClr val="000000"/>
                          </a:solidFill>
                          <a:effectLst/>
                          <a:latin typeface="Calibri" panose="020F0502020204030204" pitchFamily="34" charset="0"/>
                        </a:rPr>
                        <a:t>Security</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Web Proxy</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a:solidFill>
                            <a:schemeClr val="bg1"/>
                          </a:solidFill>
                          <a:effectLst/>
                          <a:latin typeface="Calibri" panose="020F0502020204030204" pitchFamily="34" charset="0"/>
                        </a:rPr>
                        <a:t>Bluecoa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marL="0" marR="0" lvl="0" indent="0" algn="l" defTabSz="914378" rtl="0" eaLnBrk="1" fontAlgn="b" latinLnBrk="0" hangingPunct="1">
                        <a:lnSpc>
                          <a:spcPct val="100000"/>
                        </a:lnSpc>
                        <a:spcBef>
                          <a:spcPts val="0"/>
                        </a:spcBef>
                        <a:spcAft>
                          <a:spcPts val="0"/>
                        </a:spcAft>
                        <a:buClrTx/>
                        <a:buSzTx/>
                        <a:buFontTx/>
                        <a:buNone/>
                        <a:tabLst/>
                        <a:defRPr/>
                      </a:pPr>
                      <a:r>
                        <a:rPr lang="en-US" sz="900" b="1" i="0" u="none" strike="noStrike" dirty="0" err="1" smtClean="0">
                          <a:solidFill>
                            <a:schemeClr val="bg1"/>
                          </a:solidFill>
                          <a:effectLst/>
                          <a:latin typeface="Calibri" panose="020F0502020204030204" pitchFamily="34" charset="0"/>
                        </a:rPr>
                        <a:t>Zscaler</a:t>
                      </a:r>
                      <a:r>
                        <a:rPr lang="en-US" sz="900" b="1" i="0" u="none" strike="noStrike" kern="1200" baseline="30000" dirty="0" smtClean="0">
                          <a:solidFill>
                            <a:schemeClr val="bg1"/>
                          </a:solidFill>
                          <a:effectLst/>
                          <a:latin typeface="Calibri" panose="020F0502020204030204" pitchFamily="34" charset="0"/>
                          <a:ea typeface="+mn-ea"/>
                          <a:cs typeface="+mn-cs"/>
                        </a:rPr>
                        <a: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2974158550"/>
                  </a:ext>
                </a:extLst>
              </a:tr>
              <a:tr h="178316">
                <a:tc>
                  <a:txBody>
                    <a:bodyPr/>
                    <a:lstStyle/>
                    <a:p>
                      <a:pPr algn="l" fontAlgn="b"/>
                      <a:r>
                        <a:rPr lang="en-US" sz="900" b="1" i="0" u="none" strike="noStrike">
                          <a:solidFill>
                            <a:srgbClr val="000000"/>
                          </a:solidFill>
                          <a:effectLst/>
                          <a:latin typeface="Calibri" panose="020F0502020204030204" pitchFamily="34" charset="0"/>
                        </a:rPr>
                        <a:t>Security</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Data Loss Prevention</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a:solidFill>
                            <a:schemeClr val="bg1"/>
                          </a:solidFill>
                          <a:effectLst/>
                          <a:latin typeface="Calibri" panose="020F0502020204030204" pitchFamily="34" charset="0"/>
                        </a:rPr>
                        <a:t>Symantec</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algn="l" fontAlgn="b"/>
                      <a:r>
                        <a:rPr lang="pt-BR" sz="900" b="1" i="0" u="none" strike="noStrike" dirty="0">
                          <a:solidFill>
                            <a:schemeClr val="bg1"/>
                          </a:solidFill>
                          <a:effectLst/>
                          <a:latin typeface="Calibri" panose="020F0502020204030204" pitchFamily="34" charset="0"/>
                        </a:rPr>
                        <a:t>O365 </a:t>
                      </a:r>
                      <a:r>
                        <a:rPr lang="pt-BR" sz="900" b="1" i="0" u="none" strike="noStrike" dirty="0" smtClean="0">
                          <a:solidFill>
                            <a:schemeClr val="bg1"/>
                          </a:solidFill>
                          <a:effectLst/>
                          <a:latin typeface="Calibri" panose="020F0502020204030204" pitchFamily="34" charset="0"/>
                        </a:rPr>
                        <a:t>DLP*, AIP*, </a:t>
                      </a:r>
                      <a:r>
                        <a:rPr lang="pt-BR" sz="900" b="1" i="0" u="none" strike="noStrike" dirty="0">
                          <a:solidFill>
                            <a:schemeClr val="bg1"/>
                          </a:solidFill>
                          <a:effectLst/>
                          <a:latin typeface="Calibri" panose="020F0502020204030204" pitchFamily="34" charset="0"/>
                        </a:rPr>
                        <a:t>Zscaler </a:t>
                      </a:r>
                      <a:r>
                        <a:rPr lang="pt-BR" sz="900" b="1" i="0" u="none" strike="noStrike" dirty="0" smtClean="0">
                          <a:solidFill>
                            <a:schemeClr val="bg1"/>
                          </a:solidFill>
                          <a:effectLst/>
                          <a:latin typeface="Calibri" panose="020F0502020204030204" pitchFamily="34" charset="0"/>
                        </a:rPr>
                        <a:t>DLP</a:t>
                      </a:r>
                      <a:r>
                        <a:rPr lang="pt-BR" sz="900" b="1" i="0" u="none" strike="noStrike" kern="1200" baseline="30000" dirty="0" smtClean="0">
                          <a:solidFill>
                            <a:schemeClr val="bg1"/>
                          </a:solidFill>
                          <a:effectLst/>
                          <a:latin typeface="Calibri" panose="020F0502020204030204" pitchFamily="34" charset="0"/>
                          <a:ea typeface="+mn-ea"/>
                          <a:cs typeface="+mn-cs"/>
                        </a:rPr>
                        <a:t>#</a:t>
                      </a:r>
                      <a:r>
                        <a:rPr lang="pt-BR" sz="900" b="1" i="0" u="none" strike="noStrike" dirty="0" smtClean="0">
                          <a:solidFill>
                            <a:schemeClr val="bg1"/>
                          </a:solidFill>
                          <a:effectLst/>
                          <a:latin typeface="Calibri" panose="020F0502020204030204" pitchFamily="34" charset="0"/>
                        </a:rPr>
                        <a:t>, Defender*</a:t>
                      </a:r>
                      <a:endParaRPr lang="pt-BR"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1413246097"/>
                  </a:ext>
                </a:extLst>
              </a:tr>
              <a:tr h="178316">
                <a:tc>
                  <a:txBody>
                    <a:bodyPr/>
                    <a:lstStyle/>
                    <a:p>
                      <a:pPr algn="l" fontAlgn="b"/>
                      <a:r>
                        <a:rPr lang="en-US" sz="900" b="1" i="0" u="none" strike="noStrike">
                          <a:solidFill>
                            <a:srgbClr val="000000"/>
                          </a:solidFill>
                          <a:effectLst/>
                          <a:latin typeface="Calibri" panose="020F0502020204030204" pitchFamily="34" charset="0"/>
                        </a:rPr>
                        <a:t>Security</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Firewall</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err="1">
                          <a:solidFill>
                            <a:schemeClr val="bg1"/>
                          </a:solidFill>
                          <a:effectLst/>
                          <a:latin typeface="Calibri" panose="020F0502020204030204" pitchFamily="34" charset="0"/>
                        </a:rPr>
                        <a:t>Fortigate</a:t>
                      </a:r>
                      <a:r>
                        <a:rPr lang="en-US" sz="900" b="1" i="0" u="none" strike="noStrike" dirty="0">
                          <a:solidFill>
                            <a:schemeClr val="bg1"/>
                          </a:solidFill>
                          <a:effectLst/>
                          <a:latin typeface="Calibri" panose="020F0502020204030204" pitchFamily="34" charset="0"/>
                        </a:rPr>
                        <a:t>, Cisco</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marL="0" marR="0" lvl="0" indent="0" algn="l" defTabSz="914378" rtl="0" eaLnBrk="1" fontAlgn="b" latinLnBrk="0" hangingPunct="1">
                        <a:lnSpc>
                          <a:spcPct val="100000"/>
                        </a:lnSpc>
                        <a:spcBef>
                          <a:spcPts val="0"/>
                        </a:spcBef>
                        <a:spcAft>
                          <a:spcPts val="0"/>
                        </a:spcAft>
                        <a:buClrTx/>
                        <a:buSzTx/>
                        <a:buFontTx/>
                        <a:buNone/>
                        <a:tabLst/>
                        <a:defRPr/>
                      </a:pPr>
                      <a:r>
                        <a:rPr lang="en-US" sz="900" b="1" i="0" u="none" strike="noStrike" dirty="0">
                          <a:solidFill>
                            <a:schemeClr val="bg1"/>
                          </a:solidFill>
                          <a:effectLst/>
                          <a:latin typeface="Calibri" panose="020F0502020204030204" pitchFamily="34" charset="0"/>
                        </a:rPr>
                        <a:t>Palo </a:t>
                      </a:r>
                      <a:r>
                        <a:rPr lang="en-US" sz="900" b="1" i="0" u="none" strike="noStrike" dirty="0" smtClean="0">
                          <a:solidFill>
                            <a:schemeClr val="bg1"/>
                          </a:solidFill>
                          <a:effectLst/>
                          <a:latin typeface="Calibri" panose="020F0502020204030204" pitchFamily="34" charset="0"/>
                        </a:rPr>
                        <a:t>Alto</a:t>
                      </a:r>
                      <a:r>
                        <a:rPr lang="en-US" sz="900" b="1" i="0" u="none" strike="noStrike" kern="1200" baseline="30000" dirty="0" smtClean="0">
                          <a:solidFill>
                            <a:schemeClr val="bg1"/>
                          </a:solidFill>
                          <a:effectLst/>
                          <a:latin typeface="Calibri" panose="020F0502020204030204" pitchFamily="34" charset="0"/>
                          <a:ea typeface="+mn-ea"/>
                          <a:cs typeface="+mn-cs"/>
                        </a:rPr>
                        <a: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885229123"/>
                  </a:ext>
                </a:extLst>
              </a:tr>
              <a:tr h="178316">
                <a:tc rowSpan="2">
                  <a:txBody>
                    <a:bodyPr/>
                    <a:lstStyle/>
                    <a:p>
                      <a:pPr algn="l" fontAlgn="ctr"/>
                      <a:r>
                        <a:rPr lang="en-US" sz="900" b="1" i="0" u="none" strike="noStrike">
                          <a:solidFill>
                            <a:srgbClr val="000000"/>
                          </a:solidFill>
                          <a:effectLst/>
                          <a:latin typeface="Calibri" panose="020F0502020204030204" pitchFamily="34" charset="0"/>
                        </a:rPr>
                        <a:t>Security</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ctr"/>
                      <a:r>
                        <a:rPr lang="en-US" sz="900" b="0" i="0" u="none" strike="noStrike">
                          <a:solidFill>
                            <a:srgbClr val="000000"/>
                          </a:solidFill>
                          <a:effectLst/>
                          <a:latin typeface="Calibri" panose="020F0502020204030204" pitchFamily="34" charset="0"/>
                        </a:rPr>
                        <a:t>Email &amp; Endpoint Protection</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a:solidFill>
                            <a:schemeClr val="bg1"/>
                          </a:solidFill>
                          <a:effectLst/>
                          <a:latin typeface="Calibri" panose="020F0502020204030204" pitchFamily="34" charset="0"/>
                        </a:rPr>
                        <a:t>O365, </a:t>
                      </a:r>
                      <a:r>
                        <a:rPr lang="en-US" sz="900" b="1" i="0" u="none" strike="noStrike" dirty="0" err="1">
                          <a:solidFill>
                            <a:schemeClr val="bg1"/>
                          </a:solidFill>
                          <a:effectLst/>
                          <a:latin typeface="Calibri" panose="020F0502020204030204" pitchFamily="34" charset="0"/>
                        </a:rPr>
                        <a:t>Proofpoint</a:t>
                      </a:r>
                      <a:r>
                        <a:rPr lang="en-US" sz="900" b="1" i="0" u="none" strike="noStrike" dirty="0">
                          <a:solidFill>
                            <a:schemeClr val="bg1"/>
                          </a:solidFill>
                          <a:effectLst/>
                          <a:latin typeface="Calibri" panose="020F0502020204030204" pitchFamily="34" charset="0"/>
                        </a:rPr>
                        <a:t>, </a:t>
                      </a:r>
                      <a:r>
                        <a:rPr lang="en-US" sz="900" b="1" i="0" u="none" strike="noStrike" dirty="0" err="1">
                          <a:solidFill>
                            <a:schemeClr val="bg1"/>
                          </a:solidFill>
                          <a:effectLst/>
                          <a:latin typeface="Calibri" panose="020F0502020204030204" pitchFamily="34" charset="0"/>
                        </a:rPr>
                        <a:t>Bitlocker</a:t>
                      </a:r>
                      <a:r>
                        <a:rPr lang="en-US" sz="900" b="1" i="0" u="none" strike="noStrike" dirty="0">
                          <a:solidFill>
                            <a:schemeClr val="bg1"/>
                          </a:solidFill>
                          <a:effectLst/>
                          <a:latin typeface="Calibri" panose="020F0502020204030204" pitchFamily="34" charset="0"/>
                        </a:rPr>
                        <a:t>, </a:t>
                      </a:r>
                      <a:r>
                        <a:rPr lang="en-US" sz="900" b="1" i="0" u="none" strike="noStrike" dirty="0" err="1">
                          <a:solidFill>
                            <a:schemeClr val="bg1"/>
                          </a:solidFill>
                          <a:effectLst/>
                          <a:latin typeface="Calibri" panose="020F0502020204030204" pitchFamily="34" charset="0"/>
                        </a:rPr>
                        <a:t>FileVault</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algn="l" fontAlgn="b"/>
                      <a:r>
                        <a:rPr lang="en-US" sz="900" b="1" i="0" u="none" strike="noStrike" dirty="0" smtClean="0">
                          <a:solidFill>
                            <a:schemeClr val="bg1"/>
                          </a:solidFill>
                          <a:effectLst/>
                          <a:latin typeface="Calibri" panose="020F0502020204030204" pitchFamily="34" charset="0"/>
                        </a:rPr>
                        <a:t>O365, </a:t>
                      </a:r>
                      <a:r>
                        <a:rPr lang="en-US" sz="900" b="1" i="0" u="none" strike="noStrike" dirty="0" err="1">
                          <a:solidFill>
                            <a:schemeClr val="bg1"/>
                          </a:solidFill>
                          <a:effectLst/>
                          <a:latin typeface="Calibri" panose="020F0502020204030204" pitchFamily="34" charset="0"/>
                        </a:rPr>
                        <a:t>Proofpoint</a:t>
                      </a:r>
                      <a:r>
                        <a:rPr lang="en-US" sz="900" b="1" i="0" u="none" strike="noStrike" dirty="0">
                          <a:solidFill>
                            <a:schemeClr val="bg1"/>
                          </a:solidFill>
                          <a:effectLst/>
                          <a:latin typeface="Calibri" panose="020F0502020204030204" pitchFamily="34" charset="0"/>
                        </a:rPr>
                        <a:t>, </a:t>
                      </a:r>
                      <a:r>
                        <a:rPr lang="en-US" sz="900" b="1" i="0" u="none" strike="noStrike" dirty="0" err="1">
                          <a:solidFill>
                            <a:schemeClr val="bg1"/>
                          </a:solidFill>
                          <a:effectLst/>
                          <a:latin typeface="Calibri" panose="020F0502020204030204" pitchFamily="34" charset="0"/>
                        </a:rPr>
                        <a:t>Bitlocker</a:t>
                      </a:r>
                      <a:r>
                        <a:rPr lang="en-US" sz="900" b="1" i="0" u="none" strike="noStrike" dirty="0">
                          <a:solidFill>
                            <a:schemeClr val="bg1"/>
                          </a:solidFill>
                          <a:effectLst/>
                          <a:latin typeface="Calibri" panose="020F0502020204030204" pitchFamily="34" charset="0"/>
                        </a:rPr>
                        <a:t>, </a:t>
                      </a:r>
                      <a:r>
                        <a:rPr lang="en-US" sz="900" b="1" i="0" u="none" strike="noStrike" dirty="0" err="1" smtClean="0">
                          <a:solidFill>
                            <a:schemeClr val="bg1"/>
                          </a:solidFill>
                          <a:effectLst/>
                          <a:latin typeface="Calibri" panose="020F0502020204030204" pitchFamily="34" charset="0"/>
                        </a:rPr>
                        <a:t>FileVault</a:t>
                      </a:r>
                      <a:r>
                        <a:rPr lang="en-US" sz="900" b="1" i="0" u="none" strike="noStrike" dirty="0" smtClean="0">
                          <a:solidFill>
                            <a:schemeClr val="bg1"/>
                          </a:solidFill>
                          <a:effectLst/>
                          <a:latin typeface="Calibri" panose="020F0502020204030204" pitchFamily="34" charset="0"/>
                        </a:rPr>
                        <a:t>*</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extLst>
                  <a:ext uri="{0D108BD9-81ED-4DB2-BD59-A6C34878D82A}">
                    <a16:rowId xmlns:a16="http://schemas.microsoft.com/office/drawing/2014/main" val="456171005"/>
                  </a:ext>
                </a:extLst>
              </a:tr>
              <a:tr h="178316">
                <a:tc vMerge="1">
                  <a:txBody>
                    <a:bodyPr/>
                    <a:lstStyle/>
                    <a:p>
                      <a:endParaRPr lang="en-US"/>
                    </a:p>
                  </a:txBody>
                  <a:tcPr/>
                </a:tc>
                <a:tc vMerge="1">
                  <a:txBody>
                    <a:bodyPr/>
                    <a:lstStyle/>
                    <a:p>
                      <a:endParaRPr lang="en-US"/>
                    </a:p>
                  </a:txBody>
                  <a:tcPr/>
                </a:tc>
                <a:tc>
                  <a:txBody>
                    <a:bodyPr/>
                    <a:lstStyle/>
                    <a:p>
                      <a:pPr algn="l" fontAlgn="b"/>
                      <a:r>
                        <a:rPr lang="en-US" sz="900" b="1" i="0" u="none" strike="noStrike" dirty="0">
                          <a:solidFill>
                            <a:srgbClr val="000000"/>
                          </a:solidFill>
                          <a:effectLst/>
                          <a:latin typeface="Calibri" panose="020F0502020204030204" pitchFamily="34" charset="0"/>
                        </a:rPr>
                        <a:t>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378" rtl="0" eaLnBrk="1" fontAlgn="b" latinLnBrk="0" hangingPunct="1">
                        <a:lnSpc>
                          <a:spcPct val="100000"/>
                        </a:lnSpc>
                        <a:spcBef>
                          <a:spcPts val="0"/>
                        </a:spcBef>
                        <a:spcAft>
                          <a:spcPts val="0"/>
                        </a:spcAft>
                        <a:buClrTx/>
                        <a:buSzTx/>
                        <a:buFontTx/>
                        <a:buNone/>
                        <a:tabLst/>
                        <a:defRPr/>
                      </a:pPr>
                      <a:r>
                        <a:rPr lang="en-US" sz="900" b="1" i="0" u="none" strike="noStrike" dirty="0">
                          <a:solidFill>
                            <a:schemeClr val="bg1"/>
                          </a:solidFill>
                          <a:effectLst/>
                          <a:latin typeface="Calibri" panose="020F0502020204030204" pitchFamily="34" charset="0"/>
                        </a:rPr>
                        <a:t>Defender, Carbon </a:t>
                      </a:r>
                      <a:r>
                        <a:rPr lang="en-US" sz="900" b="1" i="0" u="none" strike="noStrike" dirty="0" smtClean="0">
                          <a:solidFill>
                            <a:schemeClr val="bg1"/>
                          </a:solidFill>
                          <a:effectLst/>
                          <a:latin typeface="Calibri" panose="020F0502020204030204" pitchFamily="34" charset="0"/>
                        </a:rPr>
                        <a:t>Black</a:t>
                      </a:r>
                      <a:r>
                        <a:rPr lang="en-US" sz="900" b="1" i="0" u="none" strike="noStrike" kern="1200" baseline="30000" dirty="0" smtClean="0">
                          <a:solidFill>
                            <a:schemeClr val="bg1"/>
                          </a:solidFill>
                          <a:effectLst/>
                          <a:latin typeface="Calibri" panose="020F0502020204030204" pitchFamily="34" charset="0"/>
                          <a:ea typeface="+mn-ea"/>
                          <a:cs typeface="+mn-cs"/>
                        </a:rPr>
                        <a: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2412646371"/>
                  </a:ext>
                </a:extLst>
              </a:tr>
              <a:tr h="178316">
                <a:tc>
                  <a:txBody>
                    <a:bodyPr/>
                    <a:lstStyle/>
                    <a:p>
                      <a:pPr algn="l" fontAlgn="b"/>
                      <a:r>
                        <a:rPr lang="en-US" sz="900" b="1" i="0" u="none" strike="noStrike">
                          <a:solidFill>
                            <a:srgbClr val="000000"/>
                          </a:solidFill>
                          <a:effectLst/>
                          <a:latin typeface="Calibri" panose="020F0502020204030204" pitchFamily="34" charset="0"/>
                        </a:rPr>
                        <a:t>Security</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Guest Internet Access</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1" i="0" u="none" strike="noStrike" dirty="0">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a:solidFill>
                            <a:schemeClr val="bg1"/>
                          </a:solidFill>
                          <a:effectLst/>
                          <a:latin typeface="Calibri" panose="020F0502020204030204" pitchFamily="34" charset="0"/>
                        </a:rPr>
                        <a:t>Cisco </a:t>
                      </a:r>
                      <a:r>
                        <a:rPr lang="en-US" sz="900" b="1" i="0" u="none" strike="noStrike" dirty="0" smtClean="0">
                          <a:solidFill>
                            <a:schemeClr val="bg1"/>
                          </a:solidFill>
                          <a:effectLst/>
                          <a:latin typeface="Calibri" panose="020F0502020204030204" pitchFamily="34" charset="0"/>
                        </a:rPr>
                        <a:t>ISE*</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3150985703"/>
                  </a:ext>
                </a:extLst>
              </a:tr>
              <a:tr h="178316">
                <a:tc rowSpan="2">
                  <a:txBody>
                    <a:bodyPr/>
                    <a:lstStyle/>
                    <a:p>
                      <a:pPr algn="l" fontAlgn="ctr"/>
                      <a:r>
                        <a:rPr lang="en-US" sz="900" b="1" i="0" u="none" strike="noStrike">
                          <a:solidFill>
                            <a:srgbClr val="000000"/>
                          </a:solidFill>
                          <a:effectLst/>
                          <a:latin typeface="Calibri" panose="020F0502020204030204" pitchFamily="34" charset="0"/>
                        </a:rPr>
                        <a:t>Security</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ctr"/>
                      <a:r>
                        <a:rPr lang="en-US" sz="900" b="0" i="0" u="none" strike="noStrike">
                          <a:solidFill>
                            <a:srgbClr val="000000"/>
                          </a:solidFill>
                          <a:effectLst/>
                          <a:latin typeface="Calibri" panose="020F0502020204030204" pitchFamily="34" charset="0"/>
                        </a:rPr>
                        <a:t>Identity &amp; Access Management</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err="1">
                          <a:solidFill>
                            <a:schemeClr val="bg1"/>
                          </a:solidFill>
                          <a:effectLst/>
                          <a:latin typeface="Calibri" panose="020F0502020204030204" pitchFamily="34" charset="0"/>
                        </a:rPr>
                        <a:t>CyberArk</a:t>
                      </a:r>
                      <a:r>
                        <a:rPr lang="en-US" sz="900" b="1" i="0" u="none" strike="noStrike" dirty="0">
                          <a:solidFill>
                            <a:schemeClr val="bg1"/>
                          </a:solidFill>
                          <a:effectLst/>
                          <a:latin typeface="Calibri" panose="020F0502020204030204" pitchFamily="34" charset="0"/>
                        </a:rPr>
                        <a:t>, </a:t>
                      </a:r>
                      <a:r>
                        <a:rPr lang="en-US" sz="900" b="1" i="0" u="none" strike="noStrike" dirty="0" err="1">
                          <a:solidFill>
                            <a:schemeClr val="bg1"/>
                          </a:solidFill>
                          <a:effectLst/>
                          <a:latin typeface="Calibri" panose="020F0502020204030204" pitchFamily="34" charset="0"/>
                        </a:rPr>
                        <a:t>OpenText</a:t>
                      </a:r>
                      <a:r>
                        <a:rPr lang="en-US" sz="900" b="1" i="0" u="none" strike="noStrike" dirty="0">
                          <a:solidFill>
                            <a:schemeClr val="bg1"/>
                          </a:solidFill>
                          <a:effectLst/>
                          <a:latin typeface="Calibri" panose="020F0502020204030204" pitchFamily="34" charset="0"/>
                        </a:rPr>
                        <a:t>, Azure IAM, RSA MFA, IBM CIS</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algn="l" fontAlgn="b"/>
                      <a:r>
                        <a:rPr lang="en-US" sz="900" b="1" i="0" u="none" strike="noStrike" dirty="0" err="1">
                          <a:solidFill>
                            <a:schemeClr val="bg1"/>
                          </a:solidFill>
                          <a:effectLst/>
                          <a:latin typeface="Calibri" panose="020F0502020204030204" pitchFamily="34" charset="0"/>
                        </a:rPr>
                        <a:t>CyberArk</a:t>
                      </a:r>
                      <a:r>
                        <a:rPr lang="en-US" sz="900" b="1" i="0" u="none" strike="noStrike" dirty="0">
                          <a:solidFill>
                            <a:schemeClr val="bg1"/>
                          </a:solidFill>
                          <a:effectLst/>
                          <a:latin typeface="Calibri" panose="020F0502020204030204" pitchFamily="34" charset="0"/>
                        </a:rPr>
                        <a:t>, </a:t>
                      </a:r>
                      <a:r>
                        <a:rPr lang="en-US" sz="900" b="1" i="0" u="none" strike="noStrike" dirty="0" err="1">
                          <a:solidFill>
                            <a:schemeClr val="bg1"/>
                          </a:solidFill>
                          <a:effectLst/>
                          <a:latin typeface="Calibri" panose="020F0502020204030204" pitchFamily="34" charset="0"/>
                        </a:rPr>
                        <a:t>OpenText</a:t>
                      </a:r>
                      <a:r>
                        <a:rPr lang="en-US" sz="900" b="1" i="0" u="none" strike="noStrike" dirty="0">
                          <a:solidFill>
                            <a:schemeClr val="bg1"/>
                          </a:solidFill>
                          <a:effectLst/>
                          <a:latin typeface="Calibri" panose="020F0502020204030204" pitchFamily="34" charset="0"/>
                        </a:rPr>
                        <a:t>, Azure IAM, RSA MFA, IBM </a:t>
                      </a:r>
                      <a:r>
                        <a:rPr lang="en-US" sz="900" b="1" i="0" u="none" strike="noStrike" dirty="0" smtClean="0">
                          <a:solidFill>
                            <a:schemeClr val="bg1"/>
                          </a:solidFill>
                          <a:effectLst/>
                          <a:latin typeface="Calibri" panose="020F0502020204030204" pitchFamily="34" charset="0"/>
                        </a:rPr>
                        <a:t>CIS*</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extLst>
                  <a:ext uri="{0D108BD9-81ED-4DB2-BD59-A6C34878D82A}">
                    <a16:rowId xmlns:a16="http://schemas.microsoft.com/office/drawing/2014/main" val="4021371164"/>
                  </a:ext>
                </a:extLst>
              </a:tr>
              <a:tr h="178316">
                <a:tc vMerge="1">
                  <a:txBody>
                    <a:bodyPr/>
                    <a:lstStyle/>
                    <a:p>
                      <a:endParaRPr lang="en-US"/>
                    </a:p>
                  </a:txBody>
                  <a:tcPr/>
                </a:tc>
                <a:tc vMerge="1">
                  <a:txBody>
                    <a:bodyPr/>
                    <a:lstStyle/>
                    <a:p>
                      <a:endParaRPr lang="en-US"/>
                    </a:p>
                  </a:txBody>
                  <a:tcPr/>
                </a:tc>
                <a:tc>
                  <a:txBody>
                    <a:bodyPr/>
                    <a:lstStyle/>
                    <a:p>
                      <a:pPr algn="l" fontAlgn="b"/>
                      <a:r>
                        <a:rPr lang="en-US" sz="900" b="1" i="0" u="none" strike="noStrike" dirty="0">
                          <a:solidFill>
                            <a:srgbClr val="000000"/>
                          </a:solidFill>
                          <a:effectLst/>
                          <a:latin typeface="Calibri" panose="020F0502020204030204" pitchFamily="34" charset="0"/>
                        </a:rPr>
                        <a:t>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a:solidFill>
                            <a:schemeClr val="bg1"/>
                          </a:solidFill>
                          <a:effectLst/>
                          <a:latin typeface="Calibri" panose="020F0502020204030204" pitchFamily="34" charset="0"/>
                        </a:rPr>
                        <a:t>Azure MFA, </a:t>
                      </a:r>
                      <a:r>
                        <a:rPr lang="en-US" sz="900" b="1" i="0" u="none" strike="noStrike" dirty="0" smtClean="0">
                          <a:solidFill>
                            <a:schemeClr val="bg1"/>
                          </a:solidFill>
                          <a:effectLst/>
                          <a:latin typeface="Calibri" panose="020F0502020204030204" pitchFamily="34" charset="0"/>
                        </a:rPr>
                        <a:t>ADFS*</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3095815762"/>
                  </a:ext>
                </a:extLst>
              </a:tr>
              <a:tr h="178316">
                <a:tc>
                  <a:txBody>
                    <a:bodyPr/>
                    <a:lstStyle/>
                    <a:p>
                      <a:pPr algn="l" fontAlgn="b"/>
                      <a:r>
                        <a:rPr lang="en-US" sz="900" b="1" i="0" u="none" strike="noStrike">
                          <a:solidFill>
                            <a:srgbClr val="000000"/>
                          </a:solidFill>
                          <a:effectLst/>
                          <a:latin typeface="Calibri" panose="020F0502020204030204" pitchFamily="34" charset="0"/>
                        </a:rPr>
                        <a:t>Security</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Data Protection</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1" i="0" u="none" strike="noStrike" dirty="0">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378" rtl="0" eaLnBrk="1" fontAlgn="b" latinLnBrk="0" hangingPunct="1">
                        <a:lnSpc>
                          <a:spcPct val="100000"/>
                        </a:lnSpc>
                        <a:spcBef>
                          <a:spcPts val="0"/>
                        </a:spcBef>
                        <a:spcAft>
                          <a:spcPts val="0"/>
                        </a:spcAft>
                        <a:buClrTx/>
                        <a:buSzTx/>
                        <a:buFontTx/>
                        <a:buNone/>
                        <a:tabLst/>
                        <a:defRPr/>
                      </a:pPr>
                      <a:r>
                        <a:rPr lang="en-US" sz="900" b="1" i="0" u="none" strike="noStrike" dirty="0" err="1" smtClean="0">
                          <a:solidFill>
                            <a:schemeClr val="bg1"/>
                          </a:solidFill>
                          <a:effectLst/>
                          <a:latin typeface="Calibri" panose="020F0502020204030204" pitchFamily="34" charset="0"/>
                        </a:rPr>
                        <a:t>Venafi</a:t>
                      </a:r>
                      <a:r>
                        <a:rPr lang="en-US" sz="900" b="1" i="0" u="none" strike="noStrike" kern="1200" baseline="30000" dirty="0" smtClean="0">
                          <a:solidFill>
                            <a:schemeClr val="bg1"/>
                          </a:solidFill>
                          <a:effectLst/>
                          <a:latin typeface="Calibri" panose="020F0502020204030204" pitchFamily="34" charset="0"/>
                          <a:ea typeface="+mn-ea"/>
                          <a:cs typeface="+mn-cs"/>
                        </a:rPr>
                        <a:t>#</a:t>
                      </a:r>
                      <a:r>
                        <a:rPr lang="en-US" sz="900" b="1" i="0" u="none" strike="noStrike" dirty="0" smtClean="0">
                          <a:solidFill>
                            <a:schemeClr val="bg1"/>
                          </a:solidFill>
                          <a:effectLst/>
                          <a:latin typeface="Calibri" panose="020F0502020204030204" pitchFamily="34" charset="0"/>
                        </a:rPr>
                        <a:t>,Azure </a:t>
                      </a:r>
                      <a:r>
                        <a:rPr lang="en-US" sz="900" b="1" i="0" u="none" strike="noStrike" dirty="0" err="1" smtClean="0">
                          <a:solidFill>
                            <a:schemeClr val="bg1"/>
                          </a:solidFill>
                          <a:effectLst/>
                          <a:latin typeface="Calibri" panose="020F0502020204030204" pitchFamily="34" charset="0"/>
                        </a:rPr>
                        <a:t>KeyVault</a:t>
                      </a:r>
                      <a:r>
                        <a:rPr lang="en-US" sz="900" b="1" i="0" u="none" strike="noStrike" dirty="0" smtClean="0">
                          <a:solidFill>
                            <a:schemeClr val="bg1"/>
                          </a:solidFill>
                          <a:effectLst/>
                          <a:latin typeface="Calibri" panose="020F0502020204030204" pitchFamily="34" charset="0"/>
                        </a:rPr>
                        <a:t>*, Varonis*, Vera*</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3095017357"/>
                  </a:ext>
                </a:extLst>
              </a:tr>
              <a:tr h="178316">
                <a:tc>
                  <a:txBody>
                    <a:bodyPr/>
                    <a:lstStyle/>
                    <a:p>
                      <a:pPr algn="l" fontAlgn="b"/>
                      <a:r>
                        <a:rPr lang="en-US" sz="900" b="1" i="0" u="none" strike="noStrike">
                          <a:solidFill>
                            <a:srgbClr val="000000"/>
                          </a:solidFill>
                          <a:effectLst/>
                          <a:latin typeface="Calibri" panose="020F0502020204030204" pitchFamily="34" charset="0"/>
                        </a:rPr>
                        <a:t>Security</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CASB</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dirty="0" err="1">
                          <a:solidFill>
                            <a:schemeClr val="bg1"/>
                          </a:solidFill>
                          <a:effectLst/>
                          <a:latin typeface="Calibri" panose="020F0502020204030204" pitchFamily="34" charset="0"/>
                        </a:rPr>
                        <a:t>MVision</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140"/>
                    </a:solidFill>
                  </a:tcPr>
                </a:tc>
                <a:tc>
                  <a:txBody>
                    <a:bodyPr/>
                    <a:lstStyle/>
                    <a:p>
                      <a:pPr algn="l" fontAlgn="b"/>
                      <a:r>
                        <a:rPr lang="en-US" sz="900" b="1" i="0" u="none" strike="noStrike" dirty="0" smtClean="0">
                          <a:solidFill>
                            <a:schemeClr val="bg1"/>
                          </a:solidFill>
                          <a:effectLst/>
                          <a:latin typeface="Calibri" panose="020F0502020204030204" pitchFamily="34" charset="0"/>
                        </a:rPr>
                        <a:t>MCAS*</a:t>
                      </a:r>
                      <a:endParaRPr lang="en-US" sz="900" b="1" i="0" u="none" strike="noStrike" dirty="0">
                        <a:solidFill>
                          <a:schemeClr val="bg1"/>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2274285894"/>
                  </a:ext>
                </a:extLst>
              </a:tr>
              <a:tr h="178316">
                <a:tc>
                  <a:txBody>
                    <a:bodyPr/>
                    <a:lstStyle/>
                    <a:p>
                      <a:pPr algn="l" fontAlgn="b"/>
                      <a:r>
                        <a:rPr lang="en-US" sz="900" b="1" i="0" u="none" strike="noStrike">
                          <a:solidFill>
                            <a:srgbClr val="000000"/>
                          </a:solidFill>
                          <a:effectLst/>
                          <a:latin typeface="Calibri" panose="020F0502020204030204" pitchFamily="34" charset="0"/>
                        </a:rPr>
                        <a:t>Security</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Cloud Security Assessmen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1" i="0" u="none" strike="noStrike" dirty="0">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378" rtl="0" eaLnBrk="1" fontAlgn="b" latinLnBrk="0" hangingPunct="1">
                        <a:lnSpc>
                          <a:spcPct val="100000"/>
                        </a:lnSpc>
                        <a:spcBef>
                          <a:spcPts val="0"/>
                        </a:spcBef>
                        <a:spcAft>
                          <a:spcPts val="0"/>
                        </a:spcAft>
                        <a:buClrTx/>
                        <a:buSzTx/>
                        <a:buFontTx/>
                        <a:buNone/>
                        <a:tabLst/>
                        <a:defRPr/>
                      </a:pPr>
                      <a:r>
                        <a:rPr lang="en-US" sz="900" b="1" i="0" u="none" strike="noStrike" dirty="0" err="1" smtClean="0">
                          <a:solidFill>
                            <a:schemeClr val="bg1"/>
                          </a:solidFill>
                          <a:effectLst/>
                          <a:latin typeface="Calibri" panose="020F0502020204030204" pitchFamily="34" charset="0"/>
                        </a:rPr>
                        <a:t>RedLock</a:t>
                      </a:r>
                      <a:r>
                        <a:rPr lang="en-US" sz="900" b="1" i="0" u="none" strike="noStrike" kern="1200" baseline="30000" dirty="0" smtClean="0">
                          <a:solidFill>
                            <a:schemeClr val="bg1"/>
                          </a:solidFill>
                          <a:effectLst/>
                          <a:latin typeface="Calibri" panose="020F0502020204030204" pitchFamily="34" charset="0"/>
                          <a:ea typeface="+mn-ea"/>
                          <a:cs typeface="+mn-cs"/>
                        </a:rPr>
                        <a: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3033292160"/>
                  </a:ext>
                </a:extLst>
              </a:tr>
            </a:tbl>
          </a:graphicData>
        </a:graphic>
      </p:graphicFrame>
      <p:sp>
        <p:nvSpPr>
          <p:cNvPr id="11" name="TextBox 10"/>
          <p:cNvSpPr txBox="1"/>
          <p:nvPr/>
        </p:nvSpPr>
        <p:spPr>
          <a:xfrm>
            <a:off x="4581833" y="4759541"/>
            <a:ext cx="1936954" cy="323165"/>
          </a:xfrm>
          <a:prstGeom prst="rect">
            <a:avLst/>
          </a:prstGeom>
          <a:ln>
            <a:solidFill>
              <a:schemeClr val="accent1"/>
            </a:solidFill>
          </a:ln>
        </p:spPr>
        <p:txBody>
          <a:bodyPr wrap="square" lIns="0" tIns="0" rIns="0" bIns="0" rtlCol="0">
            <a:spAutoFit/>
          </a:bodyPr>
          <a:lstStyle/>
          <a:p>
            <a:pPr marL="91440" algn="l"/>
            <a:r>
              <a:rPr lang="en-US" sz="1000" dirty="0" smtClean="0">
                <a:solidFill>
                  <a:schemeClr val="tx2"/>
                </a:solidFill>
              </a:rPr>
              <a:t>“</a:t>
            </a:r>
            <a:r>
              <a:rPr lang="en-US" sz="1100" dirty="0" smtClean="0">
                <a:solidFill>
                  <a:schemeClr val="tx2"/>
                </a:solidFill>
              </a:rPr>
              <a:t>*</a:t>
            </a:r>
            <a:r>
              <a:rPr lang="en-US" sz="1000" dirty="0" smtClean="0">
                <a:solidFill>
                  <a:schemeClr val="tx2"/>
                </a:solidFill>
              </a:rPr>
              <a:t>”- BHF owns License</a:t>
            </a:r>
          </a:p>
          <a:p>
            <a:pPr marL="91440" algn="l"/>
            <a:r>
              <a:rPr lang="en-US" sz="1000" dirty="0" smtClean="0">
                <a:solidFill>
                  <a:schemeClr val="tx2"/>
                </a:solidFill>
              </a:rPr>
              <a:t>“#”- Cognizant to Own License</a:t>
            </a:r>
          </a:p>
        </p:txBody>
      </p:sp>
    </p:spTree>
    <p:extLst>
      <p:ext uri="{BB962C8B-B14F-4D97-AF65-F5344CB8AC3E}">
        <p14:creationId xmlns:p14="http://schemas.microsoft.com/office/powerpoint/2010/main" val="6807288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M Summary (1/3)</a:t>
            </a:r>
            <a:endParaRPr lang="en-US" dirty="0"/>
          </a:p>
        </p:txBody>
      </p:sp>
      <p:sp>
        <p:nvSpPr>
          <p:cNvPr id="4" name="Slide Number Placeholder 3"/>
          <p:cNvSpPr>
            <a:spLocks noGrp="1"/>
          </p:cNvSpPr>
          <p:nvPr>
            <p:ph type="sldNum" sz="quarter" idx="12"/>
          </p:nvPr>
        </p:nvSpPr>
        <p:spPr/>
        <p:txBody>
          <a:bodyPr/>
          <a:lstStyle/>
          <a:p>
            <a:fld id="{2EFEF571-C9B4-4D92-A7F7-315B894862A8}" type="slidenum">
              <a:rPr lang="en-US" smtClean="0"/>
              <a:pPr/>
              <a:t>19</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157007432"/>
              </p:ext>
            </p:extLst>
          </p:nvPr>
        </p:nvGraphicFramePr>
        <p:xfrm>
          <a:off x="384049" y="613377"/>
          <a:ext cx="8322003" cy="3987821"/>
        </p:xfrm>
        <a:graphic>
          <a:graphicData uri="http://schemas.openxmlformats.org/drawingml/2006/table">
            <a:tbl>
              <a:tblPr/>
              <a:tblGrid>
                <a:gridCol w="525021">
                  <a:extLst>
                    <a:ext uri="{9D8B030D-6E8A-4147-A177-3AD203B41FA5}">
                      <a16:colId xmlns:a16="http://schemas.microsoft.com/office/drawing/2014/main" val="1693672469"/>
                    </a:ext>
                  </a:extLst>
                </a:gridCol>
                <a:gridCol w="1336024">
                  <a:extLst>
                    <a:ext uri="{9D8B030D-6E8A-4147-A177-3AD203B41FA5}">
                      <a16:colId xmlns:a16="http://schemas.microsoft.com/office/drawing/2014/main" val="3294553601"/>
                    </a:ext>
                  </a:extLst>
                </a:gridCol>
                <a:gridCol w="2028524">
                  <a:extLst>
                    <a:ext uri="{9D8B030D-6E8A-4147-A177-3AD203B41FA5}">
                      <a16:colId xmlns:a16="http://schemas.microsoft.com/office/drawing/2014/main" val="3085224326"/>
                    </a:ext>
                  </a:extLst>
                </a:gridCol>
                <a:gridCol w="2180122">
                  <a:extLst>
                    <a:ext uri="{9D8B030D-6E8A-4147-A177-3AD203B41FA5}">
                      <a16:colId xmlns:a16="http://schemas.microsoft.com/office/drawing/2014/main" val="2386227066"/>
                    </a:ext>
                  </a:extLst>
                </a:gridCol>
                <a:gridCol w="760963">
                  <a:extLst>
                    <a:ext uri="{9D8B030D-6E8A-4147-A177-3AD203B41FA5}">
                      <a16:colId xmlns:a16="http://schemas.microsoft.com/office/drawing/2014/main" val="1946769975"/>
                    </a:ext>
                  </a:extLst>
                </a:gridCol>
                <a:gridCol w="758756">
                  <a:extLst>
                    <a:ext uri="{9D8B030D-6E8A-4147-A177-3AD203B41FA5}">
                      <a16:colId xmlns:a16="http://schemas.microsoft.com/office/drawing/2014/main" val="2000206575"/>
                    </a:ext>
                  </a:extLst>
                </a:gridCol>
                <a:gridCol w="732593">
                  <a:extLst>
                    <a:ext uri="{9D8B030D-6E8A-4147-A177-3AD203B41FA5}">
                      <a16:colId xmlns:a16="http://schemas.microsoft.com/office/drawing/2014/main" val="2991129893"/>
                    </a:ext>
                  </a:extLst>
                </a:gridCol>
              </a:tblGrid>
              <a:tr h="182880">
                <a:tc rowSpan="2">
                  <a:txBody>
                    <a:bodyPr/>
                    <a:lstStyle/>
                    <a:p>
                      <a:pPr algn="ctr" fontAlgn="ctr"/>
                      <a:r>
                        <a:rPr lang="en-US" sz="1000" b="1" i="0" u="none" strike="noStrike" dirty="0">
                          <a:solidFill>
                            <a:schemeClr val="bg1"/>
                          </a:solidFill>
                          <a:effectLst/>
                          <a:latin typeface="Calibri" panose="020F0502020204030204" pitchFamily="34" charset="0"/>
                        </a:rPr>
                        <a:t>Tow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rowSpan="2">
                  <a:txBody>
                    <a:bodyPr/>
                    <a:lstStyle/>
                    <a:p>
                      <a:pPr algn="ctr" fontAlgn="ctr"/>
                      <a:r>
                        <a:rPr lang="en-US" sz="1000" b="1" i="0" u="none" strike="noStrike" dirty="0">
                          <a:solidFill>
                            <a:schemeClr val="bg1"/>
                          </a:solidFill>
                          <a:effectLst/>
                          <a:latin typeface="Calibri" panose="020F0502020204030204" pitchFamily="34" charset="0"/>
                        </a:rPr>
                        <a:t>Steady State Suppor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gridSpan="2">
                  <a:txBody>
                    <a:bodyPr/>
                    <a:lstStyle/>
                    <a:p>
                      <a:pPr algn="ctr" fontAlgn="ctr"/>
                      <a:r>
                        <a:rPr lang="en-US" sz="1200" b="1" i="0" u="none" strike="noStrike" dirty="0">
                          <a:solidFill>
                            <a:schemeClr val="bg1"/>
                          </a:solidFill>
                          <a:effectLst/>
                          <a:latin typeface="Calibri" panose="020F0502020204030204" pitchFamily="34" charset="0"/>
                        </a:rPr>
                        <a:t>Transforma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hMerge="1">
                  <a:txBody>
                    <a:bodyPr/>
                    <a:lstStyle/>
                    <a:p>
                      <a:endParaRPr lang="en-US"/>
                    </a:p>
                  </a:txBody>
                  <a:tcPr/>
                </a:tc>
                <a:tc rowSpan="2" gridSpan="3">
                  <a:txBody>
                    <a:bodyPr/>
                    <a:lstStyle/>
                    <a:p>
                      <a:pPr algn="ctr" fontAlgn="ctr"/>
                      <a:r>
                        <a:rPr lang="en-US" sz="1000" b="1" i="0" u="none" strike="noStrike" dirty="0" smtClean="0">
                          <a:solidFill>
                            <a:schemeClr val="bg1"/>
                          </a:solidFill>
                          <a:effectLst/>
                          <a:latin typeface="Calibri" panose="020F0502020204030204" pitchFamily="34" charset="0"/>
                        </a:rPr>
                        <a:t>Price</a:t>
                      </a:r>
                      <a:r>
                        <a:rPr lang="en-US" sz="1000" b="1" i="0" u="none" strike="noStrike" baseline="0" dirty="0" smtClean="0">
                          <a:solidFill>
                            <a:schemeClr val="bg1"/>
                          </a:solidFill>
                          <a:effectLst/>
                          <a:latin typeface="Calibri" panose="020F0502020204030204" pitchFamily="34" charset="0"/>
                        </a:rPr>
                        <a:t> included in the proposal</a:t>
                      </a:r>
                      <a:endParaRPr lang="en-US" sz="10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rowSpan="2" hMerge="1">
                  <a:txBody>
                    <a:bodyPr/>
                    <a:lstStyle/>
                    <a:p>
                      <a:pPr algn="ctr" fontAlgn="ctr"/>
                      <a:endParaRPr lang="en-US" sz="13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rowSpan="2" hMerge="1">
                  <a:txBody>
                    <a:bodyPr/>
                    <a:lstStyle/>
                    <a:p>
                      <a:pPr algn="ctr" fontAlgn="ctr"/>
                      <a:endParaRPr lang="en-US" sz="13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1427577263"/>
                  </a:ext>
                </a:extLst>
              </a:tr>
              <a:tr h="148590">
                <a:tc vMerge="1">
                  <a:txBody>
                    <a:bodyPr/>
                    <a:lstStyle/>
                    <a:p>
                      <a:endParaRPr lang="en-US"/>
                    </a:p>
                  </a:txBody>
                  <a:tcPr/>
                </a:tc>
                <a:tc vMerge="1">
                  <a:txBody>
                    <a:bodyPr/>
                    <a:lstStyle/>
                    <a:p>
                      <a:endParaRPr lang="en-US"/>
                    </a:p>
                  </a:txBody>
                  <a:tcPr/>
                </a:tc>
                <a:tc>
                  <a:txBody>
                    <a:bodyPr/>
                    <a:lstStyle/>
                    <a:p>
                      <a:pPr algn="ctr" fontAlgn="ctr"/>
                      <a:r>
                        <a:rPr lang="en-US" sz="1000" b="1" i="0" u="none" strike="noStrike" dirty="0" smtClean="0">
                          <a:solidFill>
                            <a:schemeClr val="bg1"/>
                          </a:solidFill>
                          <a:effectLst/>
                          <a:latin typeface="Calibri" panose="020F0502020204030204" pitchFamily="34" charset="0"/>
                        </a:rPr>
                        <a:t>Function</a:t>
                      </a:r>
                      <a:endParaRPr lang="en-US" sz="10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a:txBody>
                    <a:bodyPr/>
                    <a:lstStyle/>
                    <a:p>
                      <a:pPr algn="ctr" fontAlgn="ctr"/>
                      <a:r>
                        <a:rPr lang="en-US" sz="1000" b="1" i="0" u="none" strike="noStrike" dirty="0">
                          <a:solidFill>
                            <a:schemeClr val="bg1"/>
                          </a:solidFill>
                          <a:effectLst/>
                          <a:latin typeface="Calibri" panose="020F0502020204030204" pitchFamily="34" charset="0"/>
                        </a:rPr>
                        <a:t>Proposed Solu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gridSpan="3" vMerge="1">
                  <a:txBody>
                    <a:bodyPr/>
                    <a:lstStyle/>
                    <a:p>
                      <a:endParaRPr lang="en-US"/>
                    </a:p>
                  </a:txBody>
                  <a:tcPr/>
                </a:tc>
                <a:tc hMerge="1"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151807903"/>
                  </a:ext>
                </a:extLst>
              </a:tr>
              <a:tr h="148590">
                <a:tc>
                  <a:txBody>
                    <a:bodyPr/>
                    <a:lstStyle/>
                    <a:p>
                      <a:pPr algn="ctr" fontAlgn="ctr"/>
                      <a:endParaRPr lang="en-US" sz="1000" b="1"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3">
                  <a:txBody>
                    <a:bodyPr/>
                    <a:lstStyle/>
                    <a:p>
                      <a:pPr algn="l" fontAlgn="ctr"/>
                      <a:r>
                        <a:rPr lang="en-US" sz="1000" b="1" i="0" u="none" strike="noStrike" dirty="0" smtClean="0">
                          <a:solidFill>
                            <a:schemeClr val="tx2"/>
                          </a:solidFill>
                          <a:effectLst/>
                          <a:latin typeface="Calibri" panose="020F0502020204030204" pitchFamily="34" charset="0"/>
                        </a:rPr>
                        <a:t>        FRM                   MS                 PS                    </a:t>
                      </a:r>
                      <a:endParaRPr lang="en-US" sz="1000" b="1"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74422502"/>
                  </a:ext>
                </a:extLst>
              </a:tr>
              <a:tr h="297180">
                <a:tc rowSpan="5">
                  <a:txBody>
                    <a:bodyPr/>
                    <a:lstStyle/>
                    <a:p>
                      <a:pPr algn="ctr" fontAlgn="ctr"/>
                      <a:r>
                        <a:rPr lang="en-US" sz="1000" b="0" i="0" u="none" strike="noStrike" dirty="0">
                          <a:solidFill>
                            <a:srgbClr val="000000"/>
                          </a:solidFill>
                          <a:effectLst/>
                          <a:latin typeface="Calibri" panose="020F0502020204030204" pitchFamily="34" charset="0"/>
                        </a:rPr>
                        <a:t>Clou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fontAlgn="ctr"/>
                      <a:r>
                        <a:rPr lang="en-US" sz="1000" b="0" i="0" u="none" strike="noStrike" dirty="0">
                          <a:solidFill>
                            <a:srgbClr val="000000"/>
                          </a:solidFill>
                          <a:effectLst/>
                          <a:latin typeface="Calibri" panose="020F0502020204030204" pitchFamily="34" charset="0"/>
                        </a:rPr>
                        <a:t>Cloud </a:t>
                      </a:r>
                      <a:r>
                        <a:rPr lang="en-US" sz="1000" b="0" i="0" u="none" strike="noStrike" dirty="0" smtClean="0">
                          <a:solidFill>
                            <a:srgbClr val="000000"/>
                          </a:solidFill>
                          <a:effectLst/>
                          <a:latin typeface="Calibri" panose="020F0502020204030204" pitchFamily="34" charset="0"/>
                        </a:rPr>
                        <a:t>Operate</a:t>
                      </a:r>
                      <a:endParaRPr lang="en-US" sz="10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a:solidFill>
                            <a:srgbClr val="000000"/>
                          </a:solidFill>
                          <a:effectLst/>
                          <a:latin typeface="Calibri" panose="020F0502020204030204" pitchFamily="34" charset="0"/>
                        </a:rPr>
                        <a:t>Cloud Management Platform &amp; Orchestration Lay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err="1">
                          <a:solidFill>
                            <a:srgbClr val="000000"/>
                          </a:solidFill>
                          <a:effectLst/>
                          <a:latin typeface="Calibri" panose="020F0502020204030204" pitchFamily="34" charset="0"/>
                        </a:rPr>
                        <a:t>ServiceNow</a:t>
                      </a:r>
                      <a:r>
                        <a:rPr lang="en-US" sz="1000" b="0" i="0" u="none" strike="noStrike" dirty="0">
                          <a:solidFill>
                            <a:srgbClr val="000000"/>
                          </a:solidFill>
                          <a:effectLst/>
                          <a:latin typeface="Calibri" panose="020F0502020204030204" pitchFamily="34" charset="0"/>
                        </a:rPr>
                        <a:t> </a:t>
                      </a:r>
                      <a:r>
                        <a:rPr lang="en-US" sz="1000" b="0" i="0" u="none" strike="noStrike" dirty="0" smtClean="0">
                          <a:solidFill>
                            <a:srgbClr val="000000"/>
                          </a:solidFill>
                          <a:effectLst/>
                          <a:latin typeface="Calibri" panose="020F0502020204030204" pitchFamily="34" charset="0"/>
                        </a:rPr>
                        <a:t>CMP</a:t>
                      </a:r>
                      <a:endParaRPr lang="en-US" sz="10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Calibri" panose="020F0502020204030204" pitchFamily="34" charset="0"/>
                        </a:rPr>
                        <a:t>BH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rgbClr val="000000"/>
                          </a:solidFill>
                          <a:effectLst/>
                          <a:latin typeface="Calibri" panose="020F0502020204030204" pitchFamily="34" charset="0"/>
                        </a:rPr>
                        <a:t>NA</a:t>
                      </a:r>
                      <a:endParaRPr lang="en-US" sz="10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rgbClr val="000000"/>
                          </a:solidFill>
                          <a:effectLst/>
                          <a:latin typeface="Calibri" panose="020F0502020204030204" pitchFamily="34" charset="0"/>
                        </a:rPr>
                        <a:t>Yes</a:t>
                      </a:r>
                      <a:endParaRPr lang="en-US" sz="10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91229136"/>
                  </a:ext>
                </a:extLst>
              </a:tr>
              <a:tr h="148590">
                <a:tc vMerge="1">
                  <a:txBody>
                    <a:bodyPr/>
                    <a:lstStyle/>
                    <a:p>
                      <a:endParaRPr lang="en-US"/>
                    </a:p>
                  </a:txBody>
                  <a:tcPr/>
                </a:tc>
                <a:tc vMerge="1">
                  <a:txBody>
                    <a:bodyPr/>
                    <a:lstStyle/>
                    <a:p>
                      <a:endParaRPr lang="en-US"/>
                    </a:p>
                  </a:txBody>
                  <a:tcPr/>
                </a:tc>
                <a:tc>
                  <a:txBody>
                    <a:bodyPr/>
                    <a:lstStyle/>
                    <a:p>
                      <a:pPr algn="l" fontAlgn="ctr"/>
                      <a:r>
                        <a:rPr lang="fr-FR" sz="1000" b="0" i="0" u="none" strike="noStrike" dirty="0" smtClean="0">
                          <a:solidFill>
                            <a:srgbClr val="000000"/>
                          </a:solidFill>
                          <a:effectLst/>
                          <a:latin typeface="Calibri" panose="020F0502020204030204" pitchFamily="34" charset="0"/>
                        </a:rPr>
                        <a:t>Cloud </a:t>
                      </a:r>
                      <a:r>
                        <a:rPr lang="fr-FR" sz="1000" b="0" i="0" u="none" strike="noStrike" dirty="0" err="1" smtClean="0">
                          <a:solidFill>
                            <a:srgbClr val="000000"/>
                          </a:solidFill>
                          <a:effectLst/>
                          <a:latin typeface="Calibri" panose="020F0502020204030204" pitchFamily="34" charset="0"/>
                        </a:rPr>
                        <a:t>Hosting</a:t>
                      </a:r>
                      <a:endParaRPr lang="fr-FR" sz="10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smtClean="0">
                          <a:solidFill>
                            <a:srgbClr val="000000"/>
                          </a:solidFill>
                          <a:effectLst/>
                          <a:latin typeface="Calibri" panose="020F0502020204030204" pitchFamily="34" charset="0"/>
                        </a:rPr>
                        <a:t>Azure</a:t>
                      </a:r>
                      <a:endParaRPr lang="en-US" sz="10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rgbClr val="000000"/>
                          </a:solidFill>
                          <a:effectLst/>
                          <a:latin typeface="Calibri" panose="020F0502020204030204" pitchFamily="34" charset="0"/>
                        </a:rPr>
                        <a:t>BHF</a:t>
                      </a:r>
                      <a:endParaRPr lang="en-US" sz="10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rgbClr val="000000"/>
                          </a:solidFill>
                          <a:effectLst/>
                          <a:latin typeface="Calibri" panose="020F0502020204030204" pitchFamily="34" charset="0"/>
                        </a:rPr>
                        <a:t>Yes</a:t>
                      </a:r>
                      <a:endParaRPr lang="en-US" sz="10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rgbClr val="000000"/>
                          </a:solidFill>
                          <a:effectLst/>
                          <a:latin typeface="Calibri" panose="020F0502020204030204" pitchFamily="34" charset="0"/>
                        </a:rPr>
                        <a:t>NA</a:t>
                      </a:r>
                      <a:endParaRPr lang="en-US" sz="10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92716285"/>
                  </a:ext>
                </a:extLst>
              </a:tr>
              <a:tr h="201707">
                <a:tc vMerge="1">
                  <a:txBody>
                    <a:bodyPr/>
                    <a:lstStyle/>
                    <a:p>
                      <a:endParaRPr lang="en-US"/>
                    </a:p>
                  </a:txBody>
                  <a:tcPr/>
                </a:tc>
                <a:tc vMerge="1">
                  <a:txBody>
                    <a:bodyPr/>
                    <a:lstStyle/>
                    <a:p>
                      <a:endParaRPr lang="en-US"/>
                    </a:p>
                  </a:txBody>
                  <a:tcPr/>
                </a:tc>
                <a:tc>
                  <a:txBody>
                    <a:bodyPr/>
                    <a:lstStyle/>
                    <a:p>
                      <a:pPr algn="l" fontAlgn="ctr"/>
                      <a:r>
                        <a:rPr lang="en-US" sz="1000" b="0" i="0" u="none" strike="noStrike" dirty="0" smtClean="0">
                          <a:solidFill>
                            <a:srgbClr val="000000"/>
                          </a:solidFill>
                          <a:effectLst/>
                          <a:latin typeface="Calibri" panose="020F0502020204030204" pitchFamily="34" charset="0"/>
                        </a:rPr>
                        <a:t>Cloud Hosting</a:t>
                      </a:r>
                      <a:endParaRPr lang="en-US" sz="10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smtClean="0">
                          <a:solidFill>
                            <a:srgbClr val="000000"/>
                          </a:solidFill>
                          <a:effectLst/>
                          <a:latin typeface="Calibri" panose="020F0502020204030204" pitchFamily="34" charset="0"/>
                        </a:rPr>
                        <a:t>AWS</a:t>
                      </a:r>
                      <a:endParaRPr lang="en-US" sz="10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Cognizant</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Yes</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NA</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0794808"/>
                  </a:ext>
                </a:extLst>
              </a:tr>
              <a:tr h="201707">
                <a:tc vMerge="1">
                  <a:txBody>
                    <a:bodyPr/>
                    <a:lstStyle/>
                    <a:p>
                      <a:endParaRPr lang="en-US"/>
                    </a:p>
                  </a:txBody>
                  <a:tcPr/>
                </a:tc>
                <a:tc vMerge="1">
                  <a:txBody>
                    <a:bodyPr/>
                    <a:lstStyle/>
                    <a:p>
                      <a:endParaRPr lang="en-US"/>
                    </a:p>
                  </a:txBody>
                  <a:tcPr/>
                </a:tc>
                <a:tc>
                  <a:txBody>
                    <a:bodyPr/>
                    <a:lstStyle/>
                    <a:p>
                      <a:pPr algn="l" fontAlgn="ctr"/>
                      <a:r>
                        <a:rPr lang="en-US" sz="1000" b="0" i="0" u="none" strike="noStrike" dirty="0" smtClean="0">
                          <a:solidFill>
                            <a:srgbClr val="000000"/>
                          </a:solidFill>
                          <a:effectLst/>
                          <a:latin typeface="Calibri" panose="020F0502020204030204" pitchFamily="34" charset="0"/>
                        </a:rPr>
                        <a:t>Cloud cost management</a:t>
                      </a:r>
                      <a:endParaRPr lang="en-US" sz="10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smtClean="0">
                          <a:solidFill>
                            <a:srgbClr val="000000"/>
                          </a:solidFill>
                          <a:effectLst/>
                          <a:latin typeface="Calibri" panose="020F0502020204030204" pitchFamily="34" charset="0"/>
                        </a:rPr>
                        <a:t>Azure Cost Management</a:t>
                      </a:r>
                      <a:endParaRPr lang="en-US" sz="10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BHF</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Yes</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Yes</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14533522"/>
                  </a:ext>
                </a:extLst>
              </a:tr>
              <a:tr h="201707">
                <a:tc vMerge="1">
                  <a:txBody>
                    <a:bodyPr/>
                    <a:lstStyle/>
                    <a:p>
                      <a:pPr algn="ctr" fontAlgn="ctr"/>
                      <a:endParaRPr lang="en-US" sz="13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ctr"/>
                      <a:endParaRPr lang="en-US" sz="13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smtClean="0">
                          <a:solidFill>
                            <a:srgbClr val="000000"/>
                          </a:solidFill>
                          <a:effectLst/>
                          <a:latin typeface="Calibri" panose="020F0502020204030204" pitchFamily="34" charset="0"/>
                        </a:rPr>
                        <a:t>Patch Management</a:t>
                      </a:r>
                      <a:endParaRPr lang="en-US" sz="10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smtClean="0">
                          <a:solidFill>
                            <a:srgbClr val="000000"/>
                          </a:solidFill>
                          <a:effectLst/>
                          <a:latin typeface="Calibri" panose="020F0502020204030204" pitchFamily="34" charset="0"/>
                        </a:rPr>
                        <a:t>SCCM</a:t>
                      </a:r>
                      <a:endParaRPr lang="en-US" sz="10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BHF</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Yes</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Yes</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2754553"/>
                  </a:ext>
                </a:extLst>
              </a:tr>
              <a:tr h="188796">
                <a:tc rowSpan="12">
                  <a:txBody>
                    <a:bodyPr/>
                    <a:lstStyle/>
                    <a:p>
                      <a:pPr algn="ctr" fontAlgn="ctr"/>
                      <a:r>
                        <a:rPr lang="en-US" sz="1000" b="0" i="0" u="none" strike="noStrike" dirty="0">
                          <a:solidFill>
                            <a:srgbClr val="000000"/>
                          </a:solidFill>
                          <a:effectLst/>
                          <a:latin typeface="Calibri" panose="020F0502020204030204" pitchFamily="34" charset="0"/>
                        </a:rPr>
                        <a:t>Secur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12">
                  <a:txBody>
                    <a:bodyPr/>
                    <a:lstStyle/>
                    <a:p>
                      <a:pPr algn="ctr" fontAlgn="ctr"/>
                      <a:r>
                        <a:rPr lang="en-US" sz="1000" b="0" i="0" u="none" strike="noStrike" dirty="0" err="1">
                          <a:solidFill>
                            <a:srgbClr val="000000"/>
                          </a:solidFill>
                          <a:effectLst/>
                          <a:latin typeface="Calibri" panose="020F0502020204030204" pitchFamily="34" charset="0"/>
                        </a:rPr>
                        <a:t>SecOps</a:t>
                      </a:r>
                      <a:r>
                        <a:rPr lang="en-US" sz="1000" b="0" i="0" u="none" strike="noStrike" dirty="0">
                          <a:solidFill>
                            <a:srgbClr val="000000"/>
                          </a:solidFill>
                          <a:effectLst/>
                          <a:latin typeface="Calibri" panose="020F0502020204030204" pitchFamily="34" charset="0"/>
                        </a:rPr>
                        <a:t> and monitoring</a:t>
                      </a:r>
                      <a:br>
                        <a:rPr lang="en-US" sz="1000" b="0" i="0" u="none" strike="noStrike" dirty="0">
                          <a:solidFill>
                            <a:srgbClr val="000000"/>
                          </a:solidFill>
                          <a:effectLst/>
                          <a:latin typeface="Calibri" panose="020F0502020204030204" pitchFamily="34" charset="0"/>
                        </a:rPr>
                      </a:br>
                      <a:r>
                        <a:rPr lang="en-US" sz="1000" b="0" i="0" u="none" strike="noStrike" dirty="0">
                          <a:solidFill>
                            <a:srgbClr val="000000"/>
                          </a:solidFill>
                          <a:effectLst/>
                          <a:latin typeface="Calibri" panose="020F0502020204030204" pitchFamily="34" charset="0"/>
                        </a:rPr>
                        <a:t>Vulnerability </a:t>
                      </a:r>
                      <a:r>
                        <a:rPr lang="en-US" sz="1000" b="0" i="0" u="none" strike="noStrike" dirty="0" smtClean="0">
                          <a:solidFill>
                            <a:srgbClr val="000000"/>
                          </a:solidFill>
                          <a:effectLst/>
                          <a:latin typeface="Calibri" panose="020F0502020204030204" pitchFamily="34" charset="0"/>
                        </a:rPr>
                        <a:t>Mgmt.</a:t>
                      </a:r>
                      <a:r>
                        <a:rPr lang="en-US" sz="1000" b="0" i="0" u="none" strike="noStrike" dirty="0">
                          <a:solidFill>
                            <a:srgbClr val="000000"/>
                          </a:solidFill>
                          <a:effectLst/>
                          <a:latin typeface="Calibri" panose="020F0502020204030204" pitchFamily="34" charset="0"/>
                        </a:rPr>
                        <a:t/>
                      </a:r>
                      <a:br>
                        <a:rPr lang="en-US" sz="1000" b="0" i="0" u="none" strike="noStrike" dirty="0">
                          <a:solidFill>
                            <a:srgbClr val="000000"/>
                          </a:solidFill>
                          <a:effectLst/>
                          <a:latin typeface="Calibri" panose="020F0502020204030204" pitchFamily="34" charset="0"/>
                        </a:rPr>
                      </a:br>
                      <a:r>
                        <a:rPr lang="en-US" sz="1000" b="0" i="0" u="none" strike="noStrike" dirty="0">
                          <a:solidFill>
                            <a:srgbClr val="000000"/>
                          </a:solidFill>
                          <a:effectLst/>
                          <a:latin typeface="Calibri" panose="020F0502020204030204" pitchFamily="34" charset="0"/>
                        </a:rPr>
                        <a:t>Penetration Testing</a:t>
                      </a:r>
                      <a:br>
                        <a:rPr lang="en-US" sz="1000" b="0" i="0" u="none" strike="noStrike" dirty="0">
                          <a:solidFill>
                            <a:srgbClr val="000000"/>
                          </a:solidFill>
                          <a:effectLst/>
                          <a:latin typeface="Calibri" panose="020F0502020204030204" pitchFamily="34" charset="0"/>
                        </a:rPr>
                      </a:br>
                      <a:r>
                        <a:rPr lang="en-US" sz="1000" b="0" i="0" u="none" strike="noStrike" dirty="0">
                          <a:solidFill>
                            <a:srgbClr val="000000"/>
                          </a:solidFill>
                          <a:effectLst/>
                          <a:latin typeface="Calibri" panose="020F0502020204030204" pitchFamily="34" charset="0"/>
                        </a:rPr>
                        <a:t>Compliance</a:t>
                      </a:r>
                      <a:br>
                        <a:rPr lang="en-US" sz="1000" b="0" i="0" u="none" strike="noStrike" dirty="0">
                          <a:solidFill>
                            <a:srgbClr val="000000"/>
                          </a:solidFill>
                          <a:effectLst/>
                          <a:latin typeface="Calibri" panose="020F0502020204030204" pitchFamily="34" charset="0"/>
                        </a:rPr>
                      </a:br>
                      <a:r>
                        <a:rPr lang="en-US" sz="1000" b="0" i="0" u="none" strike="noStrike" dirty="0">
                          <a:solidFill>
                            <a:srgbClr val="000000"/>
                          </a:solidFill>
                          <a:effectLst/>
                          <a:latin typeface="Calibri" panose="020F0502020204030204" pitchFamily="34" charset="0"/>
                        </a:rPr>
                        <a:t>Data Security</a:t>
                      </a:r>
                      <a:br>
                        <a:rPr lang="en-US" sz="1000" b="0" i="0" u="none" strike="noStrike" dirty="0">
                          <a:solidFill>
                            <a:srgbClr val="000000"/>
                          </a:solidFill>
                          <a:effectLst/>
                          <a:latin typeface="Calibri" panose="020F0502020204030204" pitchFamily="34" charset="0"/>
                        </a:rPr>
                      </a:br>
                      <a:r>
                        <a:rPr lang="en-US" sz="1000" b="0" i="0" u="none" strike="noStrike" dirty="0">
                          <a:solidFill>
                            <a:srgbClr val="000000"/>
                          </a:solidFill>
                          <a:effectLst/>
                          <a:latin typeface="Calibri" panose="020F0502020204030204" pitchFamily="34" charset="0"/>
                        </a:rPr>
                        <a:t>IA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smtClean="0">
                          <a:solidFill>
                            <a:schemeClr val="tx2"/>
                          </a:solidFill>
                          <a:effectLst/>
                          <a:latin typeface="Calibri" panose="020F0502020204030204" pitchFamily="34" charset="0"/>
                        </a:rPr>
                        <a:t>Security Monitoring</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smtClean="0">
                          <a:solidFill>
                            <a:schemeClr val="tx2"/>
                          </a:solidFill>
                          <a:effectLst/>
                          <a:latin typeface="Calibri" panose="020F0502020204030204" pitchFamily="34" charset="0"/>
                        </a:rPr>
                        <a:t>Cyber</a:t>
                      </a:r>
                      <a:r>
                        <a:rPr lang="en-US" sz="1000" b="0" i="0" u="none" strike="noStrike" baseline="0" dirty="0" smtClean="0">
                          <a:solidFill>
                            <a:schemeClr val="tx2"/>
                          </a:solidFill>
                          <a:effectLst/>
                          <a:latin typeface="Calibri" panose="020F0502020204030204" pitchFamily="34" charset="0"/>
                        </a:rPr>
                        <a:t> Threat Defense (CTD)</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Cognizant</a:t>
                      </a:r>
                      <a:r>
                        <a:rPr lang="en-US" sz="1000" b="0" i="0" u="none" strike="noStrike" dirty="0">
                          <a:solidFill>
                            <a:schemeClr val="tx2"/>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200610"/>
                  </a:ext>
                </a:extLst>
              </a:tr>
              <a:tr h="297180">
                <a:tc vMerge="1">
                  <a:txBody>
                    <a:bodyPr/>
                    <a:lstStyle/>
                    <a:p>
                      <a:endParaRPr lang="en-US"/>
                    </a:p>
                  </a:txBody>
                  <a:tcPr/>
                </a:tc>
                <a:tc vMerge="1">
                  <a:txBody>
                    <a:bodyPr/>
                    <a:lstStyle/>
                    <a:p>
                      <a:endParaRPr lang="en-US"/>
                    </a:p>
                  </a:txBody>
                  <a:tcPr/>
                </a:tc>
                <a:tc>
                  <a:txBody>
                    <a:bodyPr/>
                    <a:lstStyle/>
                    <a:p>
                      <a:pPr algn="l" fontAlgn="ctr"/>
                      <a:r>
                        <a:rPr lang="en-US" sz="1000" b="0" i="0" u="none" strike="noStrike" dirty="0" smtClean="0">
                          <a:solidFill>
                            <a:schemeClr val="tx2"/>
                          </a:solidFill>
                          <a:effectLst/>
                          <a:latin typeface="Calibri" panose="020F0502020204030204" pitchFamily="34" charset="0"/>
                        </a:rPr>
                        <a:t>Vulnerability Management </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smtClean="0">
                          <a:solidFill>
                            <a:schemeClr val="tx2"/>
                          </a:solidFill>
                          <a:effectLst/>
                          <a:latin typeface="Calibri" panose="020F0502020204030204" pitchFamily="34" charset="0"/>
                        </a:rPr>
                        <a:t>Vulnerability Mgmt. as a service powered by </a:t>
                      </a:r>
                      <a:r>
                        <a:rPr lang="en-US" sz="1000" b="0" i="0" u="none" strike="noStrike" dirty="0" err="1" smtClean="0">
                          <a:solidFill>
                            <a:schemeClr val="tx2"/>
                          </a:solidFill>
                          <a:effectLst/>
                          <a:latin typeface="Calibri" panose="020F0502020204030204" pitchFamily="34" charset="0"/>
                        </a:rPr>
                        <a:t>Qualys</a:t>
                      </a:r>
                      <a:r>
                        <a:rPr lang="en-US" sz="1000" b="0" i="0" u="none" strike="noStrike" dirty="0" smtClean="0">
                          <a:solidFill>
                            <a:schemeClr val="tx2"/>
                          </a:solidFill>
                          <a:effectLst/>
                          <a:latin typeface="Calibri" panose="020F0502020204030204" pitchFamily="34" charset="0"/>
                        </a:rPr>
                        <a:t>, </a:t>
                      </a:r>
                      <a:r>
                        <a:rPr lang="en-US" sz="1000" b="0" i="0" u="none" strike="noStrike" dirty="0" err="1" smtClean="0">
                          <a:solidFill>
                            <a:schemeClr val="tx2"/>
                          </a:solidFill>
                          <a:effectLst/>
                          <a:latin typeface="Calibri" panose="020F0502020204030204" pitchFamily="34" charset="0"/>
                        </a:rPr>
                        <a:t>Checkmarx</a:t>
                      </a:r>
                      <a:r>
                        <a:rPr lang="en-US" sz="1000" b="0" i="0" u="none" strike="noStrike" dirty="0" smtClean="0">
                          <a:solidFill>
                            <a:schemeClr val="tx2"/>
                          </a:solidFill>
                          <a:effectLst/>
                          <a:latin typeface="Calibri" panose="020F0502020204030204" pitchFamily="34" charset="0"/>
                        </a:rPr>
                        <a:t>, App Scan</a:t>
                      </a:r>
                      <a:endParaRPr lang="it-IT"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Cognizant</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8414357"/>
                  </a:ext>
                </a:extLst>
              </a:tr>
              <a:tr h="188796">
                <a:tc vMerge="1">
                  <a:txBody>
                    <a:bodyPr/>
                    <a:lstStyle/>
                    <a:p>
                      <a:endParaRPr lang="en-US"/>
                    </a:p>
                  </a:txBody>
                  <a:tcPr/>
                </a:tc>
                <a:tc vMerge="1">
                  <a:txBody>
                    <a:bodyPr/>
                    <a:lstStyle/>
                    <a:p>
                      <a:endParaRPr lang="en-US"/>
                    </a:p>
                  </a:txBody>
                  <a:tcPr/>
                </a:tc>
                <a:tc>
                  <a:txBody>
                    <a:bodyPr/>
                    <a:lstStyle/>
                    <a:p>
                      <a:pPr algn="l" fontAlgn="ctr"/>
                      <a:r>
                        <a:rPr lang="en-US" sz="1000" b="0" i="0" u="none" strike="noStrike" dirty="0" smtClean="0">
                          <a:solidFill>
                            <a:schemeClr val="tx2"/>
                          </a:solidFill>
                          <a:effectLst/>
                          <a:latin typeface="Calibri" panose="020F0502020204030204" pitchFamily="34" charset="0"/>
                        </a:rPr>
                        <a:t>DLP, Data Classification &amp; Protection </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000" b="0" i="0" u="none" strike="noStrike" dirty="0" smtClean="0">
                          <a:solidFill>
                            <a:schemeClr val="tx2"/>
                          </a:solidFill>
                          <a:effectLst/>
                          <a:latin typeface="Calibri" panose="020F0502020204030204" pitchFamily="34" charset="0"/>
                        </a:rPr>
                        <a:t>O365 DLP, Azure Information Protection</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BHF</a:t>
                      </a:r>
                      <a:r>
                        <a:rPr lang="en-US" sz="1000" b="0" i="0" u="none" strike="noStrike" dirty="0">
                          <a:solidFill>
                            <a:schemeClr val="tx2"/>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28769048"/>
                  </a:ext>
                </a:extLst>
              </a:tr>
              <a:tr h="216928">
                <a:tc vMerge="1">
                  <a:txBody>
                    <a:bodyPr/>
                    <a:lstStyle/>
                    <a:p>
                      <a:endParaRPr lang="en-US"/>
                    </a:p>
                  </a:txBody>
                  <a:tcPr/>
                </a:tc>
                <a:tc vMerge="1">
                  <a:txBody>
                    <a:bodyPr/>
                    <a:lstStyle/>
                    <a:p>
                      <a:endParaRPr lang="en-US"/>
                    </a:p>
                  </a:txBody>
                  <a:tcPr/>
                </a:tc>
                <a:tc>
                  <a:txBody>
                    <a:bodyPr/>
                    <a:lstStyle/>
                    <a:p>
                      <a:pPr algn="l" fontAlgn="ctr"/>
                      <a:r>
                        <a:rPr lang="en-US" sz="1000" b="0" i="0" u="none" strike="noStrike" dirty="0" smtClean="0">
                          <a:solidFill>
                            <a:schemeClr val="tx2"/>
                          </a:solidFill>
                          <a:effectLst/>
                          <a:latin typeface="Calibri" panose="020F0502020204030204" pitchFamily="34" charset="0"/>
                        </a:rPr>
                        <a:t>Secure Internet Access </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err="1" smtClean="0">
                          <a:solidFill>
                            <a:schemeClr val="tx2"/>
                          </a:solidFill>
                          <a:effectLst/>
                          <a:latin typeface="Calibri" panose="020F0502020204030204" pitchFamily="34" charset="0"/>
                        </a:rPr>
                        <a:t>Zscaler</a:t>
                      </a:r>
                      <a:r>
                        <a:rPr lang="en-US" sz="1000" b="0" i="0" u="none" strike="noStrike" dirty="0" smtClean="0">
                          <a:solidFill>
                            <a:schemeClr val="tx2"/>
                          </a:solidFill>
                          <a:effectLst/>
                          <a:latin typeface="Calibri" panose="020F0502020204030204" pitchFamily="34" charset="0"/>
                        </a:rPr>
                        <a:t> Internet Acces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Cognizant</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43541797"/>
                  </a:ext>
                </a:extLst>
              </a:tr>
              <a:tr h="188796">
                <a:tc vMerge="1">
                  <a:txBody>
                    <a:bodyPr/>
                    <a:lstStyle/>
                    <a:p>
                      <a:endParaRPr lang="en-US"/>
                    </a:p>
                  </a:txBody>
                  <a:tcPr/>
                </a:tc>
                <a:tc vMerge="1">
                  <a:txBody>
                    <a:bodyPr/>
                    <a:lstStyle/>
                    <a:p>
                      <a:endParaRPr lang="en-US"/>
                    </a:p>
                  </a:txBody>
                  <a:tcPr/>
                </a:tc>
                <a:tc>
                  <a:txBody>
                    <a:bodyPr/>
                    <a:lstStyle/>
                    <a:p>
                      <a:pPr algn="l" fontAlgn="ctr"/>
                      <a:r>
                        <a:rPr lang="en-US" sz="1000" b="0" i="0" u="none" strike="noStrike" dirty="0" smtClean="0">
                          <a:solidFill>
                            <a:schemeClr val="tx2"/>
                          </a:solidFill>
                          <a:effectLst/>
                          <a:latin typeface="Calibri" panose="020F0502020204030204" pitchFamily="34" charset="0"/>
                        </a:rPr>
                        <a:t>Antiviru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smtClean="0">
                          <a:solidFill>
                            <a:schemeClr val="tx2"/>
                          </a:solidFill>
                          <a:effectLst/>
                          <a:latin typeface="Calibri" panose="020F0502020204030204" pitchFamily="34" charset="0"/>
                        </a:rPr>
                        <a:t>Defender ATP</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BHF</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48849518"/>
                  </a:ext>
                </a:extLst>
              </a:tr>
              <a:tr h="188796">
                <a:tc vMerge="1">
                  <a:txBody>
                    <a:bodyPr/>
                    <a:lstStyle/>
                    <a:p>
                      <a:pPr algn="ctr" fontAlgn="ctr"/>
                      <a:endParaRPr lang="en-US" sz="13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ctr"/>
                      <a:endParaRPr lang="en-US" sz="13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US" sz="1000" b="0" i="0" u="none" strike="noStrike" kern="1200" dirty="0" smtClean="0">
                          <a:solidFill>
                            <a:schemeClr val="tx2"/>
                          </a:solidFill>
                          <a:effectLst/>
                          <a:latin typeface="Calibri" panose="020F0502020204030204" pitchFamily="34" charset="0"/>
                          <a:ea typeface="+mn-ea"/>
                          <a:cs typeface="+mn-cs"/>
                        </a:rPr>
                        <a:t>Malware Defense </a:t>
                      </a:r>
                      <a:endParaRPr lang="en-US" sz="1000" b="0" i="0" u="none" strike="noStrike" kern="1200" dirty="0">
                        <a:solidFill>
                          <a:schemeClr val="tx2"/>
                        </a:solidFill>
                        <a:effectLst/>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0" i="0" u="none" strike="noStrike" kern="1200" dirty="0" smtClean="0">
                          <a:solidFill>
                            <a:schemeClr val="tx2"/>
                          </a:solidFill>
                          <a:effectLst/>
                          <a:latin typeface="Calibri" panose="020F0502020204030204" pitchFamily="34" charset="0"/>
                          <a:ea typeface="+mn-ea"/>
                          <a:cs typeface="+mn-cs"/>
                        </a:rPr>
                        <a:t>Carbon Black ED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chemeClr val="tx2"/>
                          </a:solidFill>
                          <a:effectLst/>
                          <a:latin typeface="Calibri" panose="020F0502020204030204" pitchFamily="34" charset="0"/>
                        </a:rPr>
                        <a:t> </a:t>
                      </a:r>
                      <a:r>
                        <a:rPr lang="en-US" sz="1000" b="0" i="0" u="none" strike="noStrike" dirty="0" smtClean="0">
                          <a:solidFill>
                            <a:schemeClr val="tx2"/>
                          </a:solidFill>
                          <a:effectLst/>
                          <a:latin typeface="Calibri" panose="020F0502020204030204" pitchFamily="34" charset="0"/>
                        </a:rPr>
                        <a:t>Cognizant</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69984687"/>
                  </a:ext>
                </a:extLst>
              </a:tr>
              <a:tr h="216928">
                <a:tc vMerge="1">
                  <a:txBody>
                    <a:bodyPr/>
                    <a:lstStyle/>
                    <a:p>
                      <a:pPr algn="ctr" fontAlgn="ctr"/>
                      <a:endParaRPr lang="en-US" sz="13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ctr"/>
                      <a:endParaRPr lang="en-US" sz="13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smtClean="0">
                          <a:solidFill>
                            <a:schemeClr val="tx2"/>
                          </a:solidFill>
                          <a:effectLst/>
                          <a:latin typeface="Calibri" panose="020F0502020204030204" pitchFamily="34" charset="0"/>
                        </a:rPr>
                        <a:t>Firewall (Still in discussion)</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err="1" smtClean="0">
                          <a:solidFill>
                            <a:schemeClr val="tx2"/>
                          </a:solidFill>
                          <a:effectLst/>
                          <a:latin typeface="Calibri" panose="020F0502020204030204" pitchFamily="34" charset="0"/>
                        </a:rPr>
                        <a:t>Paloalto</a:t>
                      </a:r>
                      <a:endParaRPr lang="it-IT"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Cognizant</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87178372"/>
                  </a:ext>
                </a:extLst>
              </a:tr>
              <a:tr h="188796">
                <a:tc vMerge="1">
                  <a:txBody>
                    <a:bodyPr/>
                    <a:lstStyle/>
                    <a:p>
                      <a:pPr algn="ctr" fontAlgn="ctr"/>
                      <a:endParaRPr lang="en-US" sz="13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ctr"/>
                      <a:endParaRPr lang="en-US" sz="13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smtClean="0">
                          <a:solidFill>
                            <a:schemeClr val="tx2"/>
                          </a:solidFill>
                          <a:effectLst/>
                          <a:latin typeface="Calibri" panose="020F0502020204030204" pitchFamily="34" charset="0"/>
                        </a:rPr>
                        <a:t>Guest</a:t>
                      </a:r>
                      <a:r>
                        <a:rPr lang="en-US" sz="1000" b="0" i="0" u="none" strike="noStrike" baseline="0" dirty="0" smtClean="0">
                          <a:solidFill>
                            <a:schemeClr val="tx2"/>
                          </a:solidFill>
                          <a:effectLst/>
                          <a:latin typeface="Calibri" panose="020F0502020204030204" pitchFamily="34" charset="0"/>
                        </a:rPr>
                        <a:t> Internet</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chemeClr val="tx2"/>
                          </a:solidFill>
                          <a:effectLst/>
                          <a:latin typeface="Calibri" panose="020F0502020204030204" pitchFamily="34" charset="0"/>
                        </a:rPr>
                        <a:t>Cisco ISE Guest Acce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BHF</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7285406"/>
                  </a:ext>
                </a:extLst>
              </a:tr>
              <a:tr h="188796">
                <a:tc vMerge="1">
                  <a:txBody>
                    <a:bodyPr/>
                    <a:lstStyle/>
                    <a:p>
                      <a:endParaRPr lang="en-US"/>
                    </a:p>
                  </a:txBody>
                  <a:tcPr/>
                </a:tc>
                <a:tc vMerge="1">
                  <a:txBody>
                    <a:bodyPr/>
                    <a:lstStyle/>
                    <a:p>
                      <a:endParaRPr lang="en-US"/>
                    </a:p>
                  </a:txBody>
                  <a:tcPr/>
                </a:tc>
                <a:tc>
                  <a:txBody>
                    <a:bodyPr/>
                    <a:lstStyle/>
                    <a:p>
                      <a:pPr algn="l" fontAlgn="ctr"/>
                      <a:r>
                        <a:rPr lang="en-US" sz="1000" b="0" i="0" u="none" strike="noStrike" dirty="0" smtClean="0">
                          <a:solidFill>
                            <a:schemeClr val="tx2"/>
                          </a:solidFill>
                          <a:effectLst/>
                          <a:latin typeface="Calibri" panose="020F0502020204030204" pitchFamily="34" charset="0"/>
                        </a:rPr>
                        <a:t>CASB</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smtClean="0">
                          <a:solidFill>
                            <a:schemeClr val="tx2"/>
                          </a:solidFill>
                          <a:effectLst/>
                          <a:latin typeface="Calibri" panose="020F0502020204030204" pitchFamily="34" charset="0"/>
                        </a:rPr>
                        <a:t>MCA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BHF</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2091267"/>
                  </a:ext>
                </a:extLst>
              </a:tr>
              <a:tr h="188796">
                <a:tc vMerge="1">
                  <a:txBody>
                    <a:bodyPr/>
                    <a:lstStyle/>
                    <a:p>
                      <a:endParaRPr lang="en-US"/>
                    </a:p>
                  </a:txBody>
                  <a:tcPr/>
                </a:tc>
                <a:tc vMerge="1">
                  <a:txBody>
                    <a:bodyPr/>
                    <a:lstStyle/>
                    <a:p>
                      <a:endParaRPr lang="en-US"/>
                    </a:p>
                  </a:txBody>
                  <a:tcPr/>
                </a:tc>
                <a:tc>
                  <a:txBody>
                    <a:bodyPr/>
                    <a:lstStyle/>
                    <a:p>
                      <a:pPr algn="l" fontAlgn="ctr"/>
                      <a:r>
                        <a:rPr lang="en-US" sz="1000" b="0" i="0" u="none" strike="noStrike" smtClean="0">
                          <a:solidFill>
                            <a:schemeClr val="tx2"/>
                          </a:solidFill>
                          <a:effectLst/>
                          <a:latin typeface="Calibri" panose="020F0502020204030204" pitchFamily="34" charset="0"/>
                        </a:rPr>
                        <a:t>Cloud Security Visibility</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err="1" smtClean="0">
                          <a:solidFill>
                            <a:schemeClr val="tx2"/>
                          </a:solidFill>
                          <a:effectLst/>
                          <a:latin typeface="Calibri" panose="020F0502020204030204" pitchFamily="34" charset="0"/>
                        </a:rPr>
                        <a:t>RedLock</a:t>
                      </a:r>
                      <a:endParaRPr lang="en-US" sz="1000" b="0" i="0" u="none" strike="noStrike" dirty="0" smtClean="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Cognizant</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39092591"/>
                  </a:ext>
                </a:extLst>
              </a:tr>
              <a:tr h="188796">
                <a:tc vMerge="1">
                  <a:txBody>
                    <a:bodyPr/>
                    <a:lstStyle/>
                    <a:p>
                      <a:endParaRPr lang="en-US"/>
                    </a:p>
                  </a:txBody>
                  <a:tcPr/>
                </a:tc>
                <a:tc vMerge="1">
                  <a:txBody>
                    <a:bodyPr/>
                    <a:lstStyle/>
                    <a:p>
                      <a:endParaRPr lang="en-US"/>
                    </a:p>
                  </a:txBody>
                  <a:tcPr/>
                </a:tc>
                <a:tc>
                  <a:txBody>
                    <a:bodyPr/>
                    <a:lstStyle/>
                    <a:p>
                      <a:pPr algn="l" fontAlgn="ctr"/>
                      <a:r>
                        <a:rPr lang="en-US" sz="1000" b="0" i="0" u="none" strike="noStrike" dirty="0" smtClean="0">
                          <a:solidFill>
                            <a:schemeClr val="tx2"/>
                          </a:solidFill>
                          <a:effectLst/>
                          <a:latin typeface="Calibri" panose="020F0502020204030204" pitchFamily="34" charset="0"/>
                        </a:rPr>
                        <a:t>Private</a:t>
                      </a:r>
                      <a:r>
                        <a:rPr lang="en-US" sz="1000" b="0" i="0" u="none" strike="noStrike" baseline="0" dirty="0" smtClean="0">
                          <a:solidFill>
                            <a:schemeClr val="tx2"/>
                          </a:solidFill>
                          <a:effectLst/>
                          <a:latin typeface="Calibri" panose="020F0502020204030204" pitchFamily="34" charset="0"/>
                        </a:rPr>
                        <a:t> Acces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err="1" smtClean="0">
                          <a:solidFill>
                            <a:schemeClr val="tx2"/>
                          </a:solidFill>
                          <a:effectLst/>
                          <a:latin typeface="Calibri" panose="020F0502020204030204" pitchFamily="34" charset="0"/>
                        </a:rPr>
                        <a:t>Zscaler</a:t>
                      </a:r>
                      <a:r>
                        <a:rPr lang="en-US" sz="1000" b="0" i="0" u="none" strike="noStrike" dirty="0" smtClean="0">
                          <a:solidFill>
                            <a:schemeClr val="tx2"/>
                          </a:solidFill>
                          <a:effectLst/>
                          <a:latin typeface="Calibri" panose="020F0502020204030204" pitchFamily="34" charset="0"/>
                        </a:rPr>
                        <a:t> private acce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Cognizant</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31869515"/>
                  </a:ext>
                </a:extLst>
              </a:tr>
              <a:tr h="188796">
                <a:tc vMerge="1">
                  <a:txBody>
                    <a:bodyPr/>
                    <a:lstStyle/>
                    <a:p>
                      <a:pPr algn="ctr" fontAlgn="ctr"/>
                      <a:endParaRPr lang="en-US" sz="13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ctr"/>
                      <a:endParaRPr lang="en-US" sz="13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smtClean="0">
                          <a:solidFill>
                            <a:schemeClr val="tx2"/>
                          </a:solidFill>
                          <a:effectLst/>
                          <a:latin typeface="Calibri" panose="020F0502020204030204" pitchFamily="34" charset="0"/>
                        </a:rPr>
                        <a:t>Certificate Mgmt. System </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err="1" smtClean="0">
                          <a:solidFill>
                            <a:schemeClr val="tx2"/>
                          </a:solidFill>
                          <a:effectLst/>
                          <a:latin typeface="Calibri" panose="020F0502020204030204" pitchFamily="34" charset="0"/>
                        </a:rPr>
                        <a:t>Venafi</a:t>
                      </a:r>
                      <a:endParaRPr lang="en-US" sz="1000" b="0" i="0" u="none" strike="noStrike" dirty="0" smtClean="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BHF</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chemeClr val="tx2"/>
                          </a:solidFill>
                          <a:effectLst/>
                          <a:latin typeface="Calibri" panose="020F0502020204030204" pitchFamily="34" charset="0"/>
                        </a:rPr>
                        <a:t>Yes</a:t>
                      </a:r>
                      <a:endParaRPr lang="en-US" sz="10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4322803"/>
                  </a:ext>
                </a:extLst>
              </a:tr>
            </a:tbl>
          </a:graphicData>
        </a:graphic>
      </p:graphicFrame>
      <p:sp>
        <p:nvSpPr>
          <p:cNvPr id="5" name="TextBox 4"/>
          <p:cNvSpPr txBox="1"/>
          <p:nvPr/>
        </p:nvSpPr>
        <p:spPr>
          <a:xfrm>
            <a:off x="1641169" y="4813201"/>
            <a:ext cx="4767331" cy="138499"/>
          </a:xfrm>
          <a:prstGeom prst="rect">
            <a:avLst/>
          </a:prstGeom>
          <a:ln>
            <a:solidFill>
              <a:schemeClr val="tx2"/>
            </a:solidFill>
          </a:ln>
        </p:spPr>
        <p:txBody>
          <a:bodyPr wrap="none" lIns="0" tIns="0" rIns="0" bIns="0" rtlCol="0">
            <a:spAutoFit/>
          </a:bodyPr>
          <a:lstStyle/>
          <a:p>
            <a:pPr algn="l"/>
            <a:r>
              <a:rPr lang="en-US" sz="900" dirty="0">
                <a:solidFill>
                  <a:schemeClr val="tx2"/>
                </a:solidFill>
              </a:rPr>
              <a:t>FRM – Financial Responsibility Matrix | MS – Managed Services | PS – Professional Services</a:t>
            </a:r>
          </a:p>
        </p:txBody>
      </p:sp>
      <p:sp>
        <p:nvSpPr>
          <p:cNvPr id="8" name="Footer Placeholder 2"/>
          <p:cNvSpPr>
            <a:spLocks noGrp="1"/>
          </p:cNvSpPr>
          <p:nvPr>
            <p:ph type="ftr" sz="quarter" idx="11"/>
          </p:nvPr>
        </p:nvSpPr>
        <p:spPr>
          <a:xfrm>
            <a:off x="640080" y="4800600"/>
            <a:ext cx="4572000" cy="155448"/>
          </a:xfrm>
        </p:spPr>
        <p:txBody>
          <a:bodyPr/>
          <a:lstStyle/>
          <a:p>
            <a:pPr defTabSz="685800">
              <a:defRPr/>
            </a:pPr>
            <a:r>
              <a:rPr lang="en-US" sz="750" dirty="0">
                <a:solidFill>
                  <a:srgbClr val="0033A0"/>
                </a:solidFill>
                <a:latin typeface="Arial" panose="020B0604020202020204"/>
                <a:cs typeface="+mn-cs"/>
              </a:rPr>
              <a:t>© 2020 Cognizant</a:t>
            </a:r>
          </a:p>
        </p:txBody>
      </p:sp>
    </p:spTree>
    <p:extLst>
      <p:ext uri="{BB962C8B-B14F-4D97-AF65-F5344CB8AC3E}">
        <p14:creationId xmlns:p14="http://schemas.microsoft.com/office/powerpoint/2010/main" val="9790346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33A0"/>
                </a:solidFill>
              </a:rPr>
              <a:t>Agenda</a:t>
            </a:r>
            <a:br>
              <a:rPr lang="en-US" dirty="0">
                <a:solidFill>
                  <a:srgbClr val="0033A0"/>
                </a:solidFill>
              </a:rPr>
            </a:br>
            <a:endParaRPr lang="en-US" dirty="0"/>
          </a:p>
        </p:txBody>
      </p:sp>
      <p:sp>
        <p:nvSpPr>
          <p:cNvPr id="21" name="Title 1"/>
          <p:cNvSpPr txBox="1">
            <a:spLocks/>
          </p:cNvSpPr>
          <p:nvPr/>
        </p:nvSpPr>
        <p:spPr>
          <a:xfrm>
            <a:off x="384048" y="274321"/>
            <a:ext cx="8385048" cy="361220"/>
          </a:xfrm>
          <a:prstGeom prst="rect">
            <a:avLst/>
          </a:prstGeom>
        </p:spPr>
        <p:txBody>
          <a:bodyPr vert="horz" lIns="0" tIns="0" rIns="0" bIns="0" rtlCol="0" anchor="t" anchorCtr="0">
            <a:normAutofit/>
          </a:bodyPr>
          <a:lstStyle>
            <a:lvl1pPr algn="l" defTabSz="1219170" rtl="0" eaLnBrk="1" latinLnBrk="0" hangingPunct="1">
              <a:lnSpc>
                <a:spcPct val="90000"/>
              </a:lnSpc>
              <a:spcBef>
                <a:spcPct val="0"/>
              </a:spcBef>
              <a:buNone/>
              <a:defRPr sz="3200" kern="1200">
                <a:solidFill>
                  <a:schemeClr val="tx1"/>
                </a:solidFill>
                <a:latin typeface="Arial" panose="020B0604020202020204" pitchFamily="34" charset="0"/>
                <a:ea typeface="+mj-ea"/>
                <a:cs typeface="Arial" panose="020B0604020202020204" pitchFamily="34" charset="0"/>
              </a:defRPr>
            </a:lvl1pPr>
          </a:lstStyle>
          <a:p>
            <a:pPr defTabSz="914378">
              <a:defRPr/>
            </a:pPr>
            <a:endParaRPr lang="en-US" sz="2400" dirty="0">
              <a:solidFill>
                <a:srgbClr val="0033A0"/>
              </a:solidFill>
            </a:endParaRPr>
          </a:p>
        </p:txBody>
      </p:sp>
      <p:pic>
        <p:nvPicPr>
          <p:cNvPr id="22" name="Picture 2" descr="D:\Surendar Works\icons and images\box_shadow[1].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1613883" y="2248017"/>
            <a:ext cx="3916612" cy="301372"/>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p:cNvSpPr txBox="1"/>
          <p:nvPr/>
        </p:nvSpPr>
        <p:spPr bwMode="auto">
          <a:xfrm>
            <a:off x="3933734" y="505667"/>
            <a:ext cx="5050298" cy="3840772"/>
          </a:xfrm>
          <a:prstGeom prst="rect">
            <a:avLst/>
          </a:prstGeom>
          <a:noFill/>
          <a:ln w="9525">
            <a:noFill/>
            <a:miter lim="800000"/>
            <a:headEnd/>
            <a:tailEnd/>
          </a:ln>
        </p:spPr>
        <p:txBody>
          <a:bodyPr wrap="square" rtlCol="0" anchor="ctr" anchorCtr="0">
            <a:prstTxWarp prst="textNoShape">
              <a:avLst/>
            </a:prstTxWarp>
            <a:noAutofit/>
          </a:bodyPr>
          <a:lstStyle/>
          <a:p>
            <a:pPr marL="395258" indent="-395258" defTabSz="685766" eaLnBrk="0" hangingPunct="0">
              <a:spcAft>
                <a:spcPts val="1200"/>
              </a:spcAft>
              <a:buClr>
                <a:srgbClr val="0033A0"/>
              </a:buClr>
              <a:buFont typeface="Wingdings 2" panose="05020102010507070707" pitchFamily="18" charset="2"/>
              <a:buChar char=""/>
              <a:defRPr/>
            </a:pPr>
            <a:r>
              <a:rPr lang="en-US" sz="1600" dirty="0" smtClean="0">
                <a:solidFill>
                  <a:srgbClr val="141414"/>
                </a:solidFill>
                <a:latin typeface="Arial" panose="020B0604020202020204"/>
              </a:rPr>
              <a:t>BHF – Company Overview</a:t>
            </a:r>
            <a:endParaRPr lang="en-US" sz="1600" dirty="0">
              <a:solidFill>
                <a:srgbClr val="141414"/>
              </a:solidFill>
              <a:latin typeface="Arial" panose="020B0604020202020204"/>
            </a:endParaRPr>
          </a:p>
          <a:p>
            <a:pPr marL="395258" indent="-395258" defTabSz="685766" eaLnBrk="0" hangingPunct="0">
              <a:spcAft>
                <a:spcPts val="1200"/>
              </a:spcAft>
              <a:buClr>
                <a:srgbClr val="0033A0"/>
              </a:buClr>
              <a:buFont typeface="Wingdings 2" panose="05020102010507070707" pitchFamily="18" charset="2"/>
              <a:buChar char=""/>
              <a:defRPr/>
            </a:pPr>
            <a:r>
              <a:rPr lang="en-US" sz="1600" dirty="0" smtClean="0">
                <a:solidFill>
                  <a:srgbClr val="141414"/>
                </a:solidFill>
                <a:latin typeface="Arial" panose="020B0604020202020204"/>
              </a:rPr>
              <a:t>Current State Summary</a:t>
            </a:r>
          </a:p>
          <a:p>
            <a:pPr marL="395258" indent="-395258" defTabSz="685766" eaLnBrk="0" hangingPunct="0">
              <a:spcAft>
                <a:spcPts val="1200"/>
              </a:spcAft>
              <a:buClr>
                <a:srgbClr val="0033A0"/>
              </a:buClr>
              <a:buFont typeface="Wingdings 2" panose="05020102010507070707" pitchFamily="18" charset="2"/>
              <a:buChar char=""/>
              <a:defRPr/>
            </a:pPr>
            <a:r>
              <a:rPr lang="en-US" sz="1600" dirty="0" smtClean="0">
                <a:solidFill>
                  <a:srgbClr val="141414"/>
                </a:solidFill>
              </a:rPr>
              <a:t>Proposed Tools &amp; FRM</a:t>
            </a:r>
          </a:p>
          <a:p>
            <a:pPr marL="395258" indent="-395258" defTabSz="685766" eaLnBrk="0" hangingPunct="0">
              <a:spcAft>
                <a:spcPts val="1200"/>
              </a:spcAft>
              <a:buClr>
                <a:srgbClr val="0033A0"/>
              </a:buClr>
              <a:buFont typeface="Wingdings 2" panose="05020102010507070707" pitchFamily="18" charset="2"/>
              <a:buChar char=""/>
              <a:defRPr/>
            </a:pPr>
            <a:r>
              <a:rPr lang="en-US" sz="1600" dirty="0" smtClean="0">
                <a:solidFill>
                  <a:srgbClr val="141414"/>
                </a:solidFill>
              </a:rPr>
              <a:t>Architecture – Reference View</a:t>
            </a:r>
          </a:p>
          <a:p>
            <a:pPr marL="395258" indent="-395258" defTabSz="685766" eaLnBrk="0" hangingPunct="0">
              <a:spcAft>
                <a:spcPts val="1200"/>
              </a:spcAft>
              <a:buClr>
                <a:srgbClr val="0033A0"/>
              </a:buClr>
              <a:buFont typeface="Wingdings 2" panose="05020102010507070707" pitchFamily="18" charset="2"/>
              <a:buChar char=""/>
              <a:defRPr/>
            </a:pPr>
            <a:r>
              <a:rPr lang="en-US" sz="1600" dirty="0" smtClean="0">
                <a:solidFill>
                  <a:srgbClr val="141414"/>
                </a:solidFill>
              </a:rPr>
              <a:t>Delivery Locations</a:t>
            </a:r>
          </a:p>
          <a:p>
            <a:pPr marL="395258" indent="-395258" defTabSz="685766" eaLnBrk="0" hangingPunct="0">
              <a:spcAft>
                <a:spcPts val="1200"/>
              </a:spcAft>
              <a:buClr>
                <a:srgbClr val="0033A0"/>
              </a:buClr>
              <a:buFont typeface="Wingdings 2" panose="05020102010507070707" pitchFamily="18" charset="2"/>
              <a:buChar char=""/>
              <a:defRPr/>
            </a:pPr>
            <a:r>
              <a:rPr lang="en-US" sz="1600" dirty="0" smtClean="0">
                <a:solidFill>
                  <a:srgbClr val="141414"/>
                </a:solidFill>
                <a:latin typeface="Arial" panose="020B0604020202020204"/>
              </a:rPr>
              <a:t>Tower Wise Focus Areas</a:t>
            </a:r>
            <a:endParaRPr lang="en-US" sz="1600" dirty="0">
              <a:solidFill>
                <a:srgbClr val="141414"/>
              </a:solidFill>
              <a:latin typeface="Arial" panose="020B0604020202020204"/>
            </a:endParaRPr>
          </a:p>
        </p:txBody>
      </p:sp>
      <p:pic>
        <p:nvPicPr>
          <p:cNvPr id="24" name="Picture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1829" y="1483332"/>
            <a:ext cx="2283810" cy="2176840"/>
          </a:xfrm>
          <a:prstGeom prst="rect">
            <a:avLst/>
          </a:prstGeom>
        </p:spPr>
      </p:pic>
      <p:sp>
        <p:nvSpPr>
          <p:cNvPr id="6" name="Footer Placeholder 5"/>
          <p:cNvSpPr>
            <a:spLocks noGrp="1"/>
          </p:cNvSpPr>
          <p:nvPr>
            <p:ph type="ftr" sz="quarter" idx="3"/>
          </p:nvPr>
        </p:nvSpPr>
        <p:spPr/>
        <p:txBody>
          <a:bodyPr/>
          <a:lstStyle/>
          <a:p>
            <a:r>
              <a:rPr lang="en-US" smtClean="0"/>
              <a:t>© 2020 Cognizant</a:t>
            </a:r>
            <a:endParaRPr lang="en-US" dirty="0"/>
          </a:p>
        </p:txBody>
      </p:sp>
      <p:sp>
        <p:nvSpPr>
          <p:cNvPr id="7" name="Slide Number Placeholder 6"/>
          <p:cNvSpPr>
            <a:spLocks noGrp="1"/>
          </p:cNvSpPr>
          <p:nvPr>
            <p:ph type="sldNum" sz="quarter" idx="4"/>
          </p:nvPr>
        </p:nvSpPr>
        <p:spPr/>
        <p:txBody>
          <a:bodyPr/>
          <a:lstStyle/>
          <a:p>
            <a:fld id="{2EFEF571-C9B4-4D92-A7F7-315B894862A8}" type="slidenum">
              <a:rPr lang="en-US" smtClean="0"/>
              <a:pPr/>
              <a:t>2</a:t>
            </a:fld>
            <a:endParaRPr lang="en-US" dirty="0"/>
          </a:p>
        </p:txBody>
      </p:sp>
    </p:spTree>
    <p:extLst>
      <p:ext uri="{BB962C8B-B14F-4D97-AF65-F5344CB8AC3E}">
        <p14:creationId xmlns:p14="http://schemas.microsoft.com/office/powerpoint/2010/main" val="313708192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380683354"/>
              </p:ext>
            </p:extLst>
          </p:nvPr>
        </p:nvGraphicFramePr>
        <p:xfrm>
          <a:off x="295875" y="427936"/>
          <a:ext cx="8496804" cy="4332773"/>
        </p:xfrm>
        <a:graphic>
          <a:graphicData uri="http://schemas.openxmlformats.org/drawingml/2006/table">
            <a:tbl>
              <a:tblPr/>
              <a:tblGrid>
                <a:gridCol w="520364">
                  <a:extLst>
                    <a:ext uri="{9D8B030D-6E8A-4147-A177-3AD203B41FA5}">
                      <a16:colId xmlns:a16="http://schemas.microsoft.com/office/drawing/2014/main" val="3550829181"/>
                    </a:ext>
                  </a:extLst>
                </a:gridCol>
                <a:gridCol w="1256660">
                  <a:extLst>
                    <a:ext uri="{9D8B030D-6E8A-4147-A177-3AD203B41FA5}">
                      <a16:colId xmlns:a16="http://schemas.microsoft.com/office/drawing/2014/main" val="1814949713"/>
                    </a:ext>
                  </a:extLst>
                </a:gridCol>
                <a:gridCol w="2118622">
                  <a:extLst>
                    <a:ext uri="{9D8B030D-6E8A-4147-A177-3AD203B41FA5}">
                      <a16:colId xmlns:a16="http://schemas.microsoft.com/office/drawing/2014/main" val="1171294716"/>
                    </a:ext>
                  </a:extLst>
                </a:gridCol>
                <a:gridCol w="2803640">
                  <a:extLst>
                    <a:ext uri="{9D8B030D-6E8A-4147-A177-3AD203B41FA5}">
                      <a16:colId xmlns:a16="http://schemas.microsoft.com/office/drawing/2014/main" val="3476580190"/>
                    </a:ext>
                  </a:extLst>
                </a:gridCol>
                <a:gridCol w="707457">
                  <a:extLst>
                    <a:ext uri="{9D8B030D-6E8A-4147-A177-3AD203B41FA5}">
                      <a16:colId xmlns:a16="http://schemas.microsoft.com/office/drawing/2014/main" val="3997670388"/>
                    </a:ext>
                  </a:extLst>
                </a:gridCol>
                <a:gridCol w="642486">
                  <a:extLst>
                    <a:ext uri="{9D8B030D-6E8A-4147-A177-3AD203B41FA5}">
                      <a16:colId xmlns:a16="http://schemas.microsoft.com/office/drawing/2014/main" val="971819183"/>
                    </a:ext>
                  </a:extLst>
                </a:gridCol>
                <a:gridCol w="447575">
                  <a:extLst>
                    <a:ext uri="{9D8B030D-6E8A-4147-A177-3AD203B41FA5}">
                      <a16:colId xmlns:a16="http://schemas.microsoft.com/office/drawing/2014/main" val="2010112759"/>
                    </a:ext>
                  </a:extLst>
                </a:gridCol>
              </a:tblGrid>
              <a:tr h="184783">
                <a:tc rowSpan="2">
                  <a:txBody>
                    <a:bodyPr/>
                    <a:lstStyle/>
                    <a:p>
                      <a:pPr algn="ctr" fontAlgn="ctr"/>
                      <a:r>
                        <a:rPr lang="en-US" sz="900" b="1" i="0" u="none" strike="noStrike" dirty="0">
                          <a:solidFill>
                            <a:schemeClr val="bg1"/>
                          </a:solidFill>
                          <a:effectLst/>
                          <a:latin typeface="Calibri" panose="020F0502020204030204" pitchFamily="34" charset="0"/>
                        </a:rPr>
                        <a:t>Tow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rowSpan="2">
                  <a:txBody>
                    <a:bodyPr/>
                    <a:lstStyle/>
                    <a:p>
                      <a:pPr algn="ctr" fontAlgn="ctr"/>
                      <a:r>
                        <a:rPr lang="en-US" sz="900" b="1" i="0" u="none" strike="noStrike" dirty="0">
                          <a:solidFill>
                            <a:schemeClr val="bg1"/>
                          </a:solidFill>
                          <a:effectLst/>
                          <a:latin typeface="Calibri" panose="020F0502020204030204" pitchFamily="34" charset="0"/>
                        </a:rPr>
                        <a:t>Steady State Suppor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gridSpan="2">
                  <a:txBody>
                    <a:bodyPr/>
                    <a:lstStyle/>
                    <a:p>
                      <a:pPr algn="ctr" fontAlgn="ctr"/>
                      <a:r>
                        <a:rPr lang="en-US" sz="900" b="1" i="0" u="none" strike="noStrike" dirty="0">
                          <a:solidFill>
                            <a:schemeClr val="bg1"/>
                          </a:solidFill>
                          <a:effectLst/>
                          <a:latin typeface="Calibri" panose="020F0502020204030204" pitchFamily="34" charset="0"/>
                        </a:rPr>
                        <a:t>Transforma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hMerge="1">
                  <a:txBody>
                    <a:bodyPr/>
                    <a:lstStyle/>
                    <a:p>
                      <a:endParaRPr lang="en-US"/>
                    </a:p>
                  </a:txBody>
                  <a:tcPr/>
                </a:tc>
                <a:tc rowSpan="2" gridSpan="3">
                  <a:txBody>
                    <a:bodyPr/>
                    <a:lstStyle/>
                    <a:p>
                      <a:pPr algn="ctr" fontAlgn="ctr"/>
                      <a:r>
                        <a:rPr lang="en-US" sz="900" b="1" i="0" u="none" strike="noStrike" dirty="0" smtClean="0">
                          <a:solidFill>
                            <a:schemeClr val="bg1"/>
                          </a:solidFill>
                          <a:effectLst/>
                          <a:latin typeface="Calibri" panose="020F0502020204030204" pitchFamily="34" charset="0"/>
                        </a:rPr>
                        <a:t>Price</a:t>
                      </a:r>
                      <a:r>
                        <a:rPr lang="en-US" sz="900" b="1" i="0" u="none" strike="noStrike" baseline="0" dirty="0" smtClean="0">
                          <a:solidFill>
                            <a:schemeClr val="bg1"/>
                          </a:solidFill>
                          <a:effectLst/>
                          <a:latin typeface="Calibri" panose="020F0502020204030204" pitchFamily="34" charset="0"/>
                        </a:rPr>
                        <a:t> included in the proposal</a:t>
                      </a:r>
                      <a:endParaRPr lang="en-US" sz="9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rowSpan="2" hMerge="1">
                  <a:txBody>
                    <a:bodyPr/>
                    <a:lstStyle/>
                    <a:p>
                      <a:pPr algn="ctr" fontAlgn="ctr"/>
                      <a:endParaRPr lang="en-US" sz="13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rowSpan="2" hMerge="1">
                  <a:txBody>
                    <a:bodyPr/>
                    <a:lstStyle/>
                    <a:p>
                      <a:pPr algn="ctr" fontAlgn="ctr"/>
                      <a:endParaRPr lang="en-US" sz="13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3436569827"/>
                  </a:ext>
                </a:extLst>
              </a:tr>
              <a:tr h="184783">
                <a:tc vMerge="1">
                  <a:txBody>
                    <a:bodyPr/>
                    <a:lstStyle/>
                    <a:p>
                      <a:endParaRPr lang="en-US"/>
                    </a:p>
                  </a:txBody>
                  <a:tcPr/>
                </a:tc>
                <a:tc vMerge="1">
                  <a:txBody>
                    <a:bodyPr/>
                    <a:lstStyle/>
                    <a:p>
                      <a:endParaRPr lang="en-US"/>
                    </a:p>
                  </a:txBody>
                  <a:tcPr/>
                </a:tc>
                <a:tc>
                  <a:txBody>
                    <a:bodyPr/>
                    <a:lstStyle/>
                    <a:p>
                      <a:pPr algn="ctr" fontAlgn="ctr"/>
                      <a:r>
                        <a:rPr lang="en-US" sz="900" b="1" i="0" u="none" strike="noStrike" dirty="0" smtClean="0">
                          <a:solidFill>
                            <a:schemeClr val="bg1"/>
                          </a:solidFill>
                          <a:effectLst/>
                          <a:latin typeface="Calibri" panose="020F0502020204030204" pitchFamily="34" charset="0"/>
                        </a:rPr>
                        <a:t>Function</a:t>
                      </a:r>
                      <a:endParaRPr lang="en-US" sz="9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a:txBody>
                    <a:bodyPr/>
                    <a:lstStyle/>
                    <a:p>
                      <a:pPr algn="ctr" fontAlgn="ctr"/>
                      <a:r>
                        <a:rPr lang="en-US" sz="900" b="1" i="0" u="none" strike="noStrike" dirty="0">
                          <a:solidFill>
                            <a:schemeClr val="bg1"/>
                          </a:solidFill>
                          <a:effectLst/>
                          <a:latin typeface="Calibri" panose="020F0502020204030204" pitchFamily="34" charset="0"/>
                        </a:rPr>
                        <a:t>Proposed Solu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gridSpan="3" vMerge="1">
                  <a:txBody>
                    <a:bodyPr/>
                    <a:lstStyle/>
                    <a:p>
                      <a:endParaRPr lang="en-US"/>
                    </a:p>
                  </a:txBody>
                  <a:tcPr/>
                </a:tc>
                <a:tc hMerge="1"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67750036"/>
                  </a:ext>
                </a:extLst>
              </a:tr>
              <a:tr h="184783">
                <a:tc>
                  <a:txBody>
                    <a:bodyPr/>
                    <a:lstStyle/>
                    <a:p>
                      <a:pPr algn="ctr" fontAlgn="ctr"/>
                      <a:endParaRPr lang="en-US" sz="9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9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9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9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3">
                  <a:txBody>
                    <a:bodyPr/>
                    <a:lstStyle/>
                    <a:p>
                      <a:pPr algn="l" fontAlgn="ctr"/>
                      <a:r>
                        <a:rPr lang="en-US" sz="900" b="1" i="0" u="none" strike="noStrike" dirty="0" smtClean="0">
                          <a:solidFill>
                            <a:schemeClr val="tx2"/>
                          </a:solidFill>
                          <a:effectLst/>
                          <a:latin typeface="Calibri" panose="020F0502020204030204" pitchFamily="34" charset="0"/>
                        </a:rPr>
                        <a:t>        FRM                  MS            PS                    </a:t>
                      </a:r>
                      <a:endParaRPr lang="en-US" sz="900" b="1"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hMerge="1">
                  <a:txBody>
                    <a:bodyPr/>
                    <a:lstStyle/>
                    <a:p>
                      <a:endParaRPr lang="en-US"/>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3164907139"/>
                  </a:ext>
                </a:extLst>
              </a:tr>
              <a:tr h="125730">
                <a:tc rowSpan="11">
                  <a:txBody>
                    <a:bodyPr/>
                    <a:lstStyle/>
                    <a:p>
                      <a:pPr algn="ctr" fontAlgn="ctr"/>
                      <a:r>
                        <a:rPr lang="en-US" sz="800" b="0" i="0" u="none" strike="noStrike" dirty="0">
                          <a:solidFill>
                            <a:srgbClr val="000000"/>
                          </a:solidFill>
                          <a:effectLst/>
                          <a:latin typeface="Calibri" panose="020F0502020204030204" pitchFamily="34" charset="0"/>
                        </a:rPr>
                        <a:t>EU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11">
                  <a:txBody>
                    <a:bodyPr/>
                    <a:lstStyle/>
                    <a:p>
                      <a:pPr marL="0" algn="l" defTabSz="1219170" rtl="0" eaLnBrk="1" fontAlgn="ctr" latinLnBrk="0" hangingPunct="1"/>
                      <a:r>
                        <a:rPr lang="en-US" sz="800" b="0" i="0" u="none" strike="noStrike" kern="1200" dirty="0">
                          <a:solidFill>
                            <a:srgbClr val="000000"/>
                          </a:solidFill>
                          <a:effectLst/>
                          <a:latin typeface="Calibri" panose="020F0502020204030204" pitchFamily="34" charset="0"/>
                          <a:ea typeface="+mn-ea"/>
                          <a:cs typeface="+mn-cs"/>
                        </a:rPr>
                        <a:t>Device Provisioning</a:t>
                      </a:r>
                      <a:br>
                        <a:rPr lang="en-US" sz="800" b="0" i="0" u="none" strike="noStrike" kern="1200" dirty="0">
                          <a:solidFill>
                            <a:srgbClr val="000000"/>
                          </a:solidFill>
                          <a:effectLst/>
                          <a:latin typeface="Calibri" panose="020F0502020204030204" pitchFamily="34" charset="0"/>
                          <a:ea typeface="+mn-ea"/>
                          <a:cs typeface="+mn-cs"/>
                        </a:rPr>
                      </a:br>
                      <a:r>
                        <a:rPr lang="en-US" sz="800" b="0" i="0" u="none" strike="noStrike" kern="1200" dirty="0">
                          <a:solidFill>
                            <a:srgbClr val="000000"/>
                          </a:solidFill>
                          <a:effectLst/>
                          <a:latin typeface="Calibri" panose="020F0502020204030204" pitchFamily="34" charset="0"/>
                          <a:ea typeface="+mn-ea"/>
                          <a:cs typeface="+mn-cs"/>
                        </a:rPr>
                        <a:t>VDI Support</a:t>
                      </a:r>
                      <a:br>
                        <a:rPr lang="en-US" sz="800" b="0" i="0" u="none" strike="noStrike" kern="1200" dirty="0">
                          <a:solidFill>
                            <a:srgbClr val="000000"/>
                          </a:solidFill>
                          <a:effectLst/>
                          <a:latin typeface="Calibri" panose="020F0502020204030204" pitchFamily="34" charset="0"/>
                          <a:ea typeface="+mn-ea"/>
                          <a:cs typeface="+mn-cs"/>
                        </a:rPr>
                      </a:br>
                      <a:r>
                        <a:rPr lang="en-US" sz="800" b="0" i="0" u="none" strike="noStrike" kern="1200" dirty="0">
                          <a:solidFill>
                            <a:srgbClr val="000000"/>
                          </a:solidFill>
                          <a:effectLst/>
                          <a:latin typeface="Calibri" panose="020F0502020204030204" pitchFamily="34" charset="0"/>
                          <a:ea typeface="+mn-ea"/>
                          <a:cs typeface="+mn-cs"/>
                        </a:rPr>
                        <a:t>Mobile Device Management</a:t>
                      </a:r>
                      <a:br>
                        <a:rPr lang="en-US" sz="800" b="0" i="0" u="none" strike="noStrike" kern="1200" dirty="0">
                          <a:solidFill>
                            <a:srgbClr val="000000"/>
                          </a:solidFill>
                          <a:effectLst/>
                          <a:latin typeface="Calibri" panose="020F0502020204030204" pitchFamily="34" charset="0"/>
                          <a:ea typeface="+mn-ea"/>
                          <a:cs typeface="+mn-cs"/>
                        </a:rPr>
                      </a:br>
                      <a:r>
                        <a:rPr lang="en-US" sz="800" b="0" i="0" u="none" strike="noStrike" kern="1200" dirty="0">
                          <a:solidFill>
                            <a:srgbClr val="000000"/>
                          </a:solidFill>
                          <a:effectLst/>
                          <a:latin typeface="Calibri" panose="020F0502020204030204" pitchFamily="34" charset="0"/>
                          <a:ea typeface="+mn-ea"/>
                          <a:cs typeface="+mn-cs"/>
                        </a:rPr>
                        <a:t>O365 Mailbox</a:t>
                      </a:r>
                      <a:br>
                        <a:rPr lang="en-US" sz="800" b="0" i="0" u="none" strike="noStrike" kern="1200" dirty="0">
                          <a:solidFill>
                            <a:srgbClr val="000000"/>
                          </a:solidFill>
                          <a:effectLst/>
                          <a:latin typeface="Calibri" panose="020F0502020204030204" pitchFamily="34" charset="0"/>
                          <a:ea typeface="+mn-ea"/>
                          <a:cs typeface="+mn-cs"/>
                        </a:rPr>
                      </a:br>
                      <a:r>
                        <a:rPr lang="en-US" sz="800" b="0" i="0" u="none" strike="noStrike" kern="1200" dirty="0">
                          <a:solidFill>
                            <a:srgbClr val="000000"/>
                          </a:solidFill>
                          <a:effectLst/>
                          <a:latin typeface="Calibri" panose="020F0502020204030204" pitchFamily="34" charset="0"/>
                          <a:ea typeface="+mn-ea"/>
                          <a:cs typeface="+mn-cs"/>
                        </a:rPr>
                        <a:t>Skype support</a:t>
                      </a:r>
                      <a:br>
                        <a:rPr lang="en-US" sz="800" b="0" i="0" u="none" strike="noStrike" kern="1200" dirty="0">
                          <a:solidFill>
                            <a:srgbClr val="000000"/>
                          </a:solidFill>
                          <a:effectLst/>
                          <a:latin typeface="Calibri" panose="020F0502020204030204" pitchFamily="34" charset="0"/>
                          <a:ea typeface="+mn-ea"/>
                          <a:cs typeface="+mn-cs"/>
                        </a:rPr>
                      </a:br>
                      <a:r>
                        <a:rPr lang="en-US" sz="800" b="0" i="0" u="none" strike="noStrike" kern="1200" dirty="0">
                          <a:solidFill>
                            <a:srgbClr val="000000"/>
                          </a:solidFill>
                          <a:effectLst/>
                          <a:latin typeface="Calibri" panose="020F0502020204030204" pitchFamily="34" charset="0"/>
                          <a:ea typeface="+mn-ea"/>
                          <a:cs typeface="+mn-cs"/>
                        </a:rPr>
                        <a:t>SharePoint suppor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smtClean="0">
                          <a:solidFill>
                            <a:srgbClr val="000000"/>
                          </a:solidFill>
                          <a:effectLst/>
                          <a:latin typeface="Calibri" panose="020F0502020204030204" pitchFamily="34" charset="0"/>
                        </a:rPr>
                        <a:t>Virtual</a:t>
                      </a:r>
                      <a:r>
                        <a:rPr lang="en-US" sz="800" b="0" i="0" u="none" strike="noStrike" baseline="0" dirty="0" smtClean="0">
                          <a:solidFill>
                            <a:srgbClr val="000000"/>
                          </a:solidFill>
                          <a:effectLst/>
                          <a:latin typeface="Calibri" panose="020F0502020204030204" pitchFamily="34" charset="0"/>
                        </a:rPr>
                        <a:t> Desktop Infrastructure </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a:solidFill>
                            <a:srgbClr val="000000"/>
                          </a:solidFill>
                          <a:effectLst/>
                          <a:latin typeface="Calibri" panose="020F0502020204030204" pitchFamily="34" charset="0"/>
                        </a:rPr>
                        <a:t>Windows Virtual Desktop on Azur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BHF</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Yes</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Yes</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15691920"/>
                  </a:ext>
                </a:extLst>
              </a:tr>
              <a:tr h="251460">
                <a:tc vMerge="1">
                  <a:txBody>
                    <a:bodyPr/>
                    <a:lstStyle/>
                    <a:p>
                      <a:endParaRPr lang="en-US"/>
                    </a:p>
                  </a:txBody>
                  <a:tcPr/>
                </a:tc>
                <a:tc vMerge="1">
                  <a:txBody>
                    <a:bodyPr/>
                    <a:lstStyle/>
                    <a:p>
                      <a:endParaRPr lang="en-US"/>
                    </a:p>
                  </a:txBody>
                  <a:tcPr/>
                </a:tc>
                <a:tc>
                  <a:txBody>
                    <a:bodyPr/>
                    <a:lstStyle/>
                    <a:p>
                      <a:pPr marL="0" algn="l" defTabSz="1219170" rtl="0" eaLnBrk="1" fontAlgn="ctr" latinLnBrk="0" hangingPunct="1"/>
                      <a:r>
                        <a:rPr lang="en-US" sz="800" b="0" i="0" u="none" strike="noStrike" kern="1200" dirty="0" smtClean="0">
                          <a:solidFill>
                            <a:srgbClr val="000000"/>
                          </a:solidFill>
                          <a:effectLst/>
                          <a:latin typeface="Calibri" panose="020F0502020204030204" pitchFamily="34" charset="0"/>
                          <a:ea typeface="+mn-ea"/>
                          <a:cs typeface="+mn-cs"/>
                        </a:rPr>
                        <a:t>VDI migration &amp; VDI Print software</a:t>
                      </a:r>
                      <a:endParaRPr lang="en-US" sz="800" b="0" i="0" u="none" strike="noStrike" kern="1200" dirty="0">
                        <a:solidFill>
                          <a:srgbClr val="000000"/>
                        </a:solidFill>
                        <a:effectLst/>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1219170" rtl="0" eaLnBrk="1" fontAlgn="ctr" latinLnBrk="0" hangingPunct="1"/>
                      <a:r>
                        <a:rPr lang="en-US" sz="800" b="0" i="0" u="none" strike="noStrike" kern="1200" dirty="0" err="1" smtClean="0">
                          <a:solidFill>
                            <a:srgbClr val="000000"/>
                          </a:solidFill>
                          <a:effectLst/>
                          <a:latin typeface="Calibri" panose="020F0502020204030204" pitchFamily="34" charset="0"/>
                          <a:ea typeface="+mn-ea"/>
                          <a:cs typeface="+mn-cs"/>
                        </a:rPr>
                        <a:t>Liquidware</a:t>
                      </a:r>
                      <a:r>
                        <a:rPr lang="en-US" sz="800" b="0" i="0" u="none" strike="noStrike" kern="1200" dirty="0" smtClean="0">
                          <a:solidFill>
                            <a:srgbClr val="000000"/>
                          </a:solidFill>
                          <a:effectLst/>
                          <a:latin typeface="Calibri" panose="020F0502020204030204" pitchFamily="34" charset="0"/>
                          <a:ea typeface="+mn-ea"/>
                          <a:cs typeface="+mn-cs"/>
                        </a:rPr>
                        <a:t> for migration</a:t>
                      </a:r>
                    </a:p>
                    <a:p>
                      <a:pPr marL="0" algn="l" defTabSz="1219170" rtl="0" eaLnBrk="1" fontAlgn="ctr" latinLnBrk="0" hangingPunct="1"/>
                      <a:r>
                        <a:rPr lang="en-US" sz="800" b="0" i="0" u="none" strike="noStrike" kern="1200" dirty="0" smtClean="0">
                          <a:solidFill>
                            <a:srgbClr val="000000"/>
                          </a:solidFill>
                          <a:effectLst/>
                          <a:latin typeface="Calibri" panose="020F0502020204030204" pitchFamily="34" charset="0"/>
                          <a:ea typeface="+mn-ea"/>
                          <a:cs typeface="+mn-cs"/>
                        </a:rPr>
                        <a:t>WVD print (</a:t>
                      </a:r>
                      <a:r>
                        <a:rPr lang="en-US" sz="800" b="0" i="0" u="none" strike="noStrike" kern="1200" dirty="0" err="1" smtClean="0">
                          <a:solidFill>
                            <a:srgbClr val="000000"/>
                          </a:solidFill>
                          <a:effectLst/>
                          <a:latin typeface="Calibri" panose="020F0502020204030204" pitchFamily="34" charset="0"/>
                          <a:ea typeface="+mn-ea"/>
                          <a:cs typeface="+mn-cs"/>
                        </a:rPr>
                        <a:t>printix</a:t>
                      </a:r>
                      <a:r>
                        <a:rPr lang="en-US" sz="800" b="0" i="0" u="none" strike="noStrike" kern="1200" dirty="0" smtClean="0">
                          <a:solidFill>
                            <a:srgbClr val="000000"/>
                          </a:solidFill>
                          <a:effectLst/>
                          <a:latin typeface="Calibri" panose="020F0502020204030204" pitchFamily="34" charset="0"/>
                          <a:ea typeface="+mn-ea"/>
                          <a:cs typeface="+mn-cs"/>
                        </a:rPr>
                        <a:t>)  </a:t>
                      </a:r>
                      <a:endParaRPr lang="en-US" sz="800" b="0" i="0" u="none" strike="noStrike" kern="1200" dirty="0">
                        <a:solidFill>
                          <a:srgbClr val="000000"/>
                        </a:solidFill>
                        <a:effectLst/>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2"/>
                          </a:solidFill>
                          <a:effectLst/>
                          <a:uLnTx/>
                          <a:uFillTx/>
                          <a:latin typeface="Calibri" panose="020F0502020204030204" pitchFamily="34" charset="0"/>
                          <a:ea typeface="+mn-ea"/>
                          <a:cs typeface="+mn-cs"/>
                        </a:rPr>
                        <a:t>Cognizant</a:t>
                      </a:r>
                      <a:endParaRPr kumimoji="0" lang="en-US" sz="800" b="0" i="0" u="none" strike="noStrike" kern="1200" cap="none" spc="0" normalizeH="0" baseline="0" noProof="0" dirty="0">
                        <a:ln>
                          <a:noFill/>
                        </a:ln>
                        <a:solidFill>
                          <a:schemeClr val="tx2"/>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Yes</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Yes</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3241021"/>
                  </a:ext>
                </a:extLst>
              </a:tr>
              <a:tr h="125730">
                <a:tc vMerge="1">
                  <a:txBody>
                    <a:bodyPr/>
                    <a:lstStyle/>
                    <a:p>
                      <a:endParaRPr lang="en-US"/>
                    </a:p>
                  </a:txBody>
                  <a:tcPr/>
                </a:tc>
                <a:tc vMerge="1">
                  <a:txBody>
                    <a:bodyPr/>
                    <a:lstStyle/>
                    <a:p>
                      <a:endParaRPr lang="en-US"/>
                    </a:p>
                  </a:txBody>
                  <a:tcPr/>
                </a:tc>
                <a:tc>
                  <a:txBody>
                    <a:bodyPr/>
                    <a:lstStyle/>
                    <a:p>
                      <a:pPr algn="l" fontAlgn="ctr"/>
                      <a:r>
                        <a:rPr lang="en-US" sz="800" b="0" i="0" u="none" strike="noStrike" dirty="0">
                          <a:solidFill>
                            <a:schemeClr val="tx2"/>
                          </a:solidFill>
                          <a:effectLst/>
                          <a:latin typeface="Calibri" panose="020F0502020204030204" pitchFamily="34" charset="0"/>
                        </a:rPr>
                        <a:t>End User devices backup and recove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smtClean="0">
                          <a:solidFill>
                            <a:schemeClr val="tx2"/>
                          </a:solidFill>
                          <a:effectLst/>
                          <a:latin typeface="Calibri" panose="020F0502020204030204" pitchFamily="34" charset="0"/>
                        </a:rPr>
                        <a:t>One Drive</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2"/>
                          </a:solidFill>
                          <a:effectLst/>
                          <a:uLnTx/>
                          <a:uFillTx/>
                          <a:latin typeface="Calibri" panose="020F0502020204030204" pitchFamily="34" charset="0"/>
                          <a:ea typeface="+mn-ea"/>
                          <a:cs typeface="+mn-cs"/>
                        </a:rPr>
                        <a:t>BHF</a:t>
                      </a:r>
                      <a:endParaRPr kumimoji="0" lang="en-US" sz="800" b="0" i="0" u="none" strike="noStrike" kern="1200" cap="none" spc="0" normalizeH="0" baseline="0" noProof="0" dirty="0">
                        <a:ln>
                          <a:noFill/>
                        </a:ln>
                        <a:solidFill>
                          <a:schemeClr val="tx2"/>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Yes</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NA</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5983723"/>
                  </a:ext>
                </a:extLst>
              </a:tr>
              <a:tr h="125730">
                <a:tc vMerge="1">
                  <a:txBody>
                    <a:bodyPr/>
                    <a:lstStyle/>
                    <a:p>
                      <a:endParaRPr lang="en-US"/>
                    </a:p>
                  </a:txBody>
                  <a:tcPr/>
                </a:tc>
                <a:tc vMerge="1">
                  <a:txBody>
                    <a:bodyPr/>
                    <a:lstStyle/>
                    <a:p>
                      <a:endParaRPr lang="en-US"/>
                    </a:p>
                  </a:txBody>
                  <a:tcPr/>
                </a:tc>
                <a:tc>
                  <a:txBody>
                    <a:bodyPr/>
                    <a:lstStyle/>
                    <a:p>
                      <a:pPr algn="l" fontAlgn="ctr"/>
                      <a:r>
                        <a:rPr lang="en-US" sz="800" b="0" i="0" u="none" strike="noStrike" dirty="0">
                          <a:solidFill>
                            <a:srgbClr val="000000"/>
                          </a:solidFill>
                          <a:effectLst/>
                          <a:latin typeface="Calibri" panose="020F0502020204030204" pitchFamily="34" charset="0"/>
                        </a:rPr>
                        <a:t>End User Device Manageme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smtClean="0">
                          <a:solidFill>
                            <a:srgbClr val="000000"/>
                          </a:solidFill>
                          <a:effectLst/>
                          <a:latin typeface="Calibri" panose="020F0502020204030204" pitchFamily="34" charset="0"/>
                        </a:rPr>
                        <a:t>MS Intune</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BHF</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Yes</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Yes</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1342826"/>
                  </a:ext>
                </a:extLst>
              </a:tr>
              <a:tr h="125730">
                <a:tc vMerge="1">
                  <a:txBody>
                    <a:bodyPr/>
                    <a:lstStyle/>
                    <a:p>
                      <a:endParaRPr lang="en-US"/>
                    </a:p>
                  </a:txBody>
                  <a:tcPr/>
                </a:tc>
                <a:tc vMerge="1">
                  <a:txBody>
                    <a:bodyPr/>
                    <a:lstStyle/>
                    <a:p>
                      <a:endParaRPr lang="en-US"/>
                    </a:p>
                  </a:txBody>
                  <a:tcPr/>
                </a:tc>
                <a:tc>
                  <a:txBody>
                    <a:bodyPr/>
                    <a:lstStyle/>
                    <a:p>
                      <a:pPr algn="l" fontAlgn="ctr"/>
                      <a:r>
                        <a:rPr lang="en-US" sz="800" b="0" i="0" u="none" strike="noStrike" dirty="0">
                          <a:solidFill>
                            <a:srgbClr val="000000"/>
                          </a:solidFill>
                          <a:effectLst/>
                          <a:latin typeface="Calibri" panose="020F0502020204030204" pitchFamily="34" charset="0"/>
                        </a:rPr>
                        <a:t>End user Experience Testing and Monitor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err="1" smtClean="0">
                          <a:solidFill>
                            <a:srgbClr val="000000"/>
                          </a:solidFill>
                          <a:effectLst/>
                          <a:latin typeface="Calibri" panose="020F0502020204030204" pitchFamily="34" charset="0"/>
                        </a:rPr>
                        <a:t>Systrack</a:t>
                      </a:r>
                      <a:r>
                        <a:rPr lang="en-US" sz="800" b="0" i="0" u="none" strike="noStrike" dirty="0" smtClean="0">
                          <a:solidFill>
                            <a:srgbClr val="000000"/>
                          </a:solidFill>
                          <a:effectLst/>
                          <a:latin typeface="Calibri" panose="020F0502020204030204" pitchFamily="34" charset="0"/>
                        </a:rPr>
                        <a:t> </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Cognizant</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Yes</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Yes</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22254475"/>
                  </a:ext>
                </a:extLst>
              </a:tr>
              <a:tr h="125730">
                <a:tc vMerge="1">
                  <a:txBody>
                    <a:bodyPr/>
                    <a:lstStyle/>
                    <a:p>
                      <a:endParaRPr lang="en-US"/>
                    </a:p>
                  </a:txBody>
                  <a:tcPr/>
                </a:tc>
                <a:tc vMerge="1">
                  <a:txBody>
                    <a:bodyPr/>
                    <a:lstStyle/>
                    <a:p>
                      <a:endParaRPr lang="en-US"/>
                    </a:p>
                  </a:txBody>
                  <a:tcPr/>
                </a:tc>
                <a:tc>
                  <a:txBody>
                    <a:bodyPr/>
                    <a:lstStyle/>
                    <a:p>
                      <a:pPr algn="l" fontAlgn="ctr"/>
                      <a:r>
                        <a:rPr lang="en-US" sz="800" b="0" i="0" u="none" strike="noStrike" dirty="0">
                          <a:solidFill>
                            <a:srgbClr val="000000"/>
                          </a:solidFill>
                          <a:effectLst/>
                          <a:latin typeface="Calibri" panose="020F0502020204030204" pitchFamily="34" charset="0"/>
                        </a:rPr>
                        <a:t>MDM Solu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a:solidFill>
                            <a:srgbClr val="000000"/>
                          </a:solidFill>
                          <a:effectLst/>
                          <a:latin typeface="Calibri" panose="020F0502020204030204" pitchFamily="34" charset="0"/>
                        </a:rPr>
                        <a:t>MS Intun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BHF</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Yes</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Yes</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8304577"/>
                  </a:ext>
                </a:extLst>
              </a:tr>
              <a:tr h="125730">
                <a:tc vMerge="1">
                  <a:txBody>
                    <a:bodyPr/>
                    <a:lstStyle/>
                    <a:p>
                      <a:endParaRPr lang="en-US"/>
                    </a:p>
                  </a:txBody>
                  <a:tcPr/>
                </a:tc>
                <a:tc vMerge="1">
                  <a:txBody>
                    <a:bodyPr/>
                    <a:lstStyle/>
                    <a:p>
                      <a:endParaRPr lang="en-US"/>
                    </a:p>
                  </a:txBody>
                  <a:tcPr/>
                </a:tc>
                <a:tc>
                  <a:txBody>
                    <a:bodyPr/>
                    <a:lstStyle/>
                    <a:p>
                      <a:pPr algn="l" fontAlgn="ctr"/>
                      <a:r>
                        <a:rPr lang="en-US" sz="800" b="0" i="0" u="none" strike="noStrike" dirty="0" smtClean="0">
                          <a:solidFill>
                            <a:schemeClr val="tx2"/>
                          </a:solidFill>
                          <a:effectLst/>
                          <a:latin typeface="Calibri" panose="020F0502020204030204" pitchFamily="34" charset="0"/>
                        </a:rPr>
                        <a:t>Password less authentication</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smtClean="0">
                          <a:solidFill>
                            <a:schemeClr val="tx2"/>
                          </a:solidFill>
                          <a:effectLst/>
                          <a:latin typeface="Calibri" panose="020F0502020204030204" pitchFamily="34" charset="0"/>
                        </a:rPr>
                        <a:t>Windows Hello</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2"/>
                          </a:solidFill>
                          <a:effectLst/>
                          <a:uLnTx/>
                          <a:uFillTx/>
                          <a:latin typeface="Calibri" panose="020F0502020204030204" pitchFamily="34" charset="0"/>
                          <a:ea typeface="+mn-ea"/>
                          <a:cs typeface="+mn-cs"/>
                        </a:rPr>
                        <a:t>BHF</a:t>
                      </a:r>
                      <a:endParaRPr kumimoji="0" lang="en-US" sz="800" b="0" i="0" u="none" strike="noStrike" kern="1200" cap="none" spc="0" normalizeH="0" baseline="0" noProof="0" dirty="0">
                        <a:ln>
                          <a:noFill/>
                        </a:ln>
                        <a:solidFill>
                          <a:schemeClr val="tx2"/>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Yes</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Yes</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24472656"/>
                  </a:ext>
                </a:extLst>
              </a:tr>
              <a:tr h="125730">
                <a:tc vMerge="1">
                  <a:txBody>
                    <a:bodyPr/>
                    <a:lstStyle/>
                    <a:p>
                      <a:endParaRPr lang="en-US"/>
                    </a:p>
                  </a:txBody>
                  <a:tcPr/>
                </a:tc>
                <a:tc vMerge="1">
                  <a:txBody>
                    <a:bodyPr/>
                    <a:lstStyle/>
                    <a:p>
                      <a:endParaRPr lang="en-US"/>
                    </a:p>
                  </a:txBody>
                  <a:tcPr/>
                </a:tc>
                <a:tc>
                  <a:txBody>
                    <a:bodyPr/>
                    <a:lstStyle/>
                    <a:p>
                      <a:pPr algn="l" fontAlgn="ctr"/>
                      <a:r>
                        <a:rPr lang="en-US" sz="800" b="0" i="0" u="none" strike="noStrike" dirty="0">
                          <a:solidFill>
                            <a:srgbClr val="000000"/>
                          </a:solidFill>
                          <a:effectLst/>
                          <a:latin typeface="Calibri" panose="020F0502020204030204" pitchFamily="34" charset="0"/>
                        </a:rPr>
                        <a:t>Next Gen Packaging Solu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a:solidFill>
                            <a:srgbClr val="000000"/>
                          </a:solidFill>
                          <a:effectLst/>
                          <a:latin typeface="Calibri" panose="020F0502020204030204" pitchFamily="34" charset="0"/>
                        </a:rPr>
                        <a:t>MSIX form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Cognizant</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Yes</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Yes</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7226371"/>
                  </a:ext>
                </a:extLst>
              </a:tr>
              <a:tr h="125730">
                <a:tc vMerge="1">
                  <a:txBody>
                    <a:bodyPr/>
                    <a:lstStyle/>
                    <a:p>
                      <a:endParaRPr lang="en-US"/>
                    </a:p>
                  </a:txBody>
                  <a:tcPr/>
                </a:tc>
                <a:tc vMerge="1">
                  <a:txBody>
                    <a:bodyPr/>
                    <a:lstStyle/>
                    <a:p>
                      <a:endParaRPr lang="en-US"/>
                    </a:p>
                  </a:txBody>
                  <a:tcPr/>
                </a:tc>
                <a:tc>
                  <a:txBody>
                    <a:bodyPr/>
                    <a:lstStyle/>
                    <a:p>
                      <a:pPr algn="l" fontAlgn="ctr"/>
                      <a:r>
                        <a:rPr lang="en-US" sz="800" b="0" i="0" u="none" strike="noStrike" dirty="0" smtClean="0">
                          <a:solidFill>
                            <a:srgbClr val="000000"/>
                          </a:solidFill>
                          <a:effectLst/>
                          <a:latin typeface="Calibri" panose="020F0502020204030204" pitchFamily="34" charset="0"/>
                        </a:rPr>
                        <a:t>Vending machine / Digital lockers</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smtClean="0">
                          <a:solidFill>
                            <a:srgbClr val="000000"/>
                          </a:solidFill>
                          <a:effectLst/>
                          <a:latin typeface="Calibri" panose="020F0502020204030204" pitchFamily="34" charset="0"/>
                        </a:rPr>
                        <a:t>IVM machines</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BHF</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Yes</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Yes</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47741236"/>
                  </a:ext>
                </a:extLst>
              </a:tr>
              <a:tr h="125730">
                <a:tc vMerge="1">
                  <a:txBody>
                    <a:bodyPr/>
                    <a:lstStyle/>
                    <a:p>
                      <a:endParaRPr lang="en-US"/>
                    </a:p>
                  </a:txBody>
                  <a:tcPr/>
                </a:tc>
                <a:tc vMerge="1">
                  <a:txBody>
                    <a:bodyPr/>
                    <a:lstStyle/>
                    <a:p>
                      <a:endParaRPr lang="en-US"/>
                    </a:p>
                  </a:txBody>
                  <a:tcPr/>
                </a:tc>
                <a:tc>
                  <a:txBody>
                    <a:bodyPr/>
                    <a:lstStyle/>
                    <a:p>
                      <a:pPr algn="l" fontAlgn="ctr"/>
                      <a:r>
                        <a:rPr lang="en-US" sz="800" b="0" i="0" u="none" strike="noStrike" dirty="0">
                          <a:solidFill>
                            <a:srgbClr val="000000"/>
                          </a:solidFill>
                          <a:effectLst/>
                          <a:latin typeface="Calibri" panose="020F0502020204030204" pitchFamily="34" charset="0"/>
                        </a:rPr>
                        <a:t>UCC upgrad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smtClean="0">
                          <a:solidFill>
                            <a:srgbClr val="000000"/>
                          </a:solidFill>
                          <a:effectLst/>
                          <a:latin typeface="Calibri" panose="020F0502020204030204" pitchFamily="34" charset="0"/>
                        </a:rPr>
                        <a:t>MS </a:t>
                      </a:r>
                      <a:r>
                        <a:rPr lang="en-US" sz="800" b="0" i="0" u="none" strike="noStrike" dirty="0">
                          <a:solidFill>
                            <a:srgbClr val="000000"/>
                          </a:solidFill>
                          <a:effectLst/>
                          <a:latin typeface="Calibri" panose="020F0502020204030204" pitchFamily="34" charset="0"/>
                        </a:rPr>
                        <a:t>Team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BHF</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Yes</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Yes</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30949238"/>
                  </a:ext>
                </a:extLst>
              </a:tr>
              <a:tr h="125730">
                <a:tc vMerge="1">
                  <a:txBody>
                    <a:bodyPr/>
                    <a:lstStyle/>
                    <a:p>
                      <a:pPr algn="ctr"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marL="0" algn="l" defTabSz="1219170" rtl="0" eaLnBrk="1" fontAlgn="ctr" latinLnBrk="0" hangingPunct="1"/>
                      <a:endParaRPr lang="en-US" sz="1100" b="0" i="0" u="none" strike="noStrike" kern="1200" dirty="0">
                        <a:solidFill>
                          <a:srgbClr val="000000"/>
                        </a:solidFill>
                        <a:effectLst/>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smtClean="0">
                          <a:solidFill>
                            <a:srgbClr val="000000"/>
                          </a:solidFill>
                          <a:effectLst/>
                          <a:latin typeface="Calibri" panose="020F0502020204030204" pitchFamily="34" charset="0"/>
                        </a:rPr>
                        <a:t>Print Solution</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1" i="0" u="none" strike="noStrike" dirty="0" smtClean="0">
                          <a:solidFill>
                            <a:srgbClr val="000000"/>
                          </a:solidFill>
                          <a:effectLst/>
                          <a:latin typeface="Calibri" panose="020F0502020204030204" pitchFamily="34" charset="0"/>
                        </a:rPr>
                        <a:t>Ricoh Manage</a:t>
                      </a:r>
                      <a:r>
                        <a:rPr lang="en-US" sz="800" b="1" i="0" u="none" strike="noStrike" baseline="0" dirty="0" smtClean="0">
                          <a:solidFill>
                            <a:srgbClr val="000000"/>
                          </a:solidFill>
                          <a:effectLst/>
                          <a:latin typeface="Calibri" panose="020F0502020204030204" pitchFamily="34" charset="0"/>
                        </a:rPr>
                        <a:t> Print Solution (To be finalized)</a:t>
                      </a:r>
                      <a:endParaRPr lang="en-US" sz="8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Cogniza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Yes</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Yes</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9100525"/>
                  </a:ext>
                </a:extLst>
              </a:tr>
              <a:tr h="283708">
                <a:tc rowSpan="7">
                  <a:txBody>
                    <a:bodyPr/>
                    <a:lstStyle/>
                    <a:p>
                      <a:pPr algn="ctr" fontAlgn="ctr"/>
                      <a:r>
                        <a:rPr lang="en-US" sz="800" b="0" i="0" u="none" strike="noStrike" dirty="0">
                          <a:solidFill>
                            <a:srgbClr val="000000"/>
                          </a:solidFill>
                          <a:effectLst/>
                          <a:latin typeface="Calibri" panose="020F0502020204030204" pitchFamily="34" charset="0"/>
                        </a:rPr>
                        <a:t>Networ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a:txBody>
                    <a:bodyPr/>
                    <a:lstStyle/>
                    <a:p>
                      <a:pPr algn="ctr" fontAlgn="ctr"/>
                      <a:r>
                        <a:rPr lang="en-US" sz="800" b="0" i="0" u="none" strike="noStrike" dirty="0">
                          <a:solidFill>
                            <a:srgbClr val="000000"/>
                          </a:solidFill>
                          <a:effectLst/>
                          <a:latin typeface="Calibri" panose="020F0502020204030204" pitchFamily="34" charset="0"/>
                        </a:rPr>
                        <a:t>Network device support</a:t>
                      </a:r>
                      <a:br>
                        <a:rPr lang="en-US" sz="800" b="0" i="0" u="none" strike="noStrike" dirty="0">
                          <a:solidFill>
                            <a:srgbClr val="000000"/>
                          </a:solidFill>
                          <a:effectLst/>
                          <a:latin typeface="Calibri" panose="020F0502020204030204" pitchFamily="34" charset="0"/>
                        </a:rPr>
                      </a:br>
                      <a:r>
                        <a:rPr lang="en-US" sz="800" b="0" i="0" u="none" strike="noStrike" dirty="0">
                          <a:solidFill>
                            <a:srgbClr val="000000"/>
                          </a:solidFill>
                          <a:effectLst/>
                          <a:latin typeface="Calibri" panose="020F0502020204030204" pitchFamily="34" charset="0"/>
                        </a:rPr>
                        <a:t>Cloud &amp; third party connectivity suppor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a:solidFill>
                            <a:srgbClr val="000000"/>
                          </a:solidFill>
                          <a:effectLst/>
                          <a:latin typeface="Calibri" panose="020F0502020204030204" pitchFamily="34" charset="0"/>
                        </a:rPr>
                        <a:t>Network monitoring &amp; configuration manageme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a:solidFill>
                            <a:srgbClr val="000000"/>
                          </a:solidFill>
                          <a:effectLst/>
                          <a:latin typeface="Calibri" panose="020F0502020204030204" pitchFamily="34" charset="0"/>
                        </a:rPr>
                        <a:t>Solarwind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Cognizant</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Yes</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Yes</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77474158"/>
                  </a:ext>
                </a:extLst>
              </a:tr>
              <a:tr h="283708">
                <a:tc vMerge="1">
                  <a:txBody>
                    <a:bodyPr/>
                    <a:lstStyle/>
                    <a:p>
                      <a:pPr algn="ctr" fontAlgn="ctr"/>
                      <a:endParaRPr lang="en-US" sz="13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ctr"/>
                      <a:endParaRPr lang="en-US" sz="13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smtClean="0">
                          <a:solidFill>
                            <a:srgbClr val="000000"/>
                          </a:solidFill>
                          <a:effectLst/>
                          <a:latin typeface="Calibri" panose="020F0502020204030204" pitchFamily="34" charset="0"/>
                        </a:rPr>
                        <a:t>DC hosting for Network Devices</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smtClean="0">
                          <a:solidFill>
                            <a:srgbClr val="000000"/>
                          </a:solidFill>
                          <a:effectLst/>
                          <a:latin typeface="Calibri" panose="020F0502020204030204" pitchFamily="34" charset="0"/>
                        </a:rPr>
                        <a:t>ECX</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Cognizant</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Yes</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NA</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96073828"/>
                  </a:ext>
                </a:extLst>
              </a:tr>
              <a:tr h="283708">
                <a:tc vMerge="1">
                  <a:txBody>
                    <a:bodyPr/>
                    <a:lstStyle/>
                    <a:p>
                      <a:pPr algn="ctr" fontAlgn="ctr"/>
                      <a:endParaRPr lang="en-US" sz="13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ctr"/>
                      <a:endParaRPr lang="en-US" sz="13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smtClean="0">
                          <a:solidFill>
                            <a:srgbClr val="000000"/>
                          </a:solidFill>
                          <a:effectLst/>
                          <a:latin typeface="Calibri" panose="020F0502020204030204" pitchFamily="34" charset="0"/>
                        </a:rPr>
                        <a:t>Cloud connectivity / Network Service Management**</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smtClean="0">
                          <a:solidFill>
                            <a:srgbClr val="000000"/>
                          </a:solidFill>
                          <a:effectLst/>
                          <a:latin typeface="Calibri" panose="020F0502020204030204" pitchFamily="34" charset="0"/>
                        </a:rPr>
                        <a:t>ECX</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Cognizant</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Yes</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NA</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1707305"/>
                  </a:ext>
                </a:extLst>
              </a:tr>
              <a:tr h="283708">
                <a:tc vMerge="1">
                  <a:txBody>
                    <a:bodyPr/>
                    <a:lstStyle/>
                    <a:p>
                      <a:endParaRPr lang="en-US"/>
                    </a:p>
                  </a:txBody>
                  <a:tcPr/>
                </a:tc>
                <a:tc vMerge="1">
                  <a:txBody>
                    <a:bodyPr/>
                    <a:lstStyle/>
                    <a:p>
                      <a:endParaRPr lang="en-US"/>
                    </a:p>
                  </a:txBody>
                  <a:tcPr/>
                </a:tc>
                <a:tc>
                  <a:txBody>
                    <a:bodyPr/>
                    <a:lstStyle/>
                    <a:p>
                      <a:pPr algn="l" fontAlgn="ctr"/>
                      <a:r>
                        <a:rPr lang="en-US" sz="800" b="0" i="0" u="none" strike="noStrike" dirty="0" smtClean="0">
                          <a:solidFill>
                            <a:srgbClr val="000000"/>
                          </a:solidFill>
                          <a:effectLst/>
                          <a:latin typeface="Calibri" panose="020F0502020204030204" pitchFamily="34" charset="0"/>
                        </a:rPr>
                        <a:t>Network Device Management</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smtClean="0">
                          <a:solidFill>
                            <a:srgbClr val="000000"/>
                          </a:solidFill>
                          <a:effectLst/>
                          <a:latin typeface="Calibri" panose="020F0502020204030204" pitchFamily="34" charset="0"/>
                        </a:rPr>
                        <a:t>CISCO</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BHF</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Yes</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NA</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5998238"/>
                  </a:ext>
                </a:extLst>
              </a:tr>
              <a:tr h="283708">
                <a:tc vMerge="1">
                  <a:txBody>
                    <a:bodyPr/>
                    <a:lstStyle/>
                    <a:p>
                      <a:endParaRPr lang="en-US"/>
                    </a:p>
                  </a:txBody>
                  <a:tcPr/>
                </a:tc>
                <a:tc vMerge="1">
                  <a:txBody>
                    <a:bodyPr/>
                    <a:lstStyle/>
                    <a:p>
                      <a:endParaRPr lang="en-US"/>
                    </a:p>
                  </a:txBody>
                  <a:tcPr/>
                </a:tc>
                <a:tc>
                  <a:txBody>
                    <a:bodyPr/>
                    <a:lstStyle/>
                    <a:p>
                      <a:pPr algn="l" fontAlgn="ctr"/>
                      <a:r>
                        <a:rPr lang="en-US" sz="800" b="0" i="0" u="none" strike="noStrike" dirty="0" smtClean="0">
                          <a:solidFill>
                            <a:srgbClr val="000000"/>
                          </a:solidFill>
                          <a:effectLst/>
                          <a:latin typeface="Calibri" panose="020F0502020204030204" pitchFamily="34" charset="0"/>
                        </a:rPr>
                        <a:t>UPS devices support contract</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baseline="0" dirty="0" smtClean="0">
                          <a:solidFill>
                            <a:srgbClr val="000000"/>
                          </a:solidFill>
                          <a:effectLst/>
                          <a:latin typeface="Calibri" panose="020F0502020204030204" pitchFamily="34" charset="0"/>
                        </a:rPr>
                        <a:t>APC</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BHF</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Yes</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NA</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44309983"/>
                  </a:ext>
                </a:extLst>
              </a:tr>
              <a:tr h="283708">
                <a:tc vMerge="1">
                  <a:txBody>
                    <a:bodyPr/>
                    <a:lstStyle/>
                    <a:p>
                      <a:endParaRPr lang="en-US"/>
                    </a:p>
                  </a:txBody>
                  <a:tcPr/>
                </a:tc>
                <a:tc vMerge="1">
                  <a:txBody>
                    <a:bodyPr/>
                    <a:lstStyle/>
                    <a:p>
                      <a:endParaRPr lang="en-US"/>
                    </a:p>
                  </a:txBody>
                  <a:tcPr/>
                </a:tc>
                <a:tc>
                  <a:txBody>
                    <a:bodyPr/>
                    <a:lstStyle/>
                    <a:p>
                      <a:pPr algn="l" fontAlgn="ctr"/>
                      <a:r>
                        <a:rPr lang="en-US" sz="800" b="0" i="0" u="none" strike="noStrike" dirty="0" smtClean="0">
                          <a:solidFill>
                            <a:srgbClr val="000000"/>
                          </a:solidFill>
                          <a:effectLst/>
                          <a:latin typeface="Calibri" panose="020F0502020204030204" pitchFamily="34" charset="0"/>
                        </a:rPr>
                        <a:t>Private MPLS</a:t>
                      </a:r>
                      <a:r>
                        <a:rPr lang="en-US" sz="800" b="0" i="0" u="none" strike="noStrike" baseline="0" dirty="0" smtClean="0">
                          <a:solidFill>
                            <a:srgbClr val="000000"/>
                          </a:solidFill>
                          <a:effectLst/>
                          <a:latin typeface="Calibri" panose="020F0502020204030204" pitchFamily="34" charset="0"/>
                        </a:rPr>
                        <a:t> &amp; Internet circuits</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err="1" smtClean="0">
                          <a:solidFill>
                            <a:srgbClr val="000000"/>
                          </a:solidFill>
                          <a:effectLst/>
                          <a:latin typeface="Calibri" panose="020F0502020204030204" pitchFamily="34" charset="0"/>
                        </a:rPr>
                        <a:t>Centurylink</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BHF</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Yes</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NA</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6463366"/>
                  </a:ext>
                </a:extLst>
              </a:tr>
              <a:tr h="283708">
                <a:tc vMerge="1">
                  <a:txBody>
                    <a:bodyPr/>
                    <a:lstStyle/>
                    <a:p>
                      <a:pPr algn="ctr" fontAlgn="ctr"/>
                      <a:endParaRPr lang="en-US" sz="13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ctr"/>
                      <a:endParaRPr lang="en-US" sz="13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smtClean="0">
                          <a:solidFill>
                            <a:srgbClr val="000000"/>
                          </a:solidFill>
                          <a:effectLst/>
                          <a:latin typeface="Calibri" panose="020F0502020204030204" pitchFamily="34" charset="0"/>
                        </a:rPr>
                        <a:t>Audio &amp; Video Conferencing</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smtClean="0">
                          <a:solidFill>
                            <a:srgbClr val="000000"/>
                          </a:solidFill>
                          <a:effectLst/>
                          <a:latin typeface="Calibri" panose="020F0502020204030204" pitchFamily="34" charset="0"/>
                        </a:rPr>
                        <a:t>TBD (</a:t>
                      </a:r>
                      <a:r>
                        <a:rPr lang="en-US" sz="800" b="0" i="0" u="none" strike="noStrike" dirty="0" err="1" smtClean="0">
                          <a:solidFill>
                            <a:srgbClr val="000000"/>
                          </a:solidFill>
                          <a:effectLst/>
                          <a:latin typeface="Calibri" panose="020F0502020204030204" pitchFamily="34" charset="0"/>
                        </a:rPr>
                        <a:t>Ucaas</a:t>
                      </a:r>
                      <a:r>
                        <a:rPr lang="en-US" sz="800" b="0" i="0" u="none" strike="noStrike" dirty="0" smtClean="0">
                          <a:solidFill>
                            <a:srgbClr val="000000"/>
                          </a:solidFill>
                          <a:effectLst/>
                          <a:latin typeface="Calibri" panose="020F0502020204030204" pitchFamily="34" charset="0"/>
                        </a:rPr>
                        <a:t>)</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BHF</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Yes</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NA</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4002915"/>
                  </a:ext>
                </a:extLst>
              </a:tr>
              <a:tr h="283708">
                <a:tc>
                  <a:txBody>
                    <a:bodyPr/>
                    <a:lstStyle/>
                    <a:p>
                      <a:pPr algn="ctr" fontAlgn="ctr"/>
                      <a:r>
                        <a:rPr lang="en-US" sz="800" b="0" i="0" u="none" strike="noStrike" dirty="0" smtClean="0">
                          <a:solidFill>
                            <a:srgbClr val="000000"/>
                          </a:solidFill>
                          <a:effectLst/>
                          <a:latin typeface="Calibri" panose="020F0502020204030204" pitchFamily="34" charset="0"/>
                        </a:rPr>
                        <a:t>Cabling</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Cabling Vendor Management</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Cognizant</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NA</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NA</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79714915"/>
                  </a:ext>
                </a:extLst>
              </a:tr>
            </a:tbl>
          </a:graphicData>
        </a:graphic>
      </p:graphicFrame>
      <p:sp>
        <p:nvSpPr>
          <p:cNvPr id="2" name="Title 1"/>
          <p:cNvSpPr>
            <a:spLocks noGrp="1"/>
          </p:cNvSpPr>
          <p:nvPr>
            <p:ph type="title"/>
          </p:nvPr>
        </p:nvSpPr>
        <p:spPr>
          <a:xfrm>
            <a:off x="295874" y="112007"/>
            <a:ext cx="8385048" cy="795528"/>
          </a:xfrm>
        </p:spPr>
        <p:txBody>
          <a:bodyPr/>
          <a:lstStyle/>
          <a:p>
            <a:r>
              <a:rPr lang="en-US" dirty="0"/>
              <a:t>FRM </a:t>
            </a:r>
            <a:r>
              <a:rPr lang="en-US" dirty="0" smtClean="0"/>
              <a:t>Summary (2/3)</a:t>
            </a:r>
            <a:endParaRPr lang="en-US" dirty="0"/>
          </a:p>
        </p:txBody>
      </p:sp>
      <p:sp>
        <p:nvSpPr>
          <p:cNvPr id="4" name="Slide Number Placeholder 3"/>
          <p:cNvSpPr>
            <a:spLocks noGrp="1"/>
          </p:cNvSpPr>
          <p:nvPr>
            <p:ph type="sldNum" sz="quarter" idx="12"/>
          </p:nvPr>
        </p:nvSpPr>
        <p:spPr/>
        <p:txBody>
          <a:bodyPr/>
          <a:lstStyle/>
          <a:p>
            <a:fld id="{2EFEF571-C9B4-4D92-A7F7-315B894862A8}" type="slidenum">
              <a:rPr lang="en-US" smtClean="0"/>
              <a:pPr/>
              <a:t>20</a:t>
            </a:fld>
            <a:endParaRPr lang="en-US" dirty="0"/>
          </a:p>
        </p:txBody>
      </p:sp>
      <p:sp>
        <p:nvSpPr>
          <p:cNvPr id="9" name="TextBox 8"/>
          <p:cNvSpPr txBox="1"/>
          <p:nvPr/>
        </p:nvSpPr>
        <p:spPr>
          <a:xfrm>
            <a:off x="1638092" y="4792930"/>
            <a:ext cx="4767331" cy="138499"/>
          </a:xfrm>
          <a:prstGeom prst="rect">
            <a:avLst/>
          </a:prstGeom>
          <a:ln>
            <a:solidFill>
              <a:schemeClr val="tx2"/>
            </a:solidFill>
          </a:ln>
        </p:spPr>
        <p:txBody>
          <a:bodyPr wrap="none" lIns="0" tIns="0" rIns="0" bIns="0" rtlCol="0">
            <a:spAutoFit/>
          </a:bodyPr>
          <a:lstStyle/>
          <a:p>
            <a:pPr algn="l"/>
            <a:r>
              <a:rPr lang="en-US" sz="900" dirty="0">
                <a:solidFill>
                  <a:schemeClr val="tx2"/>
                </a:solidFill>
              </a:rPr>
              <a:t>FRM – Financial Responsibility Matrix | MS – Managed Services | PS – Professional Services</a:t>
            </a:r>
          </a:p>
        </p:txBody>
      </p:sp>
      <p:sp>
        <p:nvSpPr>
          <p:cNvPr id="8" name="Footer Placeholder 2"/>
          <p:cNvSpPr>
            <a:spLocks noGrp="1"/>
          </p:cNvSpPr>
          <p:nvPr>
            <p:ph type="ftr" sz="quarter" idx="11"/>
          </p:nvPr>
        </p:nvSpPr>
        <p:spPr>
          <a:xfrm>
            <a:off x="640080" y="4800600"/>
            <a:ext cx="4572000" cy="155448"/>
          </a:xfrm>
        </p:spPr>
        <p:txBody>
          <a:bodyPr/>
          <a:lstStyle/>
          <a:p>
            <a:pPr defTabSz="685800">
              <a:defRPr/>
            </a:pPr>
            <a:r>
              <a:rPr lang="en-US" sz="750" dirty="0">
                <a:solidFill>
                  <a:srgbClr val="0033A0"/>
                </a:solidFill>
                <a:latin typeface="Arial" panose="020B0604020202020204"/>
                <a:cs typeface="+mn-cs"/>
              </a:rPr>
              <a:t>© 2020 Cognizant</a:t>
            </a:r>
          </a:p>
        </p:txBody>
      </p:sp>
    </p:spTree>
    <p:extLst>
      <p:ext uri="{BB962C8B-B14F-4D97-AF65-F5344CB8AC3E}">
        <p14:creationId xmlns:p14="http://schemas.microsoft.com/office/powerpoint/2010/main" val="126311902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3834312754"/>
              </p:ext>
            </p:extLst>
          </p:nvPr>
        </p:nvGraphicFramePr>
        <p:xfrm>
          <a:off x="363329" y="2119296"/>
          <a:ext cx="5693164" cy="2584293"/>
        </p:xfrm>
        <a:graphic>
          <a:graphicData uri="http://schemas.openxmlformats.org/drawingml/2006/table">
            <a:tbl>
              <a:tblPr/>
              <a:tblGrid>
                <a:gridCol w="520364">
                  <a:extLst>
                    <a:ext uri="{9D8B030D-6E8A-4147-A177-3AD203B41FA5}">
                      <a16:colId xmlns:a16="http://schemas.microsoft.com/office/drawing/2014/main" val="3550829181"/>
                    </a:ext>
                  </a:extLst>
                </a:gridCol>
                <a:gridCol w="1256660">
                  <a:extLst>
                    <a:ext uri="{9D8B030D-6E8A-4147-A177-3AD203B41FA5}">
                      <a16:colId xmlns:a16="http://schemas.microsoft.com/office/drawing/2014/main" val="1814949713"/>
                    </a:ext>
                  </a:extLst>
                </a:gridCol>
                <a:gridCol w="2118622">
                  <a:extLst>
                    <a:ext uri="{9D8B030D-6E8A-4147-A177-3AD203B41FA5}">
                      <a16:colId xmlns:a16="http://schemas.microsoft.com/office/drawing/2014/main" val="1171294716"/>
                    </a:ext>
                  </a:extLst>
                </a:gridCol>
                <a:gridCol w="707457">
                  <a:extLst>
                    <a:ext uri="{9D8B030D-6E8A-4147-A177-3AD203B41FA5}">
                      <a16:colId xmlns:a16="http://schemas.microsoft.com/office/drawing/2014/main" val="3997670388"/>
                    </a:ext>
                  </a:extLst>
                </a:gridCol>
                <a:gridCol w="642486">
                  <a:extLst>
                    <a:ext uri="{9D8B030D-6E8A-4147-A177-3AD203B41FA5}">
                      <a16:colId xmlns:a16="http://schemas.microsoft.com/office/drawing/2014/main" val="971819183"/>
                    </a:ext>
                  </a:extLst>
                </a:gridCol>
                <a:gridCol w="447575">
                  <a:extLst>
                    <a:ext uri="{9D8B030D-6E8A-4147-A177-3AD203B41FA5}">
                      <a16:colId xmlns:a16="http://schemas.microsoft.com/office/drawing/2014/main" val="2010112759"/>
                    </a:ext>
                  </a:extLst>
                </a:gridCol>
              </a:tblGrid>
              <a:tr h="228771">
                <a:tc rowSpan="2">
                  <a:txBody>
                    <a:bodyPr/>
                    <a:lstStyle/>
                    <a:p>
                      <a:pPr algn="ctr" fontAlgn="ctr"/>
                      <a:r>
                        <a:rPr lang="en-US" sz="900" b="1" i="0" u="none" strike="noStrike" dirty="0">
                          <a:solidFill>
                            <a:schemeClr val="bg1"/>
                          </a:solidFill>
                          <a:effectLst/>
                          <a:latin typeface="Calibri" panose="020F0502020204030204" pitchFamily="34" charset="0"/>
                        </a:rPr>
                        <a:t>Tow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rowSpan="2">
                  <a:txBody>
                    <a:bodyPr/>
                    <a:lstStyle/>
                    <a:p>
                      <a:pPr algn="ctr" fontAlgn="ctr"/>
                      <a:r>
                        <a:rPr lang="en-US" sz="900" b="1" i="0" u="none" strike="noStrike" dirty="0">
                          <a:solidFill>
                            <a:schemeClr val="bg1"/>
                          </a:solidFill>
                          <a:effectLst/>
                          <a:latin typeface="Calibri" panose="020F0502020204030204" pitchFamily="34" charset="0"/>
                        </a:rPr>
                        <a:t>Steady State Suppor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a:txBody>
                    <a:bodyPr/>
                    <a:lstStyle/>
                    <a:p>
                      <a:pPr algn="ctr" fontAlgn="ctr"/>
                      <a:r>
                        <a:rPr lang="en-US" sz="900" b="1" i="0" u="none" strike="noStrike" dirty="0">
                          <a:solidFill>
                            <a:schemeClr val="bg1"/>
                          </a:solidFill>
                          <a:effectLst/>
                          <a:latin typeface="Calibri" panose="020F0502020204030204" pitchFamily="34" charset="0"/>
                        </a:rPr>
                        <a:t>Transforma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rowSpan="2" gridSpan="3">
                  <a:txBody>
                    <a:bodyPr/>
                    <a:lstStyle/>
                    <a:p>
                      <a:pPr algn="ctr" fontAlgn="ctr"/>
                      <a:r>
                        <a:rPr lang="en-US" sz="900" b="1" i="0" u="none" strike="noStrike" dirty="0" smtClean="0">
                          <a:solidFill>
                            <a:schemeClr val="bg1"/>
                          </a:solidFill>
                          <a:effectLst/>
                          <a:latin typeface="Calibri" panose="020F0502020204030204" pitchFamily="34" charset="0"/>
                        </a:rPr>
                        <a:t>Price</a:t>
                      </a:r>
                      <a:r>
                        <a:rPr lang="en-US" sz="900" b="1" i="0" u="none" strike="noStrike" baseline="0" dirty="0" smtClean="0">
                          <a:solidFill>
                            <a:schemeClr val="bg1"/>
                          </a:solidFill>
                          <a:effectLst/>
                          <a:latin typeface="Calibri" panose="020F0502020204030204" pitchFamily="34" charset="0"/>
                        </a:rPr>
                        <a:t> included in the proposal</a:t>
                      </a:r>
                      <a:endParaRPr lang="en-US" sz="9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rowSpan="2" hMerge="1">
                  <a:txBody>
                    <a:bodyPr/>
                    <a:lstStyle/>
                    <a:p>
                      <a:pPr algn="ctr" fontAlgn="ctr"/>
                      <a:endParaRPr lang="en-US" sz="13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rowSpan="2" hMerge="1">
                  <a:txBody>
                    <a:bodyPr/>
                    <a:lstStyle/>
                    <a:p>
                      <a:pPr algn="ctr" fontAlgn="ctr"/>
                      <a:endParaRPr lang="en-US" sz="13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3436569827"/>
                  </a:ext>
                </a:extLst>
              </a:tr>
              <a:tr h="184783">
                <a:tc vMerge="1">
                  <a:txBody>
                    <a:bodyPr/>
                    <a:lstStyle/>
                    <a:p>
                      <a:endParaRPr lang="en-US"/>
                    </a:p>
                  </a:txBody>
                  <a:tcPr/>
                </a:tc>
                <a:tc vMerge="1">
                  <a:txBody>
                    <a:bodyPr/>
                    <a:lstStyle/>
                    <a:p>
                      <a:endParaRPr lang="en-US"/>
                    </a:p>
                  </a:txBody>
                  <a:tcPr/>
                </a:tc>
                <a:tc>
                  <a:txBody>
                    <a:bodyPr/>
                    <a:lstStyle/>
                    <a:p>
                      <a:pPr algn="ctr" fontAlgn="ctr"/>
                      <a:r>
                        <a:rPr lang="en-US" sz="900" b="1" i="0" u="none" strike="noStrike" dirty="0" smtClean="0">
                          <a:solidFill>
                            <a:schemeClr val="bg1"/>
                          </a:solidFill>
                          <a:effectLst/>
                          <a:latin typeface="Calibri" panose="020F0502020204030204" pitchFamily="34" charset="0"/>
                        </a:rPr>
                        <a:t>Function</a:t>
                      </a:r>
                      <a:endParaRPr lang="en-US" sz="9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gridSpan="3" vMerge="1">
                  <a:txBody>
                    <a:bodyPr/>
                    <a:lstStyle/>
                    <a:p>
                      <a:endParaRPr lang="en-US"/>
                    </a:p>
                  </a:txBody>
                  <a:tcPr/>
                </a:tc>
                <a:tc hMerge="1"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67750036"/>
                  </a:ext>
                </a:extLst>
              </a:tr>
              <a:tr h="184783">
                <a:tc>
                  <a:txBody>
                    <a:bodyPr/>
                    <a:lstStyle/>
                    <a:p>
                      <a:pPr algn="ctr" fontAlgn="ctr"/>
                      <a:endParaRPr lang="en-US" sz="9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9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9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3">
                  <a:txBody>
                    <a:bodyPr/>
                    <a:lstStyle/>
                    <a:p>
                      <a:pPr algn="l" fontAlgn="ctr"/>
                      <a:r>
                        <a:rPr lang="en-US" sz="900" b="1" i="0" u="none" strike="noStrike" dirty="0" smtClean="0">
                          <a:solidFill>
                            <a:schemeClr val="tx2"/>
                          </a:solidFill>
                          <a:effectLst/>
                          <a:latin typeface="Calibri" panose="020F0502020204030204" pitchFamily="34" charset="0"/>
                        </a:rPr>
                        <a:t>        FRM                  MS            PS                    </a:t>
                      </a:r>
                      <a:endParaRPr lang="en-US" sz="900" b="1"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hMerge="1">
                  <a:txBody>
                    <a:bodyPr/>
                    <a:lstStyle/>
                    <a:p>
                      <a:endParaRPr lang="en-US"/>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3164907139"/>
                  </a:ext>
                </a:extLst>
              </a:tr>
              <a:tr h="283708">
                <a:tc rowSpan="5">
                  <a:txBody>
                    <a:bodyPr/>
                    <a:lstStyle/>
                    <a:p>
                      <a:pPr algn="ctr" fontAlgn="ctr"/>
                      <a:r>
                        <a:rPr lang="en-US" sz="800" b="0" i="0" u="none" strike="noStrike" dirty="0" smtClean="0">
                          <a:solidFill>
                            <a:srgbClr val="000000"/>
                          </a:solidFill>
                          <a:effectLst/>
                          <a:latin typeface="Calibri" panose="020F0502020204030204" pitchFamily="34" charset="0"/>
                        </a:rPr>
                        <a:t>Security</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fontAlgn="ctr"/>
                      <a:r>
                        <a:rPr lang="en-US" sz="800" b="0" i="0" u="none" strike="noStrike" dirty="0" err="1" smtClean="0">
                          <a:solidFill>
                            <a:srgbClr val="000000"/>
                          </a:solidFill>
                          <a:effectLst/>
                          <a:latin typeface="Calibri" panose="020F0502020204030204" pitchFamily="34" charset="0"/>
                        </a:rPr>
                        <a:t>SecOps</a:t>
                      </a:r>
                      <a:r>
                        <a:rPr lang="en-US" sz="800" b="0" i="0" u="none" strike="noStrike" dirty="0" smtClean="0">
                          <a:solidFill>
                            <a:srgbClr val="000000"/>
                          </a:solidFill>
                          <a:effectLst/>
                          <a:latin typeface="Calibri" panose="020F0502020204030204" pitchFamily="34" charset="0"/>
                        </a:rPr>
                        <a:t> and monitoring</a:t>
                      </a:r>
                      <a:br>
                        <a:rPr lang="en-US" sz="800" b="0" i="0" u="none" strike="noStrike" dirty="0" smtClean="0">
                          <a:solidFill>
                            <a:srgbClr val="000000"/>
                          </a:solidFill>
                          <a:effectLst/>
                          <a:latin typeface="Calibri" panose="020F0502020204030204" pitchFamily="34" charset="0"/>
                        </a:rPr>
                      </a:br>
                      <a:r>
                        <a:rPr lang="en-US" sz="800" b="0" i="0" u="none" strike="noStrike" dirty="0" smtClean="0">
                          <a:solidFill>
                            <a:srgbClr val="000000"/>
                          </a:solidFill>
                          <a:effectLst/>
                          <a:latin typeface="Calibri" panose="020F0502020204030204" pitchFamily="34" charset="0"/>
                        </a:rPr>
                        <a:t>Vulnerability Mgmt.</a:t>
                      </a:r>
                      <a:br>
                        <a:rPr lang="en-US" sz="800" b="0" i="0" u="none" strike="noStrike" dirty="0" smtClean="0">
                          <a:solidFill>
                            <a:srgbClr val="000000"/>
                          </a:solidFill>
                          <a:effectLst/>
                          <a:latin typeface="Calibri" panose="020F0502020204030204" pitchFamily="34" charset="0"/>
                        </a:rPr>
                      </a:br>
                      <a:r>
                        <a:rPr lang="en-US" sz="800" b="0" i="0" u="none" strike="noStrike" dirty="0" smtClean="0">
                          <a:solidFill>
                            <a:srgbClr val="000000"/>
                          </a:solidFill>
                          <a:effectLst/>
                          <a:latin typeface="Calibri" panose="020F0502020204030204" pitchFamily="34" charset="0"/>
                        </a:rPr>
                        <a:t>Penetration Testing</a:t>
                      </a:r>
                      <a:br>
                        <a:rPr lang="en-US" sz="800" b="0" i="0" u="none" strike="noStrike" dirty="0" smtClean="0">
                          <a:solidFill>
                            <a:srgbClr val="000000"/>
                          </a:solidFill>
                          <a:effectLst/>
                          <a:latin typeface="Calibri" panose="020F0502020204030204" pitchFamily="34" charset="0"/>
                        </a:rPr>
                      </a:br>
                      <a:r>
                        <a:rPr lang="en-US" sz="800" b="0" i="0" u="none" strike="noStrike" dirty="0" smtClean="0">
                          <a:solidFill>
                            <a:srgbClr val="000000"/>
                          </a:solidFill>
                          <a:effectLst/>
                          <a:latin typeface="Calibri" panose="020F0502020204030204" pitchFamily="34" charset="0"/>
                        </a:rPr>
                        <a:t>Compliance</a:t>
                      </a:r>
                      <a:br>
                        <a:rPr lang="en-US" sz="800" b="0" i="0" u="none" strike="noStrike" dirty="0" smtClean="0">
                          <a:solidFill>
                            <a:srgbClr val="000000"/>
                          </a:solidFill>
                          <a:effectLst/>
                          <a:latin typeface="Calibri" panose="020F0502020204030204" pitchFamily="34" charset="0"/>
                        </a:rPr>
                      </a:br>
                      <a:r>
                        <a:rPr lang="en-US" sz="800" b="0" i="0" u="none" strike="noStrike" dirty="0" smtClean="0">
                          <a:solidFill>
                            <a:srgbClr val="000000"/>
                          </a:solidFill>
                          <a:effectLst/>
                          <a:latin typeface="Calibri" panose="020F0502020204030204" pitchFamily="34" charset="0"/>
                        </a:rPr>
                        <a:t>Data Security</a:t>
                      </a:r>
                      <a:br>
                        <a:rPr lang="en-US" sz="800" b="0" i="0" u="none" strike="noStrike" dirty="0" smtClean="0">
                          <a:solidFill>
                            <a:srgbClr val="000000"/>
                          </a:solidFill>
                          <a:effectLst/>
                          <a:latin typeface="Calibri" panose="020F0502020204030204" pitchFamily="34" charset="0"/>
                        </a:rPr>
                      </a:br>
                      <a:r>
                        <a:rPr lang="en-US" sz="800" b="0" i="0" u="none" strike="noStrike" dirty="0" smtClean="0">
                          <a:solidFill>
                            <a:srgbClr val="000000"/>
                          </a:solidFill>
                          <a:effectLst/>
                          <a:latin typeface="Calibri" panose="020F0502020204030204" pitchFamily="34" charset="0"/>
                        </a:rPr>
                        <a:t>IAM</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smtClean="0">
                          <a:solidFill>
                            <a:srgbClr val="000000"/>
                          </a:solidFill>
                          <a:effectLst/>
                          <a:latin typeface="Calibri" panose="020F0502020204030204" pitchFamily="34" charset="0"/>
                        </a:rPr>
                        <a:t>Cyber Ark Tool</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Cognizant</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Yes</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NA</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77474158"/>
                  </a:ext>
                </a:extLst>
              </a:tr>
              <a:tr h="283708">
                <a:tc vMerge="1">
                  <a:txBody>
                    <a:bodyPr/>
                    <a:lstStyle/>
                    <a:p>
                      <a:pPr algn="ctr" fontAlgn="ctr"/>
                      <a:endParaRPr lang="en-US" sz="13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ctr"/>
                      <a:endParaRPr lang="en-US" sz="13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err="1" smtClean="0">
                          <a:solidFill>
                            <a:srgbClr val="000000"/>
                          </a:solidFill>
                          <a:effectLst/>
                          <a:latin typeface="Calibri" panose="020F0502020204030204" pitchFamily="34" charset="0"/>
                        </a:rPr>
                        <a:t>Proofpoint</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Cognizant</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Yes</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Yes</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96073828"/>
                  </a:ext>
                </a:extLst>
              </a:tr>
              <a:tr h="283708">
                <a:tc vMerge="1">
                  <a:txBody>
                    <a:bodyPr/>
                    <a:lstStyle/>
                    <a:p>
                      <a:pPr algn="ctr" fontAlgn="ctr"/>
                      <a:endParaRPr lang="en-US" sz="13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ctr"/>
                      <a:endParaRPr lang="en-US" sz="13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smtClean="0">
                          <a:solidFill>
                            <a:srgbClr val="000000"/>
                          </a:solidFill>
                          <a:effectLst/>
                          <a:latin typeface="Calibri" panose="020F0502020204030204" pitchFamily="34" charset="0"/>
                        </a:rPr>
                        <a:t>Dark</a:t>
                      </a:r>
                      <a:r>
                        <a:rPr lang="en-US" sz="800" b="0" i="0" u="none" strike="noStrike" baseline="0" dirty="0" smtClean="0">
                          <a:solidFill>
                            <a:srgbClr val="000000"/>
                          </a:solidFill>
                          <a:effectLst/>
                          <a:latin typeface="Calibri" panose="020F0502020204030204" pitchFamily="34" charset="0"/>
                        </a:rPr>
                        <a:t> Web Monitoring</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NA</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Yes</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NA</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1707305"/>
                  </a:ext>
                </a:extLst>
              </a:tr>
              <a:tr h="283708">
                <a:tc vMerge="1">
                  <a:txBody>
                    <a:bodyPr/>
                    <a:lstStyle/>
                    <a:p>
                      <a:endParaRPr lang="en-US"/>
                    </a:p>
                  </a:txBody>
                  <a:tcPr/>
                </a:tc>
                <a:tc vMerge="1">
                  <a:txBody>
                    <a:bodyPr/>
                    <a:lstStyle/>
                    <a:p>
                      <a:endParaRPr lang="en-US"/>
                    </a:p>
                  </a:txBody>
                  <a:tcPr/>
                </a:tc>
                <a:tc>
                  <a:txBody>
                    <a:bodyPr/>
                    <a:lstStyle/>
                    <a:p>
                      <a:pPr algn="l" fontAlgn="ctr"/>
                      <a:r>
                        <a:rPr lang="en-US" sz="800" b="0" i="0" u="none" strike="noStrike" dirty="0" smtClean="0">
                          <a:solidFill>
                            <a:srgbClr val="000000"/>
                          </a:solidFill>
                          <a:effectLst/>
                          <a:latin typeface="Calibri" panose="020F0502020204030204" pitchFamily="34" charset="0"/>
                        </a:rPr>
                        <a:t>Symantec DLP</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Cognizant</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Yes</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NA</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5998238"/>
                  </a:ext>
                </a:extLst>
              </a:tr>
              <a:tr h="283708">
                <a:tc vMerge="1">
                  <a:txBody>
                    <a:bodyPr/>
                    <a:lstStyle/>
                    <a:p>
                      <a:endParaRPr lang="en-US"/>
                    </a:p>
                  </a:txBody>
                  <a:tcPr/>
                </a:tc>
                <a:tc vMerge="1">
                  <a:txBody>
                    <a:bodyPr/>
                    <a:lstStyle/>
                    <a:p>
                      <a:endParaRPr lang="en-US"/>
                    </a:p>
                  </a:txBody>
                  <a:tcPr/>
                </a:tc>
                <a:tc>
                  <a:txBody>
                    <a:bodyPr/>
                    <a:lstStyle/>
                    <a:p>
                      <a:pPr algn="l" fontAlgn="ctr"/>
                      <a:r>
                        <a:rPr lang="en-US" sz="800" b="0" i="0" u="none" strike="noStrike" dirty="0" smtClean="0">
                          <a:solidFill>
                            <a:srgbClr val="000000"/>
                          </a:solidFill>
                          <a:effectLst/>
                          <a:latin typeface="Calibri" panose="020F0502020204030204" pitchFamily="34" charset="0"/>
                        </a:rPr>
                        <a:t>Wombat</a:t>
                      </a:r>
                      <a:r>
                        <a:rPr lang="en-US" sz="800" b="0" i="0" u="none" strike="noStrike" baseline="0" dirty="0" smtClean="0">
                          <a:solidFill>
                            <a:srgbClr val="000000"/>
                          </a:solidFill>
                          <a:effectLst/>
                          <a:latin typeface="Calibri" panose="020F0502020204030204" pitchFamily="34" charset="0"/>
                        </a:rPr>
                        <a:t> (Proof Point)</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Cognizant</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Yes</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NA</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44309983"/>
                  </a:ext>
                </a:extLst>
              </a:tr>
              <a:tr h="283708">
                <a:tc>
                  <a:txBody>
                    <a:bodyPr/>
                    <a:lstStyle/>
                    <a:p>
                      <a:pPr algn="ctr" fontAlgn="ctr"/>
                      <a:r>
                        <a:rPr lang="en-US" sz="800" b="0" i="0" u="none" strike="noStrike" dirty="0" smtClean="0">
                          <a:solidFill>
                            <a:srgbClr val="000000"/>
                          </a:solidFill>
                          <a:effectLst/>
                          <a:latin typeface="Calibri" panose="020F0502020204030204" pitchFamily="34" charset="0"/>
                        </a:rPr>
                        <a:t>Network</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MPLS</a:t>
                      </a:r>
                      <a:r>
                        <a:rPr lang="en-US" sz="800" b="0" i="0" u="none" strike="noStrike" baseline="0" dirty="0" smtClean="0">
                          <a:solidFill>
                            <a:srgbClr val="000000"/>
                          </a:solidFill>
                          <a:effectLst/>
                          <a:latin typeface="Calibri" panose="020F0502020204030204" pitchFamily="34" charset="0"/>
                        </a:rPr>
                        <a:t> Connectivity</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smtClean="0">
                          <a:solidFill>
                            <a:srgbClr val="000000"/>
                          </a:solidFill>
                          <a:effectLst/>
                          <a:latin typeface="Calibri" panose="020F0502020204030204" pitchFamily="34" charset="0"/>
                        </a:rPr>
                        <a:t>Extending</a:t>
                      </a:r>
                      <a:r>
                        <a:rPr lang="en-US" sz="800" b="0" i="0" u="none" strike="noStrike" baseline="0" dirty="0" smtClean="0">
                          <a:solidFill>
                            <a:srgbClr val="000000"/>
                          </a:solidFill>
                          <a:effectLst/>
                          <a:latin typeface="Calibri" panose="020F0502020204030204" pitchFamily="34" charset="0"/>
                        </a:rPr>
                        <a:t> BHF Network to Offshore ODC</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Cognizant</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Yes</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Yes</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08247078"/>
                  </a:ext>
                </a:extLst>
              </a:tr>
              <a:tr h="283708">
                <a:tc>
                  <a:txBody>
                    <a:bodyPr/>
                    <a:lstStyle/>
                    <a:p>
                      <a:pPr algn="ctr" fontAlgn="ctr"/>
                      <a:r>
                        <a:rPr lang="en-US" sz="800" b="0" i="0" u="none" strike="noStrike" dirty="0" smtClean="0">
                          <a:solidFill>
                            <a:srgbClr val="000000"/>
                          </a:solidFill>
                          <a:effectLst/>
                          <a:latin typeface="Calibri" panose="020F0502020204030204" pitchFamily="34" charset="0"/>
                        </a:rPr>
                        <a:t>EUC</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Managed</a:t>
                      </a:r>
                      <a:r>
                        <a:rPr lang="en-US" sz="800" b="0" i="0" u="none" strike="noStrike" baseline="0" dirty="0" smtClean="0">
                          <a:solidFill>
                            <a:srgbClr val="000000"/>
                          </a:solidFill>
                          <a:effectLst/>
                          <a:latin typeface="Calibri" panose="020F0502020204030204" pitchFamily="34" charset="0"/>
                        </a:rPr>
                        <a:t> Print Services</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smtClean="0">
                          <a:solidFill>
                            <a:srgbClr val="000000"/>
                          </a:solidFill>
                          <a:effectLst/>
                          <a:latin typeface="Calibri" panose="020F0502020204030204" pitchFamily="34" charset="0"/>
                        </a:rPr>
                        <a:t>Ricoh Managed Print Solution</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Cognizant</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Yes</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Yes</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2603650"/>
                  </a:ext>
                </a:extLst>
              </a:tr>
            </a:tbl>
          </a:graphicData>
        </a:graphic>
      </p:graphicFrame>
      <p:sp>
        <p:nvSpPr>
          <p:cNvPr id="2" name="Title 1"/>
          <p:cNvSpPr>
            <a:spLocks noGrp="1"/>
          </p:cNvSpPr>
          <p:nvPr>
            <p:ph type="title"/>
          </p:nvPr>
        </p:nvSpPr>
        <p:spPr>
          <a:xfrm>
            <a:off x="295874" y="112007"/>
            <a:ext cx="8385048" cy="795528"/>
          </a:xfrm>
        </p:spPr>
        <p:txBody>
          <a:bodyPr/>
          <a:lstStyle/>
          <a:p>
            <a:r>
              <a:rPr lang="en-US" dirty="0"/>
              <a:t>FRM </a:t>
            </a:r>
            <a:r>
              <a:rPr lang="en-US" dirty="0" smtClean="0"/>
              <a:t>Summary (3/3)</a:t>
            </a:r>
            <a:endParaRPr lang="en-US" dirty="0"/>
          </a:p>
        </p:txBody>
      </p:sp>
      <p:sp>
        <p:nvSpPr>
          <p:cNvPr id="4" name="Slide Number Placeholder 3"/>
          <p:cNvSpPr>
            <a:spLocks noGrp="1"/>
          </p:cNvSpPr>
          <p:nvPr>
            <p:ph type="sldNum" sz="quarter" idx="12"/>
          </p:nvPr>
        </p:nvSpPr>
        <p:spPr/>
        <p:txBody>
          <a:bodyPr/>
          <a:lstStyle/>
          <a:p>
            <a:fld id="{2EFEF571-C9B4-4D92-A7F7-315B894862A8}" type="slidenum">
              <a:rPr lang="en-US" smtClean="0"/>
              <a:pPr/>
              <a:t>21</a:t>
            </a:fld>
            <a:endParaRPr lang="en-US" dirty="0"/>
          </a:p>
        </p:txBody>
      </p:sp>
      <p:sp>
        <p:nvSpPr>
          <p:cNvPr id="9" name="TextBox 8"/>
          <p:cNvSpPr txBox="1"/>
          <p:nvPr/>
        </p:nvSpPr>
        <p:spPr>
          <a:xfrm>
            <a:off x="1638092" y="4792930"/>
            <a:ext cx="4767331" cy="138499"/>
          </a:xfrm>
          <a:prstGeom prst="rect">
            <a:avLst/>
          </a:prstGeom>
          <a:ln>
            <a:solidFill>
              <a:schemeClr val="tx2"/>
            </a:solidFill>
          </a:ln>
        </p:spPr>
        <p:txBody>
          <a:bodyPr wrap="none" lIns="0" tIns="0" rIns="0" bIns="0" rtlCol="0">
            <a:spAutoFit/>
          </a:bodyPr>
          <a:lstStyle/>
          <a:p>
            <a:pPr algn="l"/>
            <a:r>
              <a:rPr lang="en-US" sz="900" dirty="0">
                <a:solidFill>
                  <a:schemeClr val="tx2"/>
                </a:solidFill>
              </a:rPr>
              <a:t>FRM – Financial Responsibility Matrix | MS – Managed Services | PS – Professional Services</a:t>
            </a:r>
          </a:p>
        </p:txBody>
      </p:sp>
      <p:sp>
        <p:nvSpPr>
          <p:cNvPr id="8" name="Footer Placeholder 2"/>
          <p:cNvSpPr>
            <a:spLocks noGrp="1"/>
          </p:cNvSpPr>
          <p:nvPr>
            <p:ph type="ftr" sz="quarter" idx="11"/>
          </p:nvPr>
        </p:nvSpPr>
        <p:spPr>
          <a:xfrm>
            <a:off x="640080" y="4800600"/>
            <a:ext cx="4572000" cy="155448"/>
          </a:xfrm>
        </p:spPr>
        <p:txBody>
          <a:bodyPr/>
          <a:lstStyle/>
          <a:p>
            <a:pPr defTabSz="685800">
              <a:defRPr/>
            </a:pPr>
            <a:r>
              <a:rPr lang="en-US" sz="750" dirty="0">
                <a:solidFill>
                  <a:srgbClr val="0033A0"/>
                </a:solidFill>
                <a:latin typeface="Arial" panose="020B0604020202020204"/>
                <a:cs typeface="+mn-cs"/>
              </a:rPr>
              <a:t>© 2020 Cognizant</a:t>
            </a:r>
          </a:p>
        </p:txBody>
      </p:sp>
      <p:graphicFrame>
        <p:nvGraphicFramePr>
          <p:cNvPr id="3" name="Table 2"/>
          <p:cNvGraphicFramePr>
            <a:graphicFrameLocks noGrp="1"/>
          </p:cNvGraphicFramePr>
          <p:nvPr>
            <p:extLst>
              <p:ext uri="{D42A27DB-BD31-4B8C-83A1-F6EECF244321}">
                <p14:modId xmlns:p14="http://schemas.microsoft.com/office/powerpoint/2010/main" val="368821727"/>
              </p:ext>
            </p:extLst>
          </p:nvPr>
        </p:nvGraphicFramePr>
        <p:xfrm>
          <a:off x="184118" y="758737"/>
          <a:ext cx="8496804" cy="931539"/>
        </p:xfrm>
        <a:graphic>
          <a:graphicData uri="http://schemas.openxmlformats.org/drawingml/2006/table">
            <a:tbl>
              <a:tblPr/>
              <a:tblGrid>
                <a:gridCol w="520364">
                  <a:extLst>
                    <a:ext uri="{9D8B030D-6E8A-4147-A177-3AD203B41FA5}">
                      <a16:colId xmlns:a16="http://schemas.microsoft.com/office/drawing/2014/main" val="1212590340"/>
                    </a:ext>
                  </a:extLst>
                </a:gridCol>
                <a:gridCol w="1256660">
                  <a:extLst>
                    <a:ext uri="{9D8B030D-6E8A-4147-A177-3AD203B41FA5}">
                      <a16:colId xmlns:a16="http://schemas.microsoft.com/office/drawing/2014/main" val="1435438578"/>
                    </a:ext>
                  </a:extLst>
                </a:gridCol>
                <a:gridCol w="2118622">
                  <a:extLst>
                    <a:ext uri="{9D8B030D-6E8A-4147-A177-3AD203B41FA5}">
                      <a16:colId xmlns:a16="http://schemas.microsoft.com/office/drawing/2014/main" val="3172510636"/>
                    </a:ext>
                  </a:extLst>
                </a:gridCol>
                <a:gridCol w="2803640">
                  <a:extLst>
                    <a:ext uri="{9D8B030D-6E8A-4147-A177-3AD203B41FA5}">
                      <a16:colId xmlns:a16="http://schemas.microsoft.com/office/drawing/2014/main" val="4171705435"/>
                    </a:ext>
                  </a:extLst>
                </a:gridCol>
                <a:gridCol w="707457">
                  <a:extLst>
                    <a:ext uri="{9D8B030D-6E8A-4147-A177-3AD203B41FA5}">
                      <a16:colId xmlns:a16="http://schemas.microsoft.com/office/drawing/2014/main" val="3554230744"/>
                    </a:ext>
                  </a:extLst>
                </a:gridCol>
                <a:gridCol w="642486">
                  <a:extLst>
                    <a:ext uri="{9D8B030D-6E8A-4147-A177-3AD203B41FA5}">
                      <a16:colId xmlns:a16="http://schemas.microsoft.com/office/drawing/2014/main" val="3078584210"/>
                    </a:ext>
                  </a:extLst>
                </a:gridCol>
                <a:gridCol w="447575">
                  <a:extLst>
                    <a:ext uri="{9D8B030D-6E8A-4147-A177-3AD203B41FA5}">
                      <a16:colId xmlns:a16="http://schemas.microsoft.com/office/drawing/2014/main" val="3226385437"/>
                    </a:ext>
                  </a:extLst>
                </a:gridCol>
              </a:tblGrid>
              <a:tr h="184783">
                <a:tc rowSpan="2">
                  <a:txBody>
                    <a:bodyPr/>
                    <a:lstStyle/>
                    <a:p>
                      <a:pPr algn="ctr" fontAlgn="ctr"/>
                      <a:r>
                        <a:rPr lang="en-US" sz="900" b="1" i="0" u="none" strike="noStrike" dirty="0">
                          <a:solidFill>
                            <a:schemeClr val="bg1"/>
                          </a:solidFill>
                          <a:effectLst/>
                          <a:latin typeface="Calibri" panose="020F0502020204030204" pitchFamily="34" charset="0"/>
                        </a:rPr>
                        <a:t>Tow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rowSpan="2">
                  <a:txBody>
                    <a:bodyPr/>
                    <a:lstStyle/>
                    <a:p>
                      <a:pPr algn="ctr" fontAlgn="ctr"/>
                      <a:r>
                        <a:rPr lang="en-US" sz="900" b="1" i="0" u="none" strike="noStrike" dirty="0">
                          <a:solidFill>
                            <a:schemeClr val="bg1"/>
                          </a:solidFill>
                          <a:effectLst/>
                          <a:latin typeface="Calibri" panose="020F0502020204030204" pitchFamily="34" charset="0"/>
                        </a:rPr>
                        <a:t>Steady State Suppor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gridSpan="2">
                  <a:txBody>
                    <a:bodyPr/>
                    <a:lstStyle/>
                    <a:p>
                      <a:pPr algn="ctr" fontAlgn="ctr"/>
                      <a:r>
                        <a:rPr lang="en-US" sz="900" b="1" i="0" u="none" strike="noStrike" dirty="0">
                          <a:solidFill>
                            <a:schemeClr val="bg1"/>
                          </a:solidFill>
                          <a:effectLst/>
                          <a:latin typeface="Calibri" panose="020F0502020204030204" pitchFamily="34" charset="0"/>
                        </a:rPr>
                        <a:t>Transforma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hMerge="1">
                  <a:txBody>
                    <a:bodyPr/>
                    <a:lstStyle/>
                    <a:p>
                      <a:endParaRPr lang="en-US"/>
                    </a:p>
                  </a:txBody>
                  <a:tcPr/>
                </a:tc>
                <a:tc rowSpan="2" gridSpan="3">
                  <a:txBody>
                    <a:bodyPr/>
                    <a:lstStyle/>
                    <a:p>
                      <a:pPr algn="ctr" fontAlgn="ctr"/>
                      <a:r>
                        <a:rPr lang="en-US" sz="900" b="1" i="0" u="none" strike="noStrike" dirty="0" smtClean="0">
                          <a:solidFill>
                            <a:schemeClr val="bg1"/>
                          </a:solidFill>
                          <a:effectLst/>
                          <a:latin typeface="Calibri" panose="020F0502020204030204" pitchFamily="34" charset="0"/>
                        </a:rPr>
                        <a:t>Price</a:t>
                      </a:r>
                      <a:r>
                        <a:rPr lang="en-US" sz="900" b="1" i="0" u="none" strike="noStrike" baseline="0" dirty="0" smtClean="0">
                          <a:solidFill>
                            <a:schemeClr val="bg1"/>
                          </a:solidFill>
                          <a:effectLst/>
                          <a:latin typeface="Calibri" panose="020F0502020204030204" pitchFamily="34" charset="0"/>
                        </a:rPr>
                        <a:t> included in the proposal</a:t>
                      </a:r>
                      <a:endParaRPr lang="en-US" sz="9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rowSpan="2" hMerge="1">
                  <a:txBody>
                    <a:bodyPr/>
                    <a:lstStyle/>
                    <a:p>
                      <a:pPr algn="ctr" fontAlgn="ctr"/>
                      <a:endParaRPr lang="en-US" sz="13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rowSpan="2" hMerge="1">
                  <a:txBody>
                    <a:bodyPr/>
                    <a:lstStyle/>
                    <a:p>
                      <a:pPr algn="ctr" fontAlgn="ctr"/>
                      <a:endParaRPr lang="en-US" sz="13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2111267571"/>
                  </a:ext>
                </a:extLst>
              </a:tr>
              <a:tr h="184783">
                <a:tc vMerge="1">
                  <a:txBody>
                    <a:bodyPr/>
                    <a:lstStyle/>
                    <a:p>
                      <a:endParaRPr lang="en-US"/>
                    </a:p>
                  </a:txBody>
                  <a:tcPr/>
                </a:tc>
                <a:tc vMerge="1">
                  <a:txBody>
                    <a:bodyPr/>
                    <a:lstStyle/>
                    <a:p>
                      <a:endParaRPr lang="en-US"/>
                    </a:p>
                  </a:txBody>
                  <a:tcPr/>
                </a:tc>
                <a:tc>
                  <a:txBody>
                    <a:bodyPr/>
                    <a:lstStyle/>
                    <a:p>
                      <a:pPr algn="ctr" fontAlgn="ctr"/>
                      <a:r>
                        <a:rPr lang="en-US" sz="900" b="1" i="0" u="none" strike="noStrike" dirty="0" smtClean="0">
                          <a:solidFill>
                            <a:schemeClr val="bg1"/>
                          </a:solidFill>
                          <a:effectLst/>
                          <a:latin typeface="Calibri" panose="020F0502020204030204" pitchFamily="34" charset="0"/>
                        </a:rPr>
                        <a:t>Function</a:t>
                      </a:r>
                      <a:endParaRPr lang="en-US" sz="9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a:txBody>
                    <a:bodyPr/>
                    <a:lstStyle/>
                    <a:p>
                      <a:pPr algn="ctr" fontAlgn="ctr"/>
                      <a:r>
                        <a:rPr lang="en-US" sz="900" b="1" i="0" u="none" strike="noStrike" dirty="0">
                          <a:solidFill>
                            <a:schemeClr val="bg1"/>
                          </a:solidFill>
                          <a:effectLst/>
                          <a:latin typeface="Calibri" panose="020F0502020204030204" pitchFamily="34" charset="0"/>
                        </a:rPr>
                        <a:t>Proposed Solu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gridSpan="3" vMerge="1">
                  <a:txBody>
                    <a:bodyPr/>
                    <a:lstStyle/>
                    <a:p>
                      <a:endParaRPr lang="en-US"/>
                    </a:p>
                  </a:txBody>
                  <a:tcPr/>
                </a:tc>
                <a:tc hMerge="1"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1279809858"/>
                  </a:ext>
                </a:extLst>
              </a:tr>
              <a:tr h="184783">
                <a:tc>
                  <a:txBody>
                    <a:bodyPr/>
                    <a:lstStyle/>
                    <a:p>
                      <a:pPr algn="ctr" fontAlgn="ctr"/>
                      <a:endParaRPr lang="en-US" sz="9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9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9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900" b="1" i="0" u="none" strike="noStrike" dirty="0">
                        <a:solidFill>
                          <a:schemeClr val="bg1"/>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3">
                  <a:txBody>
                    <a:bodyPr/>
                    <a:lstStyle/>
                    <a:p>
                      <a:pPr algn="l" fontAlgn="ctr"/>
                      <a:r>
                        <a:rPr lang="en-US" sz="900" b="1" i="0" u="none" strike="noStrike" dirty="0" smtClean="0">
                          <a:solidFill>
                            <a:schemeClr val="tx2"/>
                          </a:solidFill>
                          <a:effectLst/>
                          <a:latin typeface="Calibri" panose="020F0502020204030204" pitchFamily="34" charset="0"/>
                        </a:rPr>
                        <a:t>        FRM                  MS            PS                    </a:t>
                      </a:r>
                      <a:endParaRPr lang="en-US" sz="900" b="1"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tc hMerge="1">
                  <a:txBody>
                    <a:bodyPr/>
                    <a:lstStyle/>
                    <a:p>
                      <a:endParaRPr lang="en-US"/>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A0"/>
                    </a:solidFill>
                  </a:tcPr>
                </a:tc>
                <a:extLst>
                  <a:ext uri="{0D108BD9-81ED-4DB2-BD59-A6C34878D82A}">
                    <a16:rowId xmlns:a16="http://schemas.microsoft.com/office/drawing/2014/main" val="987991377"/>
                  </a:ext>
                </a:extLst>
              </a:tr>
              <a:tr h="125730">
                <a:tc>
                  <a:txBody>
                    <a:bodyPr/>
                    <a:lstStyle/>
                    <a:p>
                      <a:pPr algn="ctr" fontAlgn="ctr"/>
                      <a:r>
                        <a:rPr lang="en-US" sz="800" b="0" i="0" u="none" strike="noStrike" dirty="0" smtClean="0">
                          <a:solidFill>
                            <a:srgbClr val="000000"/>
                          </a:solidFill>
                          <a:effectLst/>
                          <a:latin typeface="Calibri" panose="020F0502020204030204" pitchFamily="34" charset="0"/>
                        </a:rPr>
                        <a:t>Network</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tcPr>
                </a:tc>
                <a:tc>
                  <a:txBody>
                    <a:bodyPr/>
                    <a:lstStyle/>
                    <a:p>
                      <a:pPr marL="0" algn="l" defTabSz="1219170" rtl="0" eaLnBrk="1" fontAlgn="ctr" latinLnBrk="0" hangingPunct="1"/>
                      <a:r>
                        <a:rPr lang="en-US" sz="800" b="0" i="0" u="none" strike="noStrike" kern="1200" dirty="0" smtClean="0">
                          <a:solidFill>
                            <a:srgbClr val="000000"/>
                          </a:solidFill>
                          <a:effectLst/>
                          <a:latin typeface="Calibri" panose="020F0502020204030204" pitchFamily="34" charset="0"/>
                          <a:ea typeface="+mn-ea"/>
                          <a:cs typeface="+mn-cs"/>
                        </a:rPr>
                        <a:t>Cabling</a:t>
                      </a:r>
                      <a:endParaRPr lang="en-US" sz="800" b="0" i="0" u="none" strike="noStrike" kern="1200" dirty="0">
                        <a:solidFill>
                          <a:srgbClr val="000000"/>
                        </a:solidFill>
                        <a:effectLst/>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tcPr>
                </a:tc>
                <a:tc>
                  <a:txBody>
                    <a:bodyPr/>
                    <a:lstStyle/>
                    <a:p>
                      <a:pPr algn="l" fontAlgn="ctr"/>
                      <a:r>
                        <a:rPr lang="en-US" sz="800" b="0" i="0" u="none" strike="noStrike" dirty="0" smtClean="0">
                          <a:solidFill>
                            <a:srgbClr val="000000"/>
                          </a:solidFill>
                          <a:effectLst/>
                          <a:latin typeface="Calibri" panose="020F0502020204030204" pitchFamily="34" charset="0"/>
                        </a:rPr>
                        <a:t>Cabling to be done with 3</a:t>
                      </a:r>
                      <a:r>
                        <a:rPr lang="en-US" sz="800" b="0" i="0" u="none" strike="noStrike" baseline="30000" dirty="0" smtClean="0">
                          <a:solidFill>
                            <a:srgbClr val="000000"/>
                          </a:solidFill>
                          <a:effectLst/>
                          <a:latin typeface="Calibri" panose="020F0502020204030204" pitchFamily="34" charset="0"/>
                        </a:rPr>
                        <a:t>rd</a:t>
                      </a:r>
                      <a:r>
                        <a:rPr lang="en-US" sz="800" b="0" i="0" u="none" strike="noStrike" dirty="0" smtClean="0">
                          <a:solidFill>
                            <a:srgbClr val="000000"/>
                          </a:solidFill>
                          <a:effectLst/>
                          <a:latin typeface="Calibri" panose="020F0502020204030204" pitchFamily="34" charset="0"/>
                        </a:rPr>
                        <a:t> party vendor support</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Cognizant</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NA</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NA</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12956462"/>
                  </a:ext>
                </a:extLst>
              </a:tr>
              <a:tr h="251460">
                <a:tc>
                  <a:txBody>
                    <a:bodyPr/>
                    <a:lstStyle/>
                    <a:p>
                      <a:pPr algn="ctr" fontAlgn="ctr"/>
                      <a:r>
                        <a:rPr lang="en-US" sz="800" b="0" i="0" u="none" strike="noStrike" dirty="0" smtClean="0">
                          <a:solidFill>
                            <a:srgbClr val="000000"/>
                          </a:solidFill>
                          <a:effectLst/>
                          <a:latin typeface="Calibri" panose="020F0502020204030204" pitchFamily="34" charset="0"/>
                        </a:rPr>
                        <a:t>Network</a:t>
                      </a:r>
                      <a:endParaRPr lang="en-US" sz="800" b="0"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en-US" sz="800" b="0" i="0" u="none" strike="noStrike" dirty="0" err="1" smtClean="0">
                          <a:solidFill>
                            <a:srgbClr val="000000"/>
                          </a:solidFill>
                          <a:effectLst/>
                          <a:latin typeface="Calibri" panose="020F0502020204030204" pitchFamily="34" charset="0"/>
                        </a:rPr>
                        <a:t>Inflobox</a:t>
                      </a:r>
                      <a:endParaRPr lang="en-US" sz="800" b="0"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800" b="0" i="0" u="none" strike="noStrike" dirty="0" err="1" smtClean="0">
                          <a:solidFill>
                            <a:srgbClr val="000000"/>
                          </a:solidFill>
                          <a:effectLst/>
                          <a:latin typeface="Calibri" panose="020F0502020204030204" pitchFamily="34" charset="0"/>
                        </a:rPr>
                        <a:t>Infoblox</a:t>
                      </a:r>
                      <a:r>
                        <a:rPr lang="en-US" sz="800" b="0" i="0" u="none" strike="noStrike" dirty="0" smtClean="0">
                          <a:solidFill>
                            <a:srgbClr val="000000"/>
                          </a:solidFill>
                          <a:effectLst/>
                          <a:latin typeface="Calibri" panose="020F0502020204030204" pitchFamily="34" charset="0"/>
                        </a:rPr>
                        <a:t> implementation</a:t>
                      </a:r>
                      <a:endParaRPr lang="en-US" sz="800" b="0" i="0" u="none" strike="noStrike" dirty="0">
                        <a:solidFill>
                          <a:srgbClr val="000000"/>
                        </a:solidFill>
                        <a:effectLst/>
                        <a:latin typeface="Calibri" panose="020F0502020204030204" pitchFamily="34" charset="0"/>
                      </a:endParaRPr>
                    </a:p>
                  </a:txBody>
                  <a:tcPr marL="0" marR="0" marT="0"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smtClean="0">
                          <a:solidFill>
                            <a:srgbClr val="000000"/>
                          </a:solidFill>
                          <a:effectLst/>
                          <a:latin typeface="Calibri" panose="020F0502020204030204" pitchFamily="34" charset="0"/>
                        </a:rPr>
                        <a:t>No capability within Cognizant and it is a vendor lead transformation</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rgbClr val="000000"/>
                          </a:solidFill>
                          <a:effectLst/>
                          <a:latin typeface="Calibri" panose="020F0502020204030204" pitchFamily="34" charset="0"/>
                        </a:rPr>
                        <a:t>Cognizant</a:t>
                      </a: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Yes</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smtClean="0">
                          <a:solidFill>
                            <a:schemeClr val="tx2"/>
                          </a:solidFill>
                          <a:effectLst/>
                          <a:latin typeface="Calibri" panose="020F0502020204030204" pitchFamily="34" charset="0"/>
                        </a:rPr>
                        <a:t>Yes</a:t>
                      </a:r>
                      <a:endParaRPr lang="en-US" sz="800" b="0" i="0" u="none" strike="noStrike" dirty="0">
                        <a:solidFill>
                          <a:schemeClr val="tx2"/>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05738932"/>
                  </a:ext>
                </a:extLst>
              </a:tr>
            </a:tbl>
          </a:graphicData>
        </a:graphic>
      </p:graphicFrame>
      <p:sp>
        <p:nvSpPr>
          <p:cNvPr id="5" name="TextBox 4"/>
          <p:cNvSpPr txBox="1"/>
          <p:nvPr/>
        </p:nvSpPr>
        <p:spPr>
          <a:xfrm>
            <a:off x="385100" y="1809026"/>
            <a:ext cx="3116238" cy="276999"/>
          </a:xfrm>
          <a:prstGeom prst="rect">
            <a:avLst/>
          </a:prstGeom>
        </p:spPr>
        <p:txBody>
          <a:bodyPr wrap="none" lIns="0" tIns="0" rIns="0" bIns="0" rtlCol="0">
            <a:spAutoFit/>
          </a:bodyPr>
          <a:lstStyle/>
          <a:p>
            <a:pPr algn="l"/>
            <a:r>
              <a:rPr lang="en-US" b="1" u="sng" dirty="0" smtClean="0">
                <a:solidFill>
                  <a:schemeClr val="tx2"/>
                </a:solidFill>
              </a:rPr>
              <a:t>Decision Pending from BHF </a:t>
            </a:r>
          </a:p>
        </p:txBody>
      </p:sp>
      <p:sp>
        <p:nvSpPr>
          <p:cNvPr id="6" name="TextBox 5"/>
          <p:cNvSpPr txBox="1"/>
          <p:nvPr/>
        </p:nvSpPr>
        <p:spPr>
          <a:xfrm>
            <a:off x="6282247" y="2225118"/>
            <a:ext cx="2607753" cy="2215991"/>
          </a:xfrm>
          <a:prstGeom prst="rect">
            <a:avLst/>
          </a:prstGeom>
          <a:solidFill>
            <a:srgbClr val="FFFF00"/>
          </a:solidFill>
          <a:ln>
            <a:solidFill>
              <a:schemeClr val="tx2"/>
            </a:solidFill>
          </a:ln>
        </p:spPr>
        <p:txBody>
          <a:bodyPr wrap="square" lIns="0" tIns="0" rIns="0" bIns="0" rtlCol="0">
            <a:spAutoFit/>
          </a:bodyPr>
          <a:lstStyle/>
          <a:p>
            <a:pPr marL="171450" indent="-171450" algn="just">
              <a:buFont typeface="Wingdings" panose="05000000000000000000" pitchFamily="2" charset="2"/>
              <a:buChar char="ü"/>
            </a:pPr>
            <a:r>
              <a:rPr lang="en-US" sz="1200" b="1" dirty="0" smtClean="0">
                <a:solidFill>
                  <a:schemeClr val="tx2"/>
                </a:solidFill>
              </a:rPr>
              <a:t>All existing tools KT has to be planned during KT Phase</a:t>
            </a:r>
          </a:p>
          <a:p>
            <a:pPr marL="171450" indent="-171450" algn="just">
              <a:buFont typeface="Wingdings" panose="05000000000000000000" pitchFamily="2" charset="2"/>
              <a:buChar char="ü"/>
            </a:pPr>
            <a:endParaRPr lang="en-US" sz="1200" b="1" dirty="0">
              <a:solidFill>
                <a:schemeClr val="tx2"/>
              </a:solidFill>
            </a:endParaRPr>
          </a:p>
          <a:p>
            <a:pPr marL="171450" indent="-171450" algn="just">
              <a:buFont typeface="Wingdings" panose="05000000000000000000" pitchFamily="2" charset="2"/>
              <a:buChar char="ü"/>
            </a:pPr>
            <a:r>
              <a:rPr lang="en-US" sz="1200" b="1" dirty="0" smtClean="0">
                <a:solidFill>
                  <a:schemeClr val="tx2"/>
                </a:solidFill>
              </a:rPr>
              <a:t>Cognizant recommended tools are green field implementation and Cognizant BAU team will be supporting the same in steady state</a:t>
            </a:r>
          </a:p>
          <a:p>
            <a:pPr marL="171450" indent="-171450" algn="just">
              <a:buFont typeface="Wingdings" panose="05000000000000000000" pitchFamily="2" charset="2"/>
              <a:buChar char="ü"/>
            </a:pPr>
            <a:endParaRPr lang="en-US" sz="1200" b="1" dirty="0">
              <a:solidFill>
                <a:schemeClr val="tx2"/>
              </a:solidFill>
            </a:endParaRPr>
          </a:p>
          <a:p>
            <a:pPr marL="171450" indent="-171450" algn="just">
              <a:buFont typeface="Wingdings" panose="05000000000000000000" pitchFamily="2" charset="2"/>
              <a:buChar char="ü"/>
            </a:pPr>
            <a:r>
              <a:rPr lang="en-US" sz="1200" b="1" dirty="0" smtClean="0">
                <a:solidFill>
                  <a:schemeClr val="tx2"/>
                </a:solidFill>
              </a:rPr>
              <a:t>Service Now, </a:t>
            </a:r>
            <a:r>
              <a:rPr lang="en-US" sz="1200" b="1" dirty="0" err="1" smtClean="0">
                <a:solidFill>
                  <a:schemeClr val="tx2"/>
                </a:solidFill>
              </a:rPr>
              <a:t>Moogsoft</a:t>
            </a:r>
            <a:r>
              <a:rPr lang="en-US" sz="1200" b="1" dirty="0" smtClean="0">
                <a:solidFill>
                  <a:schemeClr val="tx2"/>
                </a:solidFill>
              </a:rPr>
              <a:t>, </a:t>
            </a:r>
            <a:r>
              <a:rPr lang="en-US" sz="1200" b="1" dirty="0" err="1" smtClean="0">
                <a:solidFill>
                  <a:schemeClr val="tx2"/>
                </a:solidFill>
              </a:rPr>
              <a:t>Zabbix</a:t>
            </a:r>
            <a:r>
              <a:rPr lang="en-US" sz="1200" b="1" dirty="0" smtClean="0">
                <a:solidFill>
                  <a:schemeClr val="tx2"/>
                </a:solidFill>
              </a:rPr>
              <a:t>, </a:t>
            </a:r>
            <a:r>
              <a:rPr lang="en-US" sz="1200" b="1" dirty="0" err="1" smtClean="0">
                <a:solidFill>
                  <a:schemeClr val="tx2"/>
                </a:solidFill>
              </a:rPr>
              <a:t>Ansible</a:t>
            </a:r>
            <a:r>
              <a:rPr lang="en-US" sz="1200" b="1" dirty="0" smtClean="0">
                <a:solidFill>
                  <a:schemeClr val="tx2"/>
                </a:solidFill>
              </a:rPr>
              <a:t> are scope of HCL and no need to plan KT for these tools.</a:t>
            </a:r>
          </a:p>
        </p:txBody>
      </p:sp>
    </p:spTree>
    <p:extLst>
      <p:ext uri="{BB962C8B-B14F-4D97-AF65-F5344CB8AC3E}">
        <p14:creationId xmlns:p14="http://schemas.microsoft.com/office/powerpoint/2010/main" val="331434523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821799" y="1709543"/>
            <a:ext cx="6731000" cy="2437590"/>
          </a:xfrm>
        </p:spPr>
        <p:txBody>
          <a:bodyPr/>
          <a:lstStyle/>
          <a:p>
            <a:r>
              <a:rPr lang="en-US" dirty="0" smtClean="0"/>
              <a:t>Architecture – Reference View</a:t>
            </a:r>
            <a:r>
              <a:rPr lang="en-US" dirty="0"/>
              <a:t/>
            </a:r>
            <a:br>
              <a:rPr lang="en-US" dirty="0"/>
            </a:br>
            <a:r>
              <a:rPr lang="en-US" dirty="0"/>
              <a:t/>
            </a:r>
            <a:br>
              <a:rPr lang="en-US" dirty="0"/>
            </a:br>
            <a:endParaRPr lang="en-US" dirty="0"/>
          </a:p>
        </p:txBody>
      </p:sp>
      <p:sp>
        <p:nvSpPr>
          <p:cNvPr id="4" name="Slide Number"/>
          <p:cNvSpPr txBox="1"/>
          <p:nvPr/>
        </p:nvSpPr>
        <p:spPr>
          <a:xfrm>
            <a:off x="285750" y="4886325"/>
            <a:ext cx="170117" cy="196208"/>
          </a:xfrm>
          <a:prstGeom prst="rect">
            <a:avLst/>
          </a:prstGeom>
          <a:noFill/>
        </p:spPr>
        <p:txBody>
          <a:bodyPr vert="horz" rtlCol="0">
            <a:spAutoFit/>
          </a:bodyPr>
          <a:lstStyle/>
          <a:p>
            <a:pPr algn="ctr"/>
            <a:r>
              <a:rPr lang="en-US" sz="675">
                <a:solidFill>
                  <a:srgbClr val="000000"/>
                </a:solidFill>
              </a:rPr>
              <a:t>7</a:t>
            </a:r>
          </a:p>
        </p:txBody>
      </p:sp>
    </p:spTree>
    <p:extLst>
      <p:ext uri="{BB962C8B-B14F-4D97-AF65-F5344CB8AC3E}">
        <p14:creationId xmlns:p14="http://schemas.microsoft.com/office/powerpoint/2010/main" val="356089609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p:txBody>
          <a:bodyPr/>
          <a:lstStyle/>
          <a:p>
            <a:r>
              <a:rPr lang="en-US" smtClean="0"/>
              <a:t>© 2020 Cognizant</a:t>
            </a:r>
            <a:endParaRPr lang="en-US" dirty="0"/>
          </a:p>
        </p:txBody>
      </p:sp>
      <p:sp>
        <p:nvSpPr>
          <p:cNvPr id="5" name="Slide Number Placeholder 4"/>
          <p:cNvSpPr>
            <a:spLocks noGrp="1"/>
          </p:cNvSpPr>
          <p:nvPr>
            <p:ph type="sldNum" sz="quarter" idx="4"/>
          </p:nvPr>
        </p:nvSpPr>
        <p:spPr/>
        <p:txBody>
          <a:bodyPr/>
          <a:lstStyle/>
          <a:p>
            <a:fld id="{2EFEF571-C9B4-4D92-A7F7-315B894862A8}" type="slidenum">
              <a:rPr lang="en-US" smtClean="0"/>
              <a:pPr/>
              <a:t>23</a:t>
            </a:fld>
            <a:endParaRPr lang="en-US" dirty="0"/>
          </a:p>
        </p:txBody>
      </p:sp>
      <p:sp>
        <p:nvSpPr>
          <p:cNvPr id="6" name="Rounded Rectangle 5"/>
          <p:cNvSpPr/>
          <p:nvPr/>
        </p:nvSpPr>
        <p:spPr>
          <a:xfrm>
            <a:off x="3677610" y="4749770"/>
            <a:ext cx="1689670" cy="205740"/>
          </a:xfrm>
          <a:prstGeom prst="roundRect">
            <a:avLst/>
          </a:prstGeom>
          <a:solidFill>
            <a:srgbClr val="FF8F1C"/>
          </a:solidFill>
          <a:ln w="3175">
            <a:solidFill>
              <a:schemeClr val="tx2">
                <a:alpha val="3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900" dirty="0">
                <a:solidFill>
                  <a:prstClr val="black"/>
                </a:solidFill>
                <a:latin typeface="Arial" panose="020B0604020202020204" pitchFamily="34" charset="0"/>
                <a:cs typeface="Arial" panose="020B0604020202020204" pitchFamily="34" charset="0"/>
              </a:rPr>
              <a:t>Decommission in progress</a:t>
            </a:r>
          </a:p>
        </p:txBody>
      </p:sp>
      <p:sp>
        <p:nvSpPr>
          <p:cNvPr id="7" name="Rectangle 6"/>
          <p:cNvSpPr/>
          <p:nvPr/>
        </p:nvSpPr>
        <p:spPr>
          <a:xfrm>
            <a:off x="2519611" y="4737948"/>
            <a:ext cx="595036" cy="230832"/>
          </a:xfrm>
          <a:prstGeom prst="rect">
            <a:avLst/>
          </a:prstGeom>
          <a:solidFill>
            <a:schemeClr val="bg1">
              <a:lumMod val="95000"/>
            </a:schemeClr>
          </a:solidFill>
          <a:ln>
            <a:solidFill>
              <a:schemeClr val="bg2">
                <a:lumMod val="50000"/>
              </a:schemeClr>
            </a:solidFill>
          </a:ln>
        </p:spPr>
        <p:txBody>
          <a:bodyPr wrap="none">
            <a:spAutoFit/>
          </a:bodyPr>
          <a:lstStyle/>
          <a:p>
            <a:pPr algn="ctr" defTabSz="685800">
              <a:defRPr/>
            </a:pPr>
            <a:r>
              <a:rPr lang="en-US" sz="900" b="1" dirty="0">
                <a:solidFill>
                  <a:prstClr val="black"/>
                </a:solidFill>
                <a:latin typeface="Arial" panose="020B0604020202020204" pitchFamily="34" charset="0"/>
                <a:cs typeface="Arial" panose="020B0604020202020204" pitchFamily="34" charset="0"/>
              </a:rPr>
              <a:t>Legend</a:t>
            </a:r>
          </a:p>
        </p:txBody>
      </p:sp>
      <p:grpSp>
        <p:nvGrpSpPr>
          <p:cNvPr id="8" name="Group 7"/>
          <p:cNvGrpSpPr/>
          <p:nvPr/>
        </p:nvGrpSpPr>
        <p:grpSpPr>
          <a:xfrm>
            <a:off x="4879525" y="451238"/>
            <a:ext cx="3623488" cy="963594"/>
            <a:chOff x="6506033" y="680306"/>
            <a:chExt cx="4831317" cy="1284792"/>
          </a:xfrm>
        </p:grpSpPr>
        <p:sp>
          <p:nvSpPr>
            <p:cNvPr id="9" name="Rectangle 8"/>
            <p:cNvSpPr/>
            <p:nvPr/>
          </p:nvSpPr>
          <p:spPr>
            <a:xfrm>
              <a:off x="6506033" y="859763"/>
              <a:ext cx="4831317" cy="1105335"/>
            </a:xfrm>
            <a:prstGeom prst="rect">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750">
                <a:solidFill>
                  <a:prstClr val="white"/>
                </a:solidFill>
                <a:latin typeface="+mj-lt"/>
              </a:endParaRPr>
            </a:p>
          </p:txBody>
        </p:sp>
        <p:sp>
          <p:nvSpPr>
            <p:cNvPr id="10" name="Rounded Rectangle 9"/>
            <p:cNvSpPr/>
            <p:nvPr/>
          </p:nvSpPr>
          <p:spPr>
            <a:xfrm>
              <a:off x="6681720" y="680306"/>
              <a:ext cx="1487038" cy="279400"/>
            </a:xfrm>
            <a:prstGeom prst="roundRect">
              <a:avLst/>
            </a:prstGeom>
            <a:solidFill>
              <a:srgbClr val="0033A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750" b="1" dirty="0">
                  <a:solidFill>
                    <a:prstClr val="white"/>
                  </a:solidFill>
                  <a:latin typeface="+mj-lt"/>
                  <a:cs typeface="Arial" panose="020B0604020202020204" pitchFamily="34" charset="0"/>
                </a:rPr>
                <a:t>IaaS</a:t>
              </a:r>
            </a:p>
          </p:txBody>
        </p:sp>
        <p:grpSp>
          <p:nvGrpSpPr>
            <p:cNvPr id="11" name="Group 10"/>
            <p:cNvGrpSpPr/>
            <p:nvPr/>
          </p:nvGrpSpPr>
          <p:grpSpPr>
            <a:xfrm>
              <a:off x="8430048" y="977989"/>
              <a:ext cx="1972496" cy="984793"/>
              <a:chOff x="8645863" y="978573"/>
              <a:chExt cx="1972496" cy="984793"/>
            </a:xfrm>
          </p:grpSpPr>
          <p:sp>
            <p:nvSpPr>
              <p:cNvPr id="30" name="Rectangle 29"/>
              <p:cNvSpPr/>
              <p:nvPr/>
            </p:nvSpPr>
            <p:spPr>
              <a:xfrm>
                <a:off x="8645863" y="990773"/>
                <a:ext cx="1972496" cy="946478"/>
              </a:xfrm>
              <a:prstGeom prst="rect">
                <a:avLst/>
              </a:prstGeom>
              <a:noFill/>
              <a:ln w="6350">
                <a:solidFill>
                  <a:srgbClr val="87D511"/>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31" name="Group 30"/>
              <p:cNvGrpSpPr/>
              <p:nvPr/>
            </p:nvGrpSpPr>
            <p:grpSpPr>
              <a:xfrm>
                <a:off x="8718281" y="978573"/>
                <a:ext cx="1827660" cy="984793"/>
                <a:chOff x="8698926" y="1174776"/>
                <a:chExt cx="1827660" cy="984793"/>
              </a:xfrm>
            </p:grpSpPr>
            <p:grpSp>
              <p:nvGrpSpPr>
                <p:cNvPr id="32" name="Group 31"/>
                <p:cNvGrpSpPr/>
                <p:nvPr/>
              </p:nvGrpSpPr>
              <p:grpSpPr>
                <a:xfrm>
                  <a:off x="9990765" y="1251811"/>
                  <a:ext cx="535821" cy="804881"/>
                  <a:chOff x="9990765" y="1251811"/>
                  <a:chExt cx="535821" cy="804881"/>
                </a:xfrm>
              </p:grpSpPr>
              <p:grpSp>
                <p:nvGrpSpPr>
                  <p:cNvPr id="51" name="Group 50"/>
                  <p:cNvGrpSpPr/>
                  <p:nvPr/>
                </p:nvGrpSpPr>
                <p:grpSpPr>
                  <a:xfrm>
                    <a:off x="10017613" y="1251811"/>
                    <a:ext cx="482128" cy="481995"/>
                    <a:chOff x="3733431" y="1046156"/>
                    <a:chExt cx="718681" cy="684511"/>
                  </a:xfrm>
                </p:grpSpPr>
                <p:pic>
                  <p:nvPicPr>
                    <p:cNvPr id="54" name="Picture 12" descr="Image result for ZABBIX"/>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33431" y="1046156"/>
                      <a:ext cx="718681" cy="404258"/>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descr="Image result for zabbix"/>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66392" y="1328701"/>
                      <a:ext cx="652759" cy="401966"/>
                    </a:xfrm>
                    <a:prstGeom prst="rect">
                      <a:avLst/>
                    </a:prstGeom>
                    <a:noFill/>
                    <a:extLst>
                      <a:ext uri="{909E8E84-426E-40DD-AFC4-6F175D3DCCD1}">
                        <a14:hiddenFill xmlns:a14="http://schemas.microsoft.com/office/drawing/2010/main">
                          <a:solidFill>
                            <a:srgbClr val="FFFFFF"/>
                          </a:solidFill>
                        </a14:hiddenFill>
                      </a:ext>
                    </a:extLst>
                  </p:spPr>
                </p:pic>
              </p:grpSp>
              <p:sp>
                <p:nvSpPr>
                  <p:cNvPr id="52" name="Rectangle 51"/>
                  <p:cNvSpPr/>
                  <p:nvPr/>
                </p:nvSpPr>
                <p:spPr>
                  <a:xfrm>
                    <a:off x="9990765" y="1297039"/>
                    <a:ext cx="535821" cy="666457"/>
                  </a:xfrm>
                  <a:prstGeom prst="rect">
                    <a:avLst/>
                  </a:prstGeom>
                  <a:noFill/>
                  <a:ln w="6350">
                    <a:solidFill>
                      <a:srgbClr val="1F649E"/>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3" name="Picture 4" descr="Image result for HCL"/>
                  <p:cNvPicPr>
                    <a:picLocks noChangeAspect="1" noChangeArrowheads="1"/>
                  </p:cNvPicPr>
                  <p:nvPr/>
                </p:nvPicPr>
                <p:blipFill>
                  <a:blip r:embed="rId4"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10119614" y="1764766"/>
                    <a:ext cx="278124" cy="291926"/>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TextBox 32"/>
                <p:cNvSpPr txBox="1"/>
                <p:nvPr/>
              </p:nvSpPr>
              <p:spPr>
                <a:xfrm>
                  <a:off x="9537911" y="1944125"/>
                  <a:ext cx="359072" cy="215444"/>
                </a:xfrm>
                <a:prstGeom prst="rect">
                  <a:avLst/>
                </a:prstGeom>
              </p:spPr>
              <p:txBody>
                <a:bodyPr wrap="none" lIns="0" tIns="0" rIns="0" bIns="0" rtlCol="0">
                  <a:spAutoFit/>
                </a:bodyPr>
                <a:lstStyle/>
                <a:p>
                  <a:pPr algn="l"/>
                  <a:r>
                    <a:rPr lang="en-US" sz="1050" dirty="0">
                      <a:ln>
                        <a:solidFill>
                          <a:srgbClr val="33BEB4"/>
                        </a:solidFill>
                      </a:ln>
                      <a:solidFill>
                        <a:srgbClr val="87D437"/>
                      </a:solidFill>
                    </a:rPr>
                    <a:t>BHF</a:t>
                  </a:r>
                </a:p>
              </p:txBody>
            </p:sp>
            <p:grpSp>
              <p:nvGrpSpPr>
                <p:cNvPr id="34" name="Group 33"/>
                <p:cNvGrpSpPr/>
                <p:nvPr/>
              </p:nvGrpSpPr>
              <p:grpSpPr>
                <a:xfrm>
                  <a:off x="8698926" y="1174776"/>
                  <a:ext cx="1242881" cy="786456"/>
                  <a:chOff x="8698926" y="1174776"/>
                  <a:chExt cx="1242881" cy="786456"/>
                </a:xfrm>
              </p:grpSpPr>
              <p:pic>
                <p:nvPicPr>
                  <p:cNvPr id="35" name="Picture 34"/>
                  <p:cNvPicPr>
                    <a:picLocks noChangeAspect="1"/>
                  </p:cNvPicPr>
                  <p:nvPr/>
                </p:nvPicPr>
                <p:blipFill>
                  <a:blip r:embed="rId5">
                    <a:clrChange>
                      <a:clrFrom>
                        <a:srgbClr val="FFFFFF"/>
                      </a:clrFrom>
                      <a:clrTo>
                        <a:srgbClr val="FFFFFF">
                          <a:alpha val="0"/>
                        </a:srgbClr>
                      </a:clrTo>
                    </a:clrChange>
                  </a:blip>
                  <a:stretch>
                    <a:fillRect/>
                  </a:stretch>
                </p:blipFill>
                <p:spPr>
                  <a:xfrm>
                    <a:off x="8975593" y="1174776"/>
                    <a:ext cx="526550" cy="210725"/>
                  </a:xfrm>
                  <a:prstGeom prst="rect">
                    <a:avLst/>
                  </a:prstGeom>
                </p:spPr>
              </p:pic>
              <p:grpSp>
                <p:nvGrpSpPr>
                  <p:cNvPr id="36" name="Group 35"/>
                  <p:cNvGrpSpPr/>
                  <p:nvPr/>
                </p:nvGrpSpPr>
                <p:grpSpPr>
                  <a:xfrm>
                    <a:off x="8698926" y="1378772"/>
                    <a:ext cx="1242881" cy="582460"/>
                    <a:chOff x="8698926" y="1378772"/>
                    <a:chExt cx="1242881" cy="582460"/>
                  </a:xfrm>
                </p:grpSpPr>
                <p:sp>
                  <p:nvSpPr>
                    <p:cNvPr id="37" name="Cloud 36"/>
                    <p:cNvSpPr/>
                    <p:nvPr/>
                  </p:nvSpPr>
                  <p:spPr>
                    <a:xfrm>
                      <a:off x="8698926" y="1378772"/>
                      <a:ext cx="1242881" cy="582460"/>
                    </a:xfrm>
                    <a:prstGeom prst="cloud">
                      <a:avLst/>
                    </a:prstGeom>
                    <a:solidFill>
                      <a:schemeClr val="bg1">
                        <a:lumMod val="85000"/>
                      </a:schemeClr>
                    </a:solidFill>
                    <a:ln w="3175">
                      <a:solidFill>
                        <a:schemeClr val="bg1">
                          <a:lumMod val="50000"/>
                          <a:alpha val="3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750" dirty="0">
                        <a:solidFill>
                          <a:prstClr val="black"/>
                        </a:solidFill>
                        <a:latin typeface="+mj-lt"/>
                        <a:cs typeface="Arial" panose="020B0604020202020204" pitchFamily="34" charset="0"/>
                      </a:endParaRPr>
                    </a:p>
                  </p:txBody>
                </p:sp>
                <p:grpSp>
                  <p:nvGrpSpPr>
                    <p:cNvPr id="38" name="Group 37"/>
                    <p:cNvGrpSpPr/>
                    <p:nvPr/>
                  </p:nvGrpSpPr>
                  <p:grpSpPr>
                    <a:xfrm>
                      <a:off x="8743210" y="1478201"/>
                      <a:ext cx="416173" cy="169276"/>
                      <a:chOff x="1881759" y="1405570"/>
                      <a:chExt cx="416173" cy="173763"/>
                    </a:xfrm>
                  </p:grpSpPr>
                  <p:sp>
                    <p:nvSpPr>
                      <p:cNvPr id="49" name="TextBox 48"/>
                      <p:cNvSpPr txBox="1"/>
                      <p:nvPr/>
                    </p:nvSpPr>
                    <p:spPr>
                      <a:xfrm>
                        <a:off x="2139769" y="1405570"/>
                        <a:ext cx="158163" cy="173763"/>
                      </a:xfrm>
                      <a:prstGeom prst="rect">
                        <a:avLst/>
                      </a:prstGeom>
                    </p:spPr>
                    <p:txBody>
                      <a:bodyPr wrap="none" lIns="0" tIns="0" rIns="0" bIns="0" rtlCol="0">
                        <a:spAutoFit/>
                      </a:bodyPr>
                      <a:lstStyle/>
                      <a:p>
                        <a:pPr algn="l"/>
                        <a:r>
                          <a:rPr lang="en-US" sz="825" dirty="0">
                            <a:solidFill>
                              <a:schemeClr val="tx2"/>
                            </a:solidFill>
                          </a:rPr>
                          <a:t>78</a:t>
                        </a:r>
                      </a:p>
                    </p:txBody>
                  </p:sp>
                  <p:pic>
                    <p:nvPicPr>
                      <p:cNvPr id="50" name="Picture 10" descr="Image result for VIRTUAL MACHINE LOGO"/>
                      <p:cNvPicPr>
                        <a:picLocks noChangeAspect="1" noChangeArrowheads="1"/>
                      </p:cNvPicPr>
                      <p:nvPr/>
                    </p:nvPicPr>
                    <p:blipFill>
                      <a:blip r:embed="rId6" cstate="print">
                        <a:clrChange>
                          <a:clrFrom>
                            <a:srgbClr val="FFFFFF"/>
                          </a:clrFrom>
                          <a:clrTo>
                            <a:srgbClr val="FFFFFF">
                              <a:alpha val="0"/>
                            </a:srgbClr>
                          </a:clrTo>
                        </a:clrChange>
                        <a:extLst>
                          <a:ext uri="{BEBA8EAE-BF5A-486C-A8C5-ECC9F3942E4B}">
                            <a14:imgProps xmlns:a14="http://schemas.microsoft.com/office/drawing/2010/main">
                              <a14:imgLayer r:embed="rId7">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1881759" y="1414861"/>
                        <a:ext cx="310081" cy="15069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oup 38"/>
                    <p:cNvGrpSpPr/>
                    <p:nvPr/>
                  </p:nvGrpSpPr>
                  <p:grpSpPr>
                    <a:xfrm>
                      <a:off x="9190439" y="1469103"/>
                      <a:ext cx="356714" cy="183103"/>
                      <a:chOff x="1877718" y="1602934"/>
                      <a:chExt cx="356714" cy="187956"/>
                    </a:xfrm>
                  </p:grpSpPr>
                  <p:pic>
                    <p:nvPicPr>
                      <p:cNvPr id="47" name="Picture 4" descr="Image result for load balancer ico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877718" y="1602934"/>
                        <a:ext cx="202256" cy="187956"/>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47"/>
                      <p:cNvSpPr txBox="1"/>
                      <p:nvPr/>
                    </p:nvSpPr>
                    <p:spPr>
                      <a:xfrm>
                        <a:off x="2076270" y="1612274"/>
                        <a:ext cx="158162" cy="173764"/>
                      </a:xfrm>
                      <a:prstGeom prst="rect">
                        <a:avLst/>
                      </a:prstGeom>
                    </p:spPr>
                    <p:txBody>
                      <a:bodyPr wrap="none" lIns="0" tIns="0" rIns="0" bIns="0" rtlCol="0">
                        <a:spAutoFit/>
                      </a:bodyPr>
                      <a:lstStyle/>
                      <a:p>
                        <a:pPr algn="l"/>
                        <a:r>
                          <a:rPr lang="en-US" sz="825" dirty="0">
                            <a:solidFill>
                              <a:schemeClr val="tx2"/>
                            </a:solidFill>
                          </a:rPr>
                          <a:t>12</a:t>
                        </a:r>
                      </a:p>
                    </p:txBody>
                  </p:sp>
                </p:grpSp>
                <p:grpSp>
                  <p:nvGrpSpPr>
                    <p:cNvPr id="40" name="Group 39"/>
                    <p:cNvGrpSpPr/>
                    <p:nvPr/>
                  </p:nvGrpSpPr>
                  <p:grpSpPr>
                    <a:xfrm>
                      <a:off x="9624571" y="1477549"/>
                      <a:ext cx="272948" cy="177457"/>
                      <a:chOff x="2859313" y="1220984"/>
                      <a:chExt cx="272948" cy="182160"/>
                    </a:xfrm>
                  </p:grpSpPr>
                  <p:pic>
                    <p:nvPicPr>
                      <p:cNvPr id="45" name="Picture 44"/>
                      <p:cNvPicPr>
                        <a:picLocks noChangeAspect="1"/>
                      </p:cNvPicPr>
                      <p:nvPr/>
                    </p:nvPicPr>
                    <p:blipFill>
                      <a:blip r:embed="rId9">
                        <a:clrChange>
                          <a:clrFrom>
                            <a:srgbClr val="FEFEFE"/>
                          </a:clrFrom>
                          <a:clrTo>
                            <a:srgbClr val="FEFEFE">
                              <a:alpha val="0"/>
                            </a:srgbClr>
                          </a:clrTo>
                        </a:clrChange>
                      </a:blip>
                      <a:stretch>
                        <a:fillRect/>
                      </a:stretch>
                    </p:blipFill>
                    <p:spPr>
                      <a:xfrm>
                        <a:off x="2859313" y="1220984"/>
                        <a:ext cx="162863" cy="178333"/>
                      </a:xfrm>
                      <a:prstGeom prst="rect">
                        <a:avLst/>
                      </a:prstGeom>
                    </p:spPr>
                  </p:pic>
                  <p:sp>
                    <p:nvSpPr>
                      <p:cNvPr id="46" name="TextBox 45"/>
                      <p:cNvSpPr txBox="1"/>
                      <p:nvPr/>
                    </p:nvSpPr>
                    <p:spPr>
                      <a:xfrm>
                        <a:off x="3053178" y="1229381"/>
                        <a:ext cx="79083" cy="173763"/>
                      </a:xfrm>
                      <a:prstGeom prst="rect">
                        <a:avLst/>
                      </a:prstGeom>
                    </p:spPr>
                    <p:txBody>
                      <a:bodyPr wrap="none" lIns="0" tIns="0" rIns="0" bIns="0" rtlCol="0">
                        <a:spAutoFit/>
                      </a:bodyPr>
                      <a:lstStyle/>
                      <a:p>
                        <a:pPr algn="l"/>
                        <a:r>
                          <a:rPr lang="en-US" sz="825" dirty="0">
                            <a:solidFill>
                              <a:schemeClr val="tx2"/>
                            </a:solidFill>
                          </a:rPr>
                          <a:t>4</a:t>
                        </a:r>
                      </a:p>
                    </p:txBody>
                  </p:sp>
                </p:grpSp>
                <p:sp>
                  <p:nvSpPr>
                    <p:cNvPr id="41" name="Rounded Rectangle 40"/>
                    <p:cNvSpPr/>
                    <p:nvPr/>
                  </p:nvSpPr>
                  <p:spPr>
                    <a:xfrm>
                      <a:off x="8723366" y="1694449"/>
                      <a:ext cx="630934" cy="171314"/>
                    </a:xfrm>
                    <a:prstGeom prst="round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600" b="1" dirty="0">
                          <a:solidFill>
                            <a:prstClr val="black"/>
                          </a:solidFill>
                          <a:latin typeface="Arial" panose="020B0604020202020204"/>
                          <a:cs typeface="Arial" panose="020B0604020202020204" pitchFamily="34" charset="0"/>
                        </a:rPr>
                        <a:t>MS DNS</a:t>
                      </a:r>
                      <a:endParaRPr lang="en-US" sz="150" dirty="0">
                        <a:solidFill>
                          <a:prstClr val="black"/>
                        </a:solidFill>
                        <a:latin typeface="Arial" panose="020B0604020202020204"/>
                        <a:cs typeface="Arial" panose="020B0604020202020204" pitchFamily="34" charset="0"/>
                      </a:endParaRPr>
                    </a:p>
                  </p:txBody>
                </p:sp>
                <p:grpSp>
                  <p:nvGrpSpPr>
                    <p:cNvPr id="42" name="Group 41"/>
                    <p:cNvGrpSpPr/>
                    <p:nvPr/>
                  </p:nvGrpSpPr>
                  <p:grpSpPr>
                    <a:xfrm>
                      <a:off x="9264252" y="1698318"/>
                      <a:ext cx="482373" cy="159985"/>
                      <a:chOff x="8644128" y="1751672"/>
                      <a:chExt cx="482373" cy="159985"/>
                    </a:xfrm>
                  </p:grpSpPr>
                  <p:sp>
                    <p:nvSpPr>
                      <p:cNvPr id="43" name="TextBox 42"/>
                      <p:cNvSpPr txBox="1"/>
                      <p:nvPr/>
                    </p:nvSpPr>
                    <p:spPr>
                      <a:xfrm>
                        <a:off x="8902648" y="1751672"/>
                        <a:ext cx="223853" cy="153888"/>
                      </a:xfrm>
                      <a:prstGeom prst="rect">
                        <a:avLst/>
                      </a:prstGeom>
                    </p:spPr>
                    <p:txBody>
                      <a:bodyPr wrap="square" lIns="0" tIns="0" rIns="0" bIns="0" rtlCol="0">
                        <a:spAutoFit/>
                      </a:bodyPr>
                      <a:lstStyle/>
                      <a:p>
                        <a:pPr algn="l"/>
                        <a:r>
                          <a:rPr lang="en-US" sz="375" dirty="0">
                            <a:solidFill>
                              <a:schemeClr val="tx2"/>
                            </a:solidFill>
                          </a:rPr>
                          <a:t>VMs from SL</a:t>
                        </a:r>
                      </a:p>
                    </p:txBody>
                  </p:sp>
                  <p:pic>
                    <p:nvPicPr>
                      <p:cNvPr id="44" name="Picture 10" descr="Image result for VIRTUAL MACHINE LOGO"/>
                      <p:cNvPicPr>
                        <a:picLocks noChangeAspect="1" noChangeArrowheads="1"/>
                      </p:cNvPicPr>
                      <p:nvPr/>
                    </p:nvPicPr>
                    <p:blipFill>
                      <a:blip r:embed="rId10" cstate="print">
                        <a:clrChange>
                          <a:clrFrom>
                            <a:srgbClr val="FFFFFF"/>
                          </a:clrFrom>
                          <a:clrTo>
                            <a:srgbClr val="FFFFFF">
                              <a:alpha val="0"/>
                            </a:srgbClr>
                          </a:clrTo>
                        </a:clrChange>
                        <a:extLst>
                          <a:ext uri="{BEBA8EAE-BF5A-486C-A8C5-ECC9F3942E4B}">
                            <a14:imgProps xmlns:a14="http://schemas.microsoft.com/office/drawing/2010/main">
                              <a14:imgLayer r:embed="rId7">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8644128" y="1760963"/>
                        <a:ext cx="310081" cy="150694"/>
                      </a:xfrm>
                      <a:prstGeom prst="rect">
                        <a:avLst/>
                      </a:prstGeom>
                      <a:noFill/>
                      <a:extLst>
                        <a:ext uri="{909E8E84-426E-40DD-AFC4-6F175D3DCCD1}">
                          <a14:hiddenFill xmlns:a14="http://schemas.microsoft.com/office/drawing/2010/main">
                            <a:solidFill>
                              <a:srgbClr val="FFFFFF"/>
                            </a:solidFill>
                          </a14:hiddenFill>
                        </a:ext>
                      </a:extLst>
                    </p:spPr>
                  </p:pic>
                </p:grpSp>
              </p:grpSp>
            </p:grpSp>
          </p:grpSp>
        </p:grpSp>
        <p:grpSp>
          <p:nvGrpSpPr>
            <p:cNvPr id="12" name="Group 11"/>
            <p:cNvGrpSpPr/>
            <p:nvPr/>
          </p:nvGrpSpPr>
          <p:grpSpPr>
            <a:xfrm>
              <a:off x="10672847" y="988948"/>
              <a:ext cx="554185" cy="955579"/>
              <a:chOff x="5043653" y="1210939"/>
              <a:chExt cx="554185" cy="955579"/>
            </a:xfrm>
          </p:grpSpPr>
          <p:pic>
            <p:nvPicPr>
              <p:cNvPr id="27" name="Picture 4" descr="Image result for openshift"/>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154401" y="1350496"/>
                <a:ext cx="369335" cy="468937"/>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p:cNvSpPr/>
              <p:nvPr/>
            </p:nvSpPr>
            <p:spPr>
              <a:xfrm>
                <a:off x="5043653" y="1210939"/>
                <a:ext cx="554185" cy="946478"/>
              </a:xfrm>
              <a:prstGeom prst="rect">
                <a:avLst/>
              </a:prstGeom>
              <a:noFill/>
              <a:ln w="6350">
                <a:solidFill>
                  <a:srgbClr val="87D511"/>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9" name="TextBox 28"/>
              <p:cNvSpPr txBox="1"/>
              <p:nvPr/>
            </p:nvSpPr>
            <p:spPr>
              <a:xfrm>
                <a:off x="5154401" y="1951074"/>
                <a:ext cx="359072" cy="215444"/>
              </a:xfrm>
              <a:prstGeom prst="rect">
                <a:avLst/>
              </a:prstGeom>
            </p:spPr>
            <p:txBody>
              <a:bodyPr wrap="none" lIns="0" tIns="0" rIns="0" bIns="0" rtlCol="0">
                <a:spAutoFit/>
              </a:bodyPr>
              <a:lstStyle/>
              <a:p>
                <a:pPr algn="l"/>
                <a:r>
                  <a:rPr lang="en-US" sz="1050" dirty="0">
                    <a:ln>
                      <a:solidFill>
                        <a:srgbClr val="33BEB4"/>
                      </a:solidFill>
                    </a:ln>
                    <a:solidFill>
                      <a:srgbClr val="87D437"/>
                    </a:solidFill>
                  </a:rPr>
                  <a:t>BHF</a:t>
                </a:r>
              </a:p>
            </p:txBody>
          </p:sp>
        </p:grpSp>
        <p:grpSp>
          <p:nvGrpSpPr>
            <p:cNvPr id="14" name="Group 13"/>
            <p:cNvGrpSpPr/>
            <p:nvPr/>
          </p:nvGrpSpPr>
          <p:grpSpPr>
            <a:xfrm>
              <a:off x="6636426" y="988957"/>
              <a:ext cx="1015612" cy="946479"/>
              <a:chOff x="6636426" y="988956"/>
              <a:chExt cx="1015612" cy="946478"/>
            </a:xfrm>
          </p:grpSpPr>
          <p:sp>
            <p:nvSpPr>
              <p:cNvPr id="16" name="Rectangle 15"/>
              <p:cNvSpPr/>
              <p:nvPr/>
            </p:nvSpPr>
            <p:spPr>
              <a:xfrm>
                <a:off x="6636426" y="988956"/>
                <a:ext cx="1015612" cy="946478"/>
              </a:xfrm>
              <a:prstGeom prst="rect">
                <a:avLst/>
              </a:prstGeom>
              <a:noFill/>
              <a:ln w="6350">
                <a:solidFill>
                  <a:srgbClr val="1F70C2"/>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17" name="Group 16"/>
              <p:cNvGrpSpPr/>
              <p:nvPr/>
            </p:nvGrpSpPr>
            <p:grpSpPr>
              <a:xfrm>
                <a:off x="6803570" y="1053076"/>
                <a:ext cx="681325" cy="686087"/>
                <a:chOff x="464062" y="1181963"/>
                <a:chExt cx="681325" cy="686087"/>
              </a:xfrm>
            </p:grpSpPr>
            <p:grpSp>
              <p:nvGrpSpPr>
                <p:cNvPr id="18" name="Group 17"/>
                <p:cNvGrpSpPr/>
                <p:nvPr/>
              </p:nvGrpSpPr>
              <p:grpSpPr>
                <a:xfrm>
                  <a:off x="464062" y="1314259"/>
                  <a:ext cx="681325" cy="553791"/>
                  <a:chOff x="427138" y="1314259"/>
                  <a:chExt cx="681325" cy="553791"/>
                </a:xfrm>
              </p:grpSpPr>
              <p:sp>
                <p:nvSpPr>
                  <p:cNvPr id="20" name="Cloud 19"/>
                  <p:cNvSpPr/>
                  <p:nvPr/>
                </p:nvSpPr>
                <p:spPr>
                  <a:xfrm>
                    <a:off x="427138" y="1314259"/>
                    <a:ext cx="681325" cy="553791"/>
                  </a:xfrm>
                  <a:prstGeom prst="cloud">
                    <a:avLst/>
                  </a:prstGeom>
                  <a:solidFill>
                    <a:schemeClr val="bg1">
                      <a:lumMod val="85000"/>
                    </a:schemeClr>
                  </a:solidFill>
                  <a:ln w="3175">
                    <a:solidFill>
                      <a:schemeClr val="bg1">
                        <a:lumMod val="50000"/>
                        <a:alpha val="3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750" dirty="0">
                      <a:solidFill>
                        <a:prstClr val="black"/>
                      </a:solidFill>
                      <a:latin typeface="+mj-lt"/>
                      <a:cs typeface="Arial" panose="020B0604020202020204" pitchFamily="34" charset="0"/>
                    </a:endParaRPr>
                  </a:p>
                </p:txBody>
              </p:sp>
              <p:grpSp>
                <p:nvGrpSpPr>
                  <p:cNvPr id="21" name="Group 20"/>
                  <p:cNvGrpSpPr/>
                  <p:nvPr/>
                </p:nvGrpSpPr>
                <p:grpSpPr>
                  <a:xfrm>
                    <a:off x="509985" y="1430870"/>
                    <a:ext cx="416682" cy="169277"/>
                    <a:chOff x="702370" y="1432858"/>
                    <a:chExt cx="416682" cy="169277"/>
                  </a:xfrm>
                </p:grpSpPr>
                <p:sp>
                  <p:nvSpPr>
                    <p:cNvPr id="25" name="TextBox 24"/>
                    <p:cNvSpPr txBox="1"/>
                    <p:nvPr/>
                  </p:nvSpPr>
                  <p:spPr>
                    <a:xfrm>
                      <a:off x="960890" y="1432858"/>
                      <a:ext cx="158162" cy="169277"/>
                    </a:xfrm>
                    <a:prstGeom prst="rect">
                      <a:avLst/>
                    </a:prstGeom>
                  </p:spPr>
                  <p:txBody>
                    <a:bodyPr wrap="none" lIns="0" tIns="0" rIns="0" bIns="0" rtlCol="0">
                      <a:spAutoFit/>
                    </a:bodyPr>
                    <a:lstStyle/>
                    <a:p>
                      <a:pPr algn="l"/>
                      <a:r>
                        <a:rPr lang="en-US" sz="825" dirty="0">
                          <a:solidFill>
                            <a:schemeClr val="tx2"/>
                          </a:solidFill>
                        </a:rPr>
                        <a:t>74</a:t>
                      </a:r>
                    </a:p>
                  </p:txBody>
                </p:sp>
                <p:pic>
                  <p:nvPicPr>
                    <p:cNvPr id="26" name="Picture 10" descr="Image result for VIRTUAL MACHINE LOGO"/>
                    <p:cNvPicPr>
                      <a:picLocks noChangeAspect="1" noChangeArrowheads="1"/>
                    </p:cNvPicPr>
                    <p:nvPr/>
                  </p:nvPicPr>
                  <p:blipFill>
                    <a:blip r:embed="rId10" cstate="print">
                      <a:clrChange>
                        <a:clrFrom>
                          <a:srgbClr val="FFFFFF"/>
                        </a:clrFrom>
                        <a:clrTo>
                          <a:srgbClr val="FFFFFF">
                            <a:alpha val="0"/>
                          </a:srgbClr>
                        </a:clrTo>
                      </a:clrChange>
                      <a:extLst>
                        <a:ext uri="{BEBA8EAE-BF5A-486C-A8C5-ECC9F3942E4B}">
                          <a14:imgProps xmlns:a14="http://schemas.microsoft.com/office/drawing/2010/main">
                            <a14:imgLayer r:embed="rId7">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702370" y="1442149"/>
                      <a:ext cx="310081" cy="15069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p:cNvGrpSpPr/>
                  <p:nvPr/>
                </p:nvGrpSpPr>
                <p:grpSpPr>
                  <a:xfrm>
                    <a:off x="569444" y="1620467"/>
                    <a:ext cx="357225" cy="187956"/>
                    <a:chOff x="761829" y="1622455"/>
                    <a:chExt cx="357225" cy="187956"/>
                  </a:xfrm>
                </p:grpSpPr>
                <p:pic>
                  <p:nvPicPr>
                    <p:cNvPr id="23" name="Picture 4" descr="Image result for load balancer ico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1829" y="1622455"/>
                      <a:ext cx="202256" cy="187956"/>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p:cNvSpPr txBox="1"/>
                    <p:nvPr/>
                  </p:nvSpPr>
                  <p:spPr>
                    <a:xfrm>
                      <a:off x="960891" y="1631795"/>
                      <a:ext cx="158163" cy="169277"/>
                    </a:xfrm>
                    <a:prstGeom prst="rect">
                      <a:avLst/>
                    </a:prstGeom>
                  </p:spPr>
                  <p:txBody>
                    <a:bodyPr wrap="none" lIns="0" tIns="0" rIns="0" bIns="0" rtlCol="0">
                      <a:spAutoFit/>
                    </a:bodyPr>
                    <a:lstStyle/>
                    <a:p>
                      <a:pPr algn="l"/>
                      <a:r>
                        <a:rPr lang="en-US" sz="825" dirty="0">
                          <a:solidFill>
                            <a:schemeClr val="tx2"/>
                          </a:solidFill>
                        </a:rPr>
                        <a:t>12</a:t>
                      </a:r>
                    </a:p>
                  </p:txBody>
                </p:sp>
              </p:grpSp>
            </p:grpSp>
            <p:pic>
              <p:nvPicPr>
                <p:cNvPr id="19" name="Picture 14" descr="Image result for AWS"/>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09071" y="1181963"/>
                  <a:ext cx="215586" cy="128993"/>
                </a:xfrm>
                <a:prstGeom prst="rect">
                  <a:avLst/>
                </a:prstGeom>
                <a:noFill/>
                <a:extLst>
                  <a:ext uri="{909E8E84-426E-40DD-AFC4-6F175D3DCCD1}">
                    <a14:hiddenFill xmlns:a14="http://schemas.microsoft.com/office/drawing/2010/main">
                      <a:solidFill>
                        <a:srgbClr val="FFFFFF"/>
                      </a:solidFill>
                    </a14:hiddenFill>
                  </a:ext>
                </a:extLst>
              </p:spPr>
            </p:pic>
          </p:grpSp>
        </p:grpSp>
      </p:grpSp>
      <p:grpSp>
        <p:nvGrpSpPr>
          <p:cNvPr id="56" name="Group 55"/>
          <p:cNvGrpSpPr/>
          <p:nvPr/>
        </p:nvGrpSpPr>
        <p:grpSpPr>
          <a:xfrm>
            <a:off x="4878215" y="1465381"/>
            <a:ext cx="3621310" cy="1889210"/>
            <a:chOff x="6504286" y="2032498"/>
            <a:chExt cx="4828413" cy="2518946"/>
          </a:xfrm>
        </p:grpSpPr>
        <p:grpSp>
          <p:nvGrpSpPr>
            <p:cNvPr id="57" name="Group 56"/>
            <p:cNvGrpSpPr/>
            <p:nvPr/>
          </p:nvGrpSpPr>
          <p:grpSpPr>
            <a:xfrm>
              <a:off x="6504286" y="2032498"/>
              <a:ext cx="4828413" cy="2518946"/>
              <a:chOff x="846026" y="2019845"/>
              <a:chExt cx="4828413" cy="2518946"/>
            </a:xfrm>
          </p:grpSpPr>
          <p:sp>
            <p:nvSpPr>
              <p:cNvPr id="59" name="Rectangle 58"/>
              <p:cNvSpPr/>
              <p:nvPr/>
            </p:nvSpPr>
            <p:spPr>
              <a:xfrm>
                <a:off x="846026" y="2181908"/>
                <a:ext cx="4828413" cy="2356883"/>
              </a:xfrm>
              <a:prstGeom prst="rect">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750">
                  <a:solidFill>
                    <a:prstClr val="white"/>
                  </a:solidFill>
                  <a:latin typeface="+mj-lt"/>
                </a:endParaRPr>
              </a:p>
            </p:txBody>
          </p:sp>
          <p:sp>
            <p:nvSpPr>
              <p:cNvPr id="60" name="Rounded Rectangle 59"/>
              <p:cNvSpPr/>
              <p:nvPr/>
            </p:nvSpPr>
            <p:spPr>
              <a:xfrm>
                <a:off x="1009874" y="2019845"/>
                <a:ext cx="1829486" cy="279400"/>
              </a:xfrm>
              <a:prstGeom prst="roundRect">
                <a:avLst/>
              </a:prstGeom>
              <a:solidFill>
                <a:srgbClr val="0033A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750" b="1" dirty="0">
                    <a:solidFill>
                      <a:prstClr val="white"/>
                    </a:solidFill>
                    <a:cs typeface="Arial" panose="020B0604020202020204" pitchFamily="34" charset="0"/>
                  </a:rPr>
                  <a:t>Equinix </a:t>
                </a:r>
                <a:r>
                  <a:rPr lang="en-US" sz="750" b="1" dirty="0" err="1">
                    <a:solidFill>
                      <a:prstClr val="white"/>
                    </a:solidFill>
                    <a:cs typeface="Arial" panose="020B0604020202020204" pitchFamily="34" charset="0"/>
                  </a:rPr>
                  <a:t>CoLo</a:t>
                </a:r>
                <a:r>
                  <a:rPr lang="en-US" sz="750" b="1" dirty="0">
                    <a:solidFill>
                      <a:prstClr val="white"/>
                    </a:solidFill>
                    <a:cs typeface="Arial" panose="020B0604020202020204" pitchFamily="34" charset="0"/>
                  </a:rPr>
                  <a:t> DC</a:t>
                </a:r>
              </a:p>
            </p:txBody>
          </p:sp>
          <p:grpSp>
            <p:nvGrpSpPr>
              <p:cNvPr id="61" name="Group 60"/>
              <p:cNvGrpSpPr/>
              <p:nvPr/>
            </p:nvGrpSpPr>
            <p:grpSpPr>
              <a:xfrm>
                <a:off x="1007281" y="2598640"/>
                <a:ext cx="4567190" cy="1863905"/>
                <a:chOff x="1007281" y="2796760"/>
                <a:chExt cx="4567190" cy="1863905"/>
              </a:xfrm>
            </p:grpSpPr>
            <p:sp>
              <p:nvSpPr>
                <p:cNvPr id="73" name="Rounded Rectangle 72"/>
                <p:cNvSpPr/>
                <p:nvPr/>
              </p:nvSpPr>
              <p:spPr>
                <a:xfrm>
                  <a:off x="1007281" y="2796760"/>
                  <a:ext cx="4567190" cy="1863905"/>
                </a:xfrm>
                <a:prstGeom prst="roundRect">
                  <a:avLst/>
                </a:prstGeom>
                <a:solidFill>
                  <a:srgbClr val="E1EAFF"/>
                </a:solidFill>
                <a:ln>
                  <a:solidFill>
                    <a:srgbClr val="0033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nvGrpSpPr>
                <p:cNvPr id="74" name="Group 73"/>
                <p:cNvGrpSpPr/>
                <p:nvPr/>
              </p:nvGrpSpPr>
              <p:grpSpPr>
                <a:xfrm>
                  <a:off x="1861476" y="3262578"/>
                  <a:ext cx="1488468" cy="226711"/>
                  <a:chOff x="1991016" y="3110178"/>
                  <a:chExt cx="1488468" cy="226711"/>
                </a:xfrm>
              </p:grpSpPr>
              <p:sp>
                <p:nvSpPr>
                  <p:cNvPr id="84" name="Rectangle 83"/>
                  <p:cNvSpPr/>
                  <p:nvPr/>
                </p:nvSpPr>
                <p:spPr>
                  <a:xfrm>
                    <a:off x="2060059" y="3110178"/>
                    <a:ext cx="1419425" cy="226711"/>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Firewall </a:t>
                    </a:r>
                    <a:r>
                      <a:rPr lang="en-US" sz="600" b="1" dirty="0" smtClean="0">
                        <a:solidFill>
                          <a:srgbClr val="000000"/>
                        </a:solidFill>
                      </a:rPr>
                      <a:t>– </a:t>
                    </a:r>
                    <a:r>
                      <a:rPr lang="en-US" sz="600" dirty="0" smtClean="0">
                        <a:solidFill>
                          <a:srgbClr val="000000"/>
                        </a:solidFill>
                      </a:rPr>
                      <a:t>Palo Alto</a:t>
                    </a:r>
                    <a:endParaRPr lang="en-US" sz="600" dirty="0">
                      <a:solidFill>
                        <a:srgbClr val="000000"/>
                      </a:solidFill>
                    </a:endParaRPr>
                  </a:p>
                </p:txBody>
              </p:sp>
              <p:pic>
                <p:nvPicPr>
                  <p:cNvPr id="85" name="Picture 84"/>
                  <p:cNvPicPr>
                    <a:picLocks noChangeAspect="1"/>
                  </p:cNvPicPr>
                  <p:nvPr/>
                </p:nvPicPr>
                <p:blipFill>
                  <a:blip r:embed="rId9">
                    <a:clrChange>
                      <a:clrFrom>
                        <a:srgbClr val="FEFEFE"/>
                      </a:clrFrom>
                      <a:clrTo>
                        <a:srgbClr val="FEFEFE">
                          <a:alpha val="0"/>
                        </a:srgbClr>
                      </a:clrTo>
                    </a:clrChange>
                  </a:blip>
                  <a:stretch>
                    <a:fillRect/>
                  </a:stretch>
                </p:blipFill>
                <p:spPr>
                  <a:xfrm>
                    <a:off x="1991016" y="3118427"/>
                    <a:ext cx="197064" cy="210212"/>
                  </a:xfrm>
                  <a:prstGeom prst="rect">
                    <a:avLst/>
                  </a:prstGeom>
                </p:spPr>
              </p:pic>
            </p:grpSp>
            <p:grpSp>
              <p:nvGrpSpPr>
                <p:cNvPr id="75" name="Group 74"/>
                <p:cNvGrpSpPr/>
                <p:nvPr/>
              </p:nvGrpSpPr>
              <p:grpSpPr>
                <a:xfrm>
                  <a:off x="3297665" y="2921496"/>
                  <a:ext cx="2117524" cy="372086"/>
                  <a:chOff x="3297665" y="2769096"/>
                  <a:chExt cx="2117524" cy="372086"/>
                </a:xfrm>
              </p:grpSpPr>
              <p:sp>
                <p:nvSpPr>
                  <p:cNvPr id="82" name="Rectangle 81"/>
                  <p:cNvSpPr/>
                  <p:nvPr/>
                </p:nvSpPr>
                <p:spPr>
                  <a:xfrm>
                    <a:off x="3510141" y="2841784"/>
                    <a:ext cx="1905048" cy="226711"/>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600" b="1" dirty="0">
                        <a:solidFill>
                          <a:srgbClr val="000000"/>
                        </a:solidFill>
                      </a:rPr>
                      <a:t> </a:t>
                    </a:r>
                    <a:r>
                      <a:rPr lang="fr-FR" sz="600" b="1" dirty="0" err="1">
                        <a:solidFill>
                          <a:srgbClr val="000000"/>
                        </a:solidFill>
                      </a:rPr>
                      <a:t>Core</a:t>
                    </a:r>
                    <a:r>
                      <a:rPr lang="fr-FR" sz="600" b="1" dirty="0">
                        <a:solidFill>
                          <a:srgbClr val="000000"/>
                        </a:solidFill>
                      </a:rPr>
                      <a:t> Routers, VRF, BGP Endpoints - </a:t>
                    </a:r>
                    <a:r>
                      <a:rPr lang="fr-FR" sz="600" dirty="0">
                        <a:solidFill>
                          <a:srgbClr val="000000"/>
                        </a:solidFill>
                      </a:rPr>
                      <a:t>Cisco ASR 1001 - X</a:t>
                    </a:r>
                    <a:endParaRPr lang="en-US" sz="600" dirty="0">
                      <a:solidFill>
                        <a:srgbClr val="000000"/>
                      </a:solidFill>
                      <a:latin typeface="Arial" panose="020B0604020202020204"/>
                    </a:endParaRPr>
                  </a:p>
                </p:txBody>
              </p:sp>
              <p:pic>
                <p:nvPicPr>
                  <p:cNvPr id="83" name="Picture 4" descr="Image result for route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297665" y="2769096"/>
                    <a:ext cx="335549" cy="37208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6" name="Group 75"/>
                <p:cNvGrpSpPr/>
                <p:nvPr/>
              </p:nvGrpSpPr>
              <p:grpSpPr>
                <a:xfrm>
                  <a:off x="3486985" y="3250373"/>
                  <a:ext cx="936160" cy="254409"/>
                  <a:chOff x="3486985" y="3105593"/>
                  <a:chExt cx="936160" cy="254409"/>
                </a:xfrm>
              </p:grpSpPr>
              <p:sp>
                <p:nvSpPr>
                  <p:cNvPr id="80" name="Rectangle 79"/>
                  <p:cNvSpPr/>
                  <p:nvPr/>
                </p:nvSpPr>
                <p:spPr>
                  <a:xfrm>
                    <a:off x="3717862" y="3119444"/>
                    <a:ext cx="705283" cy="225066"/>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NACL – </a:t>
                    </a:r>
                  </a:p>
                  <a:p>
                    <a:pPr lvl="0" algn="ctr">
                      <a:defRPr/>
                    </a:pPr>
                    <a:r>
                      <a:rPr lang="en-US" sz="600" dirty="0">
                        <a:solidFill>
                          <a:srgbClr val="000000"/>
                        </a:solidFill>
                      </a:rPr>
                      <a:t>Cisco ISE</a:t>
                    </a:r>
                    <a:endParaRPr lang="en-US" sz="600" dirty="0">
                      <a:solidFill>
                        <a:srgbClr val="000000"/>
                      </a:solidFill>
                      <a:latin typeface="Arial" panose="020B0604020202020204"/>
                    </a:endParaRPr>
                  </a:p>
                </p:txBody>
              </p:sp>
              <p:pic>
                <p:nvPicPr>
                  <p:cNvPr id="81" name="Picture 2" descr="Related image"/>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86985" y="3105593"/>
                    <a:ext cx="339212" cy="25440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7" name="Group 76"/>
                <p:cNvGrpSpPr/>
                <p:nvPr/>
              </p:nvGrpSpPr>
              <p:grpSpPr>
                <a:xfrm>
                  <a:off x="1071144" y="2911600"/>
                  <a:ext cx="2208115" cy="372086"/>
                  <a:chOff x="1071144" y="2759200"/>
                  <a:chExt cx="2208115" cy="372086"/>
                </a:xfrm>
              </p:grpSpPr>
              <p:sp>
                <p:nvSpPr>
                  <p:cNvPr id="78" name="Rectangle 77"/>
                  <p:cNvSpPr/>
                  <p:nvPr/>
                </p:nvSpPr>
                <p:spPr>
                  <a:xfrm>
                    <a:off x="1257325" y="2840986"/>
                    <a:ext cx="2021934" cy="223754"/>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WLAN, LAN Switches &amp; Routers -</a:t>
                    </a:r>
                  </a:p>
                  <a:p>
                    <a:pPr lvl="0" algn="ctr">
                      <a:defRPr/>
                    </a:pPr>
                    <a:r>
                      <a:rPr lang="en-US" sz="600" dirty="0">
                        <a:solidFill>
                          <a:srgbClr val="000000"/>
                        </a:solidFill>
                      </a:rPr>
                      <a:t>Meraki AP, MX &amp; MS</a:t>
                    </a:r>
                    <a:endParaRPr lang="en-US" sz="600" dirty="0">
                      <a:solidFill>
                        <a:srgbClr val="000000"/>
                      </a:solidFill>
                      <a:latin typeface="Arial" panose="020B0604020202020204"/>
                    </a:endParaRPr>
                  </a:p>
                </p:txBody>
              </p:sp>
              <p:pic>
                <p:nvPicPr>
                  <p:cNvPr id="79" name="Picture 4" descr="Image result for route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71144" y="2759200"/>
                    <a:ext cx="335549" cy="37208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62" name="Group 61"/>
              <p:cNvGrpSpPr/>
              <p:nvPr/>
            </p:nvGrpSpPr>
            <p:grpSpPr>
              <a:xfrm>
                <a:off x="909387" y="2373443"/>
                <a:ext cx="4714827" cy="2122357"/>
                <a:chOff x="909387" y="2373443"/>
                <a:chExt cx="4714827" cy="2122357"/>
              </a:xfrm>
            </p:grpSpPr>
            <p:grpSp>
              <p:nvGrpSpPr>
                <p:cNvPr id="67" name="Group 66"/>
                <p:cNvGrpSpPr/>
                <p:nvPr/>
              </p:nvGrpSpPr>
              <p:grpSpPr>
                <a:xfrm>
                  <a:off x="1280753" y="3466902"/>
                  <a:ext cx="1889256" cy="738411"/>
                  <a:chOff x="1315436" y="3379272"/>
                  <a:chExt cx="2078182" cy="738411"/>
                </a:xfrm>
              </p:grpSpPr>
              <p:sp>
                <p:nvSpPr>
                  <p:cNvPr id="70" name="Rectangle 69"/>
                  <p:cNvSpPr/>
                  <p:nvPr/>
                </p:nvSpPr>
                <p:spPr>
                  <a:xfrm>
                    <a:off x="1315436" y="3379272"/>
                    <a:ext cx="2078182" cy="249383"/>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WAN Connectivity to </a:t>
                    </a:r>
                  </a:p>
                  <a:p>
                    <a:pPr lvl="0" algn="ctr">
                      <a:defRPr/>
                    </a:pPr>
                    <a:r>
                      <a:rPr lang="en-US" sz="600" b="1" dirty="0">
                        <a:solidFill>
                          <a:srgbClr val="000000"/>
                        </a:solidFill>
                      </a:rPr>
                      <a:t>Cloud/SaaS Providers - </a:t>
                    </a:r>
                    <a:r>
                      <a:rPr lang="en-US" sz="600" dirty="0">
                        <a:solidFill>
                          <a:srgbClr val="000000"/>
                        </a:solidFill>
                      </a:rPr>
                      <a:t>ECX</a:t>
                    </a:r>
                    <a:endParaRPr lang="en-US" sz="600" dirty="0">
                      <a:solidFill>
                        <a:srgbClr val="000000"/>
                      </a:solidFill>
                      <a:latin typeface="Arial" panose="020B0604020202020204"/>
                    </a:endParaRPr>
                  </a:p>
                </p:txBody>
              </p:sp>
              <p:sp>
                <p:nvSpPr>
                  <p:cNvPr id="71" name="Rectangle 70"/>
                  <p:cNvSpPr/>
                  <p:nvPr/>
                </p:nvSpPr>
                <p:spPr>
                  <a:xfrm>
                    <a:off x="1315436" y="3684232"/>
                    <a:ext cx="2078182" cy="249383"/>
                  </a:xfrm>
                  <a:prstGeom prst="rect">
                    <a:avLst/>
                  </a:prstGeom>
                  <a:solidFill>
                    <a:srgbClr val="00B050"/>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chemeClr val="bg1"/>
                        </a:solidFill>
                      </a:rPr>
                      <a:t>Private B2B MPLS circuit - </a:t>
                    </a:r>
                    <a:r>
                      <a:rPr lang="en-US" sz="600" dirty="0">
                        <a:solidFill>
                          <a:schemeClr val="bg1"/>
                        </a:solidFill>
                      </a:rPr>
                      <a:t>CenturyLink</a:t>
                    </a:r>
                    <a:endParaRPr lang="en-US" sz="600" dirty="0">
                      <a:solidFill>
                        <a:schemeClr val="bg1"/>
                      </a:solidFill>
                      <a:latin typeface="Arial" panose="020B0604020202020204"/>
                    </a:endParaRPr>
                  </a:p>
                </p:txBody>
              </p:sp>
              <p:sp>
                <p:nvSpPr>
                  <p:cNvPr id="72" name="Rectangle 71"/>
                  <p:cNvSpPr/>
                  <p:nvPr/>
                </p:nvSpPr>
                <p:spPr>
                  <a:xfrm>
                    <a:off x="1315436" y="3989710"/>
                    <a:ext cx="2078182" cy="127973"/>
                  </a:xfrm>
                  <a:prstGeom prst="rect">
                    <a:avLst/>
                  </a:prstGeom>
                  <a:solidFill>
                    <a:srgbClr val="00B050"/>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chemeClr val="bg1"/>
                        </a:solidFill>
                      </a:rPr>
                      <a:t>Internet Circuits - </a:t>
                    </a:r>
                    <a:r>
                      <a:rPr lang="en-US" sz="600" dirty="0">
                        <a:solidFill>
                          <a:schemeClr val="bg1"/>
                        </a:solidFill>
                      </a:rPr>
                      <a:t>CenturyLink</a:t>
                    </a:r>
                    <a:endParaRPr lang="en-US" sz="600" dirty="0">
                      <a:solidFill>
                        <a:schemeClr val="bg1"/>
                      </a:solidFill>
                      <a:latin typeface="Arial" panose="020B0604020202020204"/>
                    </a:endParaRPr>
                  </a:p>
                </p:txBody>
              </p:sp>
            </p:grpSp>
            <p:sp>
              <p:nvSpPr>
                <p:cNvPr id="68" name="Rounded Rectangle 67"/>
                <p:cNvSpPr/>
                <p:nvPr/>
              </p:nvSpPr>
              <p:spPr>
                <a:xfrm>
                  <a:off x="909387" y="2373443"/>
                  <a:ext cx="4714827" cy="2122357"/>
                </a:xfrm>
                <a:prstGeom prst="roundRect">
                  <a:avLst/>
                </a:prstGeom>
                <a:noFill/>
                <a:ln w="1270">
                  <a:solidFill>
                    <a:srgbClr val="0033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Rectangle 68"/>
                <p:cNvSpPr/>
                <p:nvPr/>
              </p:nvSpPr>
              <p:spPr>
                <a:xfrm>
                  <a:off x="2322172" y="4276819"/>
                  <a:ext cx="1889256" cy="140770"/>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600" b="1" dirty="0">
                      <a:solidFill>
                        <a:srgbClr val="000000"/>
                      </a:solidFill>
                    </a:rPr>
                    <a:t>Equinix Colo- </a:t>
                  </a:r>
                  <a:r>
                    <a:rPr lang="it-IT" sz="600" dirty="0">
                      <a:solidFill>
                        <a:srgbClr val="000000"/>
                      </a:solidFill>
                    </a:rPr>
                    <a:t>ECX CoLo DC</a:t>
                  </a:r>
                </a:p>
              </p:txBody>
            </p:sp>
          </p:grpSp>
          <p:sp>
            <p:nvSpPr>
              <p:cNvPr id="63" name="TextBox 62"/>
              <p:cNvSpPr txBox="1"/>
              <p:nvPr/>
            </p:nvSpPr>
            <p:spPr>
              <a:xfrm>
                <a:off x="1262662" y="2611484"/>
                <a:ext cx="961801" cy="153888"/>
              </a:xfrm>
              <a:prstGeom prst="rect">
                <a:avLst/>
              </a:prstGeom>
            </p:spPr>
            <p:txBody>
              <a:bodyPr wrap="none" lIns="0" tIns="0" rIns="0" bIns="0" rtlCol="0">
                <a:spAutoFit/>
              </a:bodyPr>
              <a:lstStyle/>
              <a:p>
                <a:pPr algn="l"/>
                <a:r>
                  <a:rPr lang="en-US" sz="750" b="1" dirty="0">
                    <a:solidFill>
                      <a:srgbClr val="002060"/>
                    </a:solidFill>
                  </a:rPr>
                  <a:t>Cognizant Rack</a:t>
                </a:r>
              </a:p>
            </p:txBody>
          </p:sp>
          <p:grpSp>
            <p:nvGrpSpPr>
              <p:cNvPr id="64" name="Group 63"/>
              <p:cNvGrpSpPr/>
              <p:nvPr/>
            </p:nvGrpSpPr>
            <p:grpSpPr>
              <a:xfrm>
                <a:off x="3420738" y="3581202"/>
                <a:ext cx="1932298" cy="398380"/>
                <a:chOff x="3420738" y="3581202"/>
                <a:chExt cx="1932298" cy="398380"/>
              </a:xfrm>
            </p:grpSpPr>
            <p:sp>
              <p:nvSpPr>
                <p:cNvPr id="65" name="Rectangle 64"/>
                <p:cNvSpPr/>
                <p:nvPr/>
              </p:nvSpPr>
              <p:spPr>
                <a:xfrm>
                  <a:off x="3420738" y="3810647"/>
                  <a:ext cx="1932298" cy="168935"/>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DHCP - </a:t>
                  </a:r>
                  <a:r>
                    <a:rPr lang="en-US" sz="600" dirty="0" err="1">
                      <a:solidFill>
                        <a:srgbClr val="000000"/>
                      </a:solidFill>
                    </a:rPr>
                    <a:t>Infoblox</a:t>
                  </a:r>
                  <a:endParaRPr lang="en-US" sz="600" dirty="0">
                    <a:solidFill>
                      <a:srgbClr val="000000"/>
                    </a:solidFill>
                    <a:latin typeface="Arial" panose="020B0604020202020204"/>
                  </a:endParaRPr>
                </a:p>
              </p:txBody>
            </p:sp>
            <p:sp>
              <p:nvSpPr>
                <p:cNvPr id="66" name="Rectangle 65"/>
                <p:cNvSpPr/>
                <p:nvPr/>
              </p:nvSpPr>
              <p:spPr>
                <a:xfrm>
                  <a:off x="3422813" y="3581202"/>
                  <a:ext cx="1920697" cy="170332"/>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Cabling </a:t>
                  </a:r>
                  <a:r>
                    <a:rPr lang="en-US" sz="600" b="1" dirty="0" smtClean="0">
                      <a:solidFill>
                        <a:srgbClr val="000000"/>
                      </a:solidFill>
                    </a:rPr>
                    <a:t>– </a:t>
                  </a:r>
                  <a:r>
                    <a:rPr lang="en-US" sz="600" dirty="0" err="1" smtClean="0">
                      <a:solidFill>
                        <a:srgbClr val="000000"/>
                      </a:solidFill>
                    </a:rPr>
                    <a:t>Comnet</a:t>
                  </a:r>
                  <a:r>
                    <a:rPr lang="en-US" sz="600" dirty="0" smtClean="0">
                      <a:solidFill>
                        <a:srgbClr val="000000"/>
                      </a:solidFill>
                    </a:rPr>
                    <a:t>/TBD</a:t>
                  </a:r>
                  <a:endParaRPr lang="en-US" sz="600" dirty="0">
                    <a:solidFill>
                      <a:srgbClr val="000000"/>
                    </a:solidFill>
                    <a:latin typeface="Arial" panose="020B0604020202020204"/>
                  </a:endParaRPr>
                </a:p>
              </p:txBody>
            </p:sp>
          </p:grpSp>
        </p:grpSp>
        <p:pic>
          <p:nvPicPr>
            <p:cNvPr id="58" name="Picture 57">
              <a:extLst>
                <a:ext uri="{FF2B5EF4-FFF2-40B4-BE49-F238E27FC236}">
                  <a16:creationId xmlns:a16="http://schemas.microsoft.com/office/drawing/2014/main" id="{0E5CE040-C0D3-40BD-8063-A2DF101E8B8B}"/>
                </a:ext>
              </a:extLst>
            </p:cNvPr>
            <p:cNvPicPr>
              <a:picLocks noChangeAspect="1"/>
            </p:cNvPicPr>
            <p:nvPr/>
          </p:nvPicPr>
          <p:blipFill>
            <a:blip r:embed="rId15"/>
            <a:stretch>
              <a:fillRect/>
            </a:stretch>
          </p:blipFill>
          <p:spPr bwMode="black">
            <a:xfrm>
              <a:off x="10374188" y="2426135"/>
              <a:ext cx="597318" cy="159899"/>
            </a:xfrm>
            <a:prstGeom prst="rect">
              <a:avLst/>
            </a:prstGeom>
          </p:spPr>
        </p:pic>
      </p:grpSp>
      <p:sp>
        <p:nvSpPr>
          <p:cNvPr id="86" name="Rectangle 85"/>
          <p:cNvSpPr/>
          <p:nvPr/>
        </p:nvSpPr>
        <p:spPr>
          <a:xfrm>
            <a:off x="623696" y="585831"/>
            <a:ext cx="3623488" cy="829001"/>
          </a:xfrm>
          <a:prstGeom prst="rect">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750">
              <a:solidFill>
                <a:prstClr val="white"/>
              </a:solidFill>
              <a:latin typeface="+mj-lt"/>
            </a:endParaRPr>
          </a:p>
        </p:txBody>
      </p:sp>
      <p:sp>
        <p:nvSpPr>
          <p:cNvPr id="87" name="Rounded Rectangle 86"/>
          <p:cNvSpPr/>
          <p:nvPr/>
        </p:nvSpPr>
        <p:spPr>
          <a:xfrm>
            <a:off x="755461" y="451238"/>
            <a:ext cx="1115279" cy="209550"/>
          </a:xfrm>
          <a:prstGeom prst="roundRect">
            <a:avLst/>
          </a:prstGeom>
          <a:solidFill>
            <a:srgbClr val="0033A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750" b="1" dirty="0">
                <a:solidFill>
                  <a:prstClr val="white"/>
                </a:solidFill>
                <a:latin typeface="+mj-lt"/>
                <a:cs typeface="Arial" panose="020B0604020202020204" pitchFamily="34" charset="0"/>
              </a:rPr>
              <a:t>IaaS</a:t>
            </a:r>
          </a:p>
        </p:txBody>
      </p:sp>
      <p:grpSp>
        <p:nvGrpSpPr>
          <p:cNvPr id="88" name="Group 87"/>
          <p:cNvGrpSpPr/>
          <p:nvPr/>
        </p:nvGrpSpPr>
        <p:grpSpPr>
          <a:xfrm>
            <a:off x="710121" y="676747"/>
            <a:ext cx="1487633" cy="709859"/>
            <a:chOff x="1048845" y="1025640"/>
            <a:chExt cx="1983510" cy="946478"/>
          </a:xfrm>
        </p:grpSpPr>
        <p:grpSp>
          <p:nvGrpSpPr>
            <p:cNvPr id="89" name="Group 88"/>
            <p:cNvGrpSpPr/>
            <p:nvPr/>
          </p:nvGrpSpPr>
          <p:grpSpPr>
            <a:xfrm>
              <a:off x="1863921" y="1046456"/>
              <a:ext cx="1147079" cy="734714"/>
              <a:chOff x="3150012" y="1134528"/>
              <a:chExt cx="1147079" cy="734714"/>
            </a:xfrm>
          </p:grpSpPr>
          <p:sp>
            <p:nvSpPr>
              <p:cNvPr id="102" name="Cloud 101"/>
              <p:cNvSpPr/>
              <p:nvPr/>
            </p:nvSpPr>
            <p:spPr>
              <a:xfrm>
                <a:off x="3150012" y="1320602"/>
                <a:ext cx="1147079" cy="548640"/>
              </a:xfrm>
              <a:prstGeom prst="cloud">
                <a:avLst/>
              </a:prstGeom>
              <a:solidFill>
                <a:srgbClr val="FF8F1C"/>
              </a:solidFill>
              <a:ln w="3175">
                <a:solidFill>
                  <a:schemeClr val="bg1">
                    <a:lumMod val="50000"/>
                    <a:alpha val="3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750" dirty="0">
                    <a:solidFill>
                      <a:prstClr val="black"/>
                    </a:solidFill>
                    <a:latin typeface="+mj-lt"/>
                    <a:cs typeface="Arial" panose="020B0604020202020204" pitchFamily="34" charset="0"/>
                  </a:rPr>
                  <a:t>IBM </a:t>
                </a:r>
                <a:r>
                  <a:rPr lang="en-US" sz="750" dirty="0" err="1">
                    <a:solidFill>
                      <a:prstClr val="black"/>
                    </a:solidFill>
                    <a:latin typeface="+mj-lt"/>
                    <a:cs typeface="Arial" panose="020B0604020202020204" pitchFamily="34" charset="0"/>
                  </a:rPr>
                  <a:t>Softlayer</a:t>
                </a:r>
                <a:endParaRPr lang="en-US" sz="750" dirty="0">
                  <a:solidFill>
                    <a:prstClr val="black"/>
                  </a:solidFill>
                  <a:latin typeface="+mj-lt"/>
                  <a:cs typeface="Arial" panose="020B0604020202020204" pitchFamily="34" charset="0"/>
                </a:endParaRPr>
              </a:p>
            </p:txBody>
          </p:sp>
          <p:pic>
            <p:nvPicPr>
              <p:cNvPr id="103" name="Picture 6" descr="Image result for IBM"/>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576802" y="1134528"/>
                <a:ext cx="296139" cy="1479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0" name="Group 89"/>
            <p:cNvGrpSpPr/>
            <p:nvPr/>
          </p:nvGrpSpPr>
          <p:grpSpPr>
            <a:xfrm>
              <a:off x="1114333" y="1089760"/>
              <a:ext cx="681325" cy="686087"/>
              <a:chOff x="464062" y="1181963"/>
              <a:chExt cx="681325" cy="686087"/>
            </a:xfrm>
          </p:grpSpPr>
          <p:grpSp>
            <p:nvGrpSpPr>
              <p:cNvPr id="93" name="Group 92"/>
              <p:cNvGrpSpPr/>
              <p:nvPr/>
            </p:nvGrpSpPr>
            <p:grpSpPr>
              <a:xfrm>
                <a:off x="464062" y="1314259"/>
                <a:ext cx="681325" cy="553791"/>
                <a:chOff x="427138" y="1314259"/>
                <a:chExt cx="681325" cy="553791"/>
              </a:xfrm>
            </p:grpSpPr>
            <p:sp>
              <p:nvSpPr>
                <p:cNvPr id="95" name="Cloud 94"/>
                <p:cNvSpPr/>
                <p:nvPr/>
              </p:nvSpPr>
              <p:spPr>
                <a:xfrm>
                  <a:off x="427138" y="1314259"/>
                  <a:ext cx="681325" cy="553791"/>
                </a:xfrm>
                <a:prstGeom prst="cloud">
                  <a:avLst/>
                </a:prstGeom>
                <a:solidFill>
                  <a:schemeClr val="bg1">
                    <a:lumMod val="85000"/>
                  </a:schemeClr>
                </a:solidFill>
                <a:ln w="3175">
                  <a:solidFill>
                    <a:schemeClr val="bg1">
                      <a:lumMod val="50000"/>
                      <a:alpha val="3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750" dirty="0">
                    <a:solidFill>
                      <a:prstClr val="black"/>
                    </a:solidFill>
                    <a:latin typeface="+mj-lt"/>
                    <a:cs typeface="Arial" panose="020B0604020202020204" pitchFamily="34" charset="0"/>
                  </a:endParaRPr>
                </a:p>
              </p:txBody>
            </p:sp>
            <p:grpSp>
              <p:nvGrpSpPr>
                <p:cNvPr id="96" name="Group 95"/>
                <p:cNvGrpSpPr/>
                <p:nvPr/>
              </p:nvGrpSpPr>
              <p:grpSpPr>
                <a:xfrm>
                  <a:off x="509985" y="1430870"/>
                  <a:ext cx="416682" cy="169277"/>
                  <a:chOff x="702370" y="1432858"/>
                  <a:chExt cx="416682" cy="169277"/>
                </a:xfrm>
              </p:grpSpPr>
              <p:sp>
                <p:nvSpPr>
                  <p:cNvPr id="100" name="TextBox 99"/>
                  <p:cNvSpPr txBox="1"/>
                  <p:nvPr/>
                </p:nvSpPr>
                <p:spPr>
                  <a:xfrm>
                    <a:off x="960890" y="1432858"/>
                    <a:ext cx="158162" cy="169277"/>
                  </a:xfrm>
                  <a:prstGeom prst="rect">
                    <a:avLst/>
                  </a:prstGeom>
                </p:spPr>
                <p:txBody>
                  <a:bodyPr wrap="none" lIns="0" tIns="0" rIns="0" bIns="0" rtlCol="0">
                    <a:spAutoFit/>
                  </a:bodyPr>
                  <a:lstStyle/>
                  <a:p>
                    <a:pPr algn="l"/>
                    <a:r>
                      <a:rPr lang="en-US" sz="825" dirty="0">
                        <a:solidFill>
                          <a:schemeClr val="tx2"/>
                        </a:solidFill>
                      </a:rPr>
                      <a:t>74</a:t>
                    </a:r>
                  </a:p>
                </p:txBody>
              </p:sp>
              <p:pic>
                <p:nvPicPr>
                  <p:cNvPr id="101" name="Picture 10" descr="Image result for VIRTUAL MACHINE LOGO"/>
                  <p:cNvPicPr>
                    <a:picLocks noChangeAspect="1" noChangeArrowheads="1"/>
                  </p:cNvPicPr>
                  <p:nvPr/>
                </p:nvPicPr>
                <p:blipFill>
                  <a:blip r:embed="rId10" cstate="print">
                    <a:clrChange>
                      <a:clrFrom>
                        <a:srgbClr val="FFFFFF"/>
                      </a:clrFrom>
                      <a:clrTo>
                        <a:srgbClr val="FFFFFF">
                          <a:alpha val="0"/>
                        </a:srgbClr>
                      </a:clrTo>
                    </a:clrChange>
                    <a:extLst>
                      <a:ext uri="{BEBA8EAE-BF5A-486C-A8C5-ECC9F3942E4B}">
                        <a14:imgProps xmlns:a14="http://schemas.microsoft.com/office/drawing/2010/main">
                          <a14:imgLayer r:embed="rId7">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702370" y="1442149"/>
                    <a:ext cx="310081" cy="15069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7" name="Group 96"/>
                <p:cNvGrpSpPr/>
                <p:nvPr/>
              </p:nvGrpSpPr>
              <p:grpSpPr>
                <a:xfrm>
                  <a:off x="569444" y="1620467"/>
                  <a:ext cx="357225" cy="187956"/>
                  <a:chOff x="761829" y="1622455"/>
                  <a:chExt cx="357225" cy="187956"/>
                </a:xfrm>
              </p:grpSpPr>
              <p:pic>
                <p:nvPicPr>
                  <p:cNvPr id="98" name="Picture 4" descr="Image result for load balancer ico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1829" y="1622455"/>
                    <a:ext cx="202256" cy="187956"/>
                  </a:xfrm>
                  <a:prstGeom prst="rect">
                    <a:avLst/>
                  </a:prstGeom>
                  <a:noFill/>
                  <a:extLst>
                    <a:ext uri="{909E8E84-426E-40DD-AFC4-6F175D3DCCD1}">
                      <a14:hiddenFill xmlns:a14="http://schemas.microsoft.com/office/drawing/2010/main">
                        <a:solidFill>
                          <a:srgbClr val="FFFFFF"/>
                        </a:solidFill>
                      </a14:hiddenFill>
                    </a:ext>
                  </a:extLst>
                </p:spPr>
              </p:pic>
              <p:sp>
                <p:nvSpPr>
                  <p:cNvPr id="99" name="TextBox 98"/>
                  <p:cNvSpPr txBox="1"/>
                  <p:nvPr/>
                </p:nvSpPr>
                <p:spPr>
                  <a:xfrm>
                    <a:off x="960891" y="1631795"/>
                    <a:ext cx="158163" cy="169277"/>
                  </a:xfrm>
                  <a:prstGeom prst="rect">
                    <a:avLst/>
                  </a:prstGeom>
                </p:spPr>
                <p:txBody>
                  <a:bodyPr wrap="none" lIns="0" tIns="0" rIns="0" bIns="0" rtlCol="0">
                    <a:spAutoFit/>
                  </a:bodyPr>
                  <a:lstStyle/>
                  <a:p>
                    <a:pPr algn="l"/>
                    <a:r>
                      <a:rPr lang="en-US" sz="825" dirty="0">
                        <a:solidFill>
                          <a:schemeClr val="tx2"/>
                        </a:solidFill>
                      </a:rPr>
                      <a:t>12</a:t>
                    </a:r>
                  </a:p>
                </p:txBody>
              </p:sp>
            </p:grpSp>
          </p:grpSp>
          <p:pic>
            <p:nvPicPr>
              <p:cNvPr id="94" name="Picture 14" descr="Image result for AWS"/>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09071" y="1181963"/>
                <a:ext cx="215586" cy="128993"/>
              </a:xfrm>
              <a:prstGeom prst="rect">
                <a:avLst/>
              </a:prstGeom>
              <a:noFill/>
              <a:extLst>
                <a:ext uri="{909E8E84-426E-40DD-AFC4-6F175D3DCCD1}">
                  <a14:hiddenFill xmlns:a14="http://schemas.microsoft.com/office/drawing/2010/main">
                    <a:solidFill>
                      <a:srgbClr val="FFFFFF"/>
                    </a:solidFill>
                  </a14:hiddenFill>
                </a:ext>
              </a:extLst>
            </p:spPr>
          </p:pic>
        </p:grpSp>
        <p:sp>
          <p:nvSpPr>
            <p:cNvPr id="91" name="Rectangle 90"/>
            <p:cNvSpPr/>
            <p:nvPr/>
          </p:nvSpPr>
          <p:spPr>
            <a:xfrm>
              <a:off x="1048845" y="1025640"/>
              <a:ext cx="1983510" cy="946478"/>
            </a:xfrm>
            <a:prstGeom prst="rect">
              <a:avLst/>
            </a:prstGeom>
            <a:noFill/>
            <a:ln w="6350">
              <a:solidFill>
                <a:srgbClr val="1F70C2"/>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92" name="Picture 6" descr="Image result for IBM"/>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792089" y="1799110"/>
              <a:ext cx="296139" cy="1479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4" name="Group 103"/>
          <p:cNvGrpSpPr/>
          <p:nvPr/>
        </p:nvGrpSpPr>
        <p:grpSpPr>
          <a:xfrm>
            <a:off x="2245606" y="667007"/>
            <a:ext cx="1479372" cy="794682"/>
            <a:chOff x="3005669" y="1183805"/>
            <a:chExt cx="1972496" cy="1059576"/>
          </a:xfrm>
        </p:grpSpPr>
        <p:grpSp>
          <p:nvGrpSpPr>
            <p:cNvPr id="105" name="Group 104"/>
            <p:cNvGrpSpPr/>
            <p:nvPr/>
          </p:nvGrpSpPr>
          <p:grpSpPr>
            <a:xfrm>
              <a:off x="3047204" y="1183805"/>
              <a:ext cx="1079885" cy="786456"/>
              <a:chOff x="3047204" y="1012654"/>
              <a:chExt cx="1079885" cy="786456"/>
            </a:xfrm>
          </p:grpSpPr>
          <p:pic>
            <p:nvPicPr>
              <p:cNvPr id="114" name="Picture 113"/>
              <p:cNvPicPr>
                <a:picLocks noChangeAspect="1"/>
              </p:cNvPicPr>
              <p:nvPr/>
            </p:nvPicPr>
            <p:blipFill>
              <a:blip r:embed="rId5">
                <a:clrChange>
                  <a:clrFrom>
                    <a:srgbClr val="FFFFFF"/>
                  </a:clrFrom>
                  <a:clrTo>
                    <a:srgbClr val="FFFFFF">
                      <a:alpha val="0"/>
                    </a:srgbClr>
                  </a:clrTo>
                </a:clrChange>
              </a:blip>
              <a:stretch>
                <a:fillRect/>
              </a:stretch>
            </p:blipFill>
            <p:spPr>
              <a:xfrm>
                <a:off x="3323871" y="1012654"/>
                <a:ext cx="526550" cy="210725"/>
              </a:xfrm>
              <a:prstGeom prst="rect">
                <a:avLst/>
              </a:prstGeom>
            </p:spPr>
          </p:pic>
          <p:grpSp>
            <p:nvGrpSpPr>
              <p:cNvPr id="115" name="Group 114"/>
              <p:cNvGrpSpPr/>
              <p:nvPr/>
            </p:nvGrpSpPr>
            <p:grpSpPr>
              <a:xfrm>
                <a:off x="3047204" y="1216650"/>
                <a:ext cx="1079885" cy="582460"/>
                <a:chOff x="3047204" y="1216650"/>
                <a:chExt cx="1079885" cy="582460"/>
              </a:xfrm>
            </p:grpSpPr>
            <p:sp>
              <p:nvSpPr>
                <p:cNvPr id="116" name="Cloud 115"/>
                <p:cNvSpPr/>
                <p:nvPr/>
              </p:nvSpPr>
              <p:spPr>
                <a:xfrm>
                  <a:off x="3047204" y="1216650"/>
                  <a:ext cx="1079885" cy="582460"/>
                </a:xfrm>
                <a:prstGeom prst="cloud">
                  <a:avLst/>
                </a:prstGeom>
                <a:solidFill>
                  <a:schemeClr val="bg1">
                    <a:lumMod val="85000"/>
                  </a:schemeClr>
                </a:solidFill>
                <a:ln w="3175">
                  <a:solidFill>
                    <a:schemeClr val="bg1">
                      <a:lumMod val="50000"/>
                      <a:alpha val="3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750" dirty="0">
                    <a:solidFill>
                      <a:prstClr val="black"/>
                    </a:solidFill>
                    <a:latin typeface="+mj-lt"/>
                    <a:cs typeface="Arial" panose="020B0604020202020204" pitchFamily="34" charset="0"/>
                  </a:endParaRPr>
                </a:p>
              </p:txBody>
            </p:sp>
            <p:grpSp>
              <p:nvGrpSpPr>
                <p:cNvPr id="117" name="Group 116"/>
                <p:cNvGrpSpPr/>
                <p:nvPr/>
              </p:nvGrpSpPr>
              <p:grpSpPr>
                <a:xfrm>
                  <a:off x="3091488" y="1316079"/>
                  <a:ext cx="416173" cy="169276"/>
                  <a:chOff x="1881759" y="1405570"/>
                  <a:chExt cx="416173" cy="173763"/>
                </a:xfrm>
              </p:grpSpPr>
              <p:sp>
                <p:nvSpPr>
                  <p:cNvPr id="125" name="TextBox 124"/>
                  <p:cNvSpPr txBox="1"/>
                  <p:nvPr/>
                </p:nvSpPr>
                <p:spPr>
                  <a:xfrm>
                    <a:off x="2139769" y="1405570"/>
                    <a:ext cx="158163" cy="173763"/>
                  </a:xfrm>
                  <a:prstGeom prst="rect">
                    <a:avLst/>
                  </a:prstGeom>
                </p:spPr>
                <p:txBody>
                  <a:bodyPr wrap="none" lIns="0" tIns="0" rIns="0" bIns="0" rtlCol="0">
                    <a:spAutoFit/>
                  </a:bodyPr>
                  <a:lstStyle/>
                  <a:p>
                    <a:pPr algn="l"/>
                    <a:r>
                      <a:rPr lang="en-US" sz="825" dirty="0">
                        <a:solidFill>
                          <a:schemeClr val="tx2"/>
                        </a:solidFill>
                      </a:rPr>
                      <a:t>78</a:t>
                    </a:r>
                  </a:p>
                </p:txBody>
              </p:sp>
              <p:pic>
                <p:nvPicPr>
                  <p:cNvPr id="126" name="Picture 10" descr="Image result for VIRTUAL MACHINE LOGO"/>
                  <p:cNvPicPr>
                    <a:picLocks noChangeAspect="1" noChangeArrowheads="1"/>
                  </p:cNvPicPr>
                  <p:nvPr/>
                </p:nvPicPr>
                <p:blipFill>
                  <a:blip r:embed="rId6" cstate="print">
                    <a:clrChange>
                      <a:clrFrom>
                        <a:srgbClr val="FFFFFF"/>
                      </a:clrFrom>
                      <a:clrTo>
                        <a:srgbClr val="FFFFFF">
                          <a:alpha val="0"/>
                        </a:srgbClr>
                      </a:clrTo>
                    </a:clrChange>
                    <a:extLst>
                      <a:ext uri="{BEBA8EAE-BF5A-486C-A8C5-ECC9F3942E4B}">
                        <a14:imgProps xmlns:a14="http://schemas.microsoft.com/office/drawing/2010/main">
                          <a14:imgLayer r:embed="rId7">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1881759" y="1414861"/>
                    <a:ext cx="310081" cy="15069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8" name="Group 117"/>
                <p:cNvGrpSpPr/>
                <p:nvPr/>
              </p:nvGrpSpPr>
              <p:grpSpPr>
                <a:xfrm>
                  <a:off x="3602217" y="1306981"/>
                  <a:ext cx="356714" cy="183103"/>
                  <a:chOff x="1941218" y="1602934"/>
                  <a:chExt cx="356714" cy="187956"/>
                </a:xfrm>
              </p:grpSpPr>
              <p:pic>
                <p:nvPicPr>
                  <p:cNvPr id="123" name="Picture 4" descr="Image result for load balancer ico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41218" y="1602934"/>
                    <a:ext cx="202256" cy="187956"/>
                  </a:xfrm>
                  <a:prstGeom prst="rect">
                    <a:avLst/>
                  </a:prstGeom>
                  <a:noFill/>
                  <a:extLst>
                    <a:ext uri="{909E8E84-426E-40DD-AFC4-6F175D3DCCD1}">
                      <a14:hiddenFill xmlns:a14="http://schemas.microsoft.com/office/drawing/2010/main">
                        <a:solidFill>
                          <a:srgbClr val="FFFFFF"/>
                        </a:solidFill>
                      </a14:hiddenFill>
                    </a:ext>
                  </a:extLst>
                </p:spPr>
              </p:pic>
              <p:sp>
                <p:nvSpPr>
                  <p:cNvPr id="124" name="TextBox 123"/>
                  <p:cNvSpPr txBox="1"/>
                  <p:nvPr/>
                </p:nvSpPr>
                <p:spPr>
                  <a:xfrm>
                    <a:off x="2139770" y="1612274"/>
                    <a:ext cx="158162" cy="173764"/>
                  </a:xfrm>
                  <a:prstGeom prst="rect">
                    <a:avLst/>
                  </a:prstGeom>
                </p:spPr>
                <p:txBody>
                  <a:bodyPr wrap="none" lIns="0" tIns="0" rIns="0" bIns="0" rtlCol="0">
                    <a:spAutoFit/>
                  </a:bodyPr>
                  <a:lstStyle/>
                  <a:p>
                    <a:pPr algn="l"/>
                    <a:r>
                      <a:rPr lang="en-US" sz="825" dirty="0">
                        <a:solidFill>
                          <a:schemeClr val="tx2"/>
                        </a:solidFill>
                      </a:rPr>
                      <a:t>12</a:t>
                    </a:r>
                  </a:p>
                </p:txBody>
              </p:sp>
            </p:grpSp>
            <p:grpSp>
              <p:nvGrpSpPr>
                <p:cNvPr id="119" name="Group 118"/>
                <p:cNvGrpSpPr/>
                <p:nvPr/>
              </p:nvGrpSpPr>
              <p:grpSpPr>
                <a:xfrm>
                  <a:off x="3621913" y="1503435"/>
                  <a:ext cx="342420" cy="177417"/>
                  <a:chOff x="2508377" y="1413976"/>
                  <a:chExt cx="342420" cy="182119"/>
                </a:xfrm>
              </p:grpSpPr>
              <p:pic>
                <p:nvPicPr>
                  <p:cNvPr id="121" name="Picture 120"/>
                  <p:cNvPicPr>
                    <a:picLocks noChangeAspect="1"/>
                  </p:cNvPicPr>
                  <p:nvPr/>
                </p:nvPicPr>
                <p:blipFill>
                  <a:blip r:embed="rId9">
                    <a:clrChange>
                      <a:clrFrom>
                        <a:srgbClr val="FEFEFE"/>
                      </a:clrFrom>
                      <a:clrTo>
                        <a:srgbClr val="FEFEFE">
                          <a:alpha val="0"/>
                        </a:srgbClr>
                      </a:clrTo>
                    </a:clrChange>
                  </a:blip>
                  <a:stretch>
                    <a:fillRect/>
                  </a:stretch>
                </p:blipFill>
                <p:spPr>
                  <a:xfrm>
                    <a:off x="2508377" y="1413976"/>
                    <a:ext cx="162863" cy="178333"/>
                  </a:xfrm>
                  <a:prstGeom prst="rect">
                    <a:avLst/>
                  </a:prstGeom>
                </p:spPr>
              </p:pic>
              <p:sp>
                <p:nvSpPr>
                  <p:cNvPr id="122" name="TextBox 121"/>
                  <p:cNvSpPr txBox="1"/>
                  <p:nvPr/>
                </p:nvSpPr>
                <p:spPr>
                  <a:xfrm>
                    <a:off x="2771714" y="1422332"/>
                    <a:ext cx="79083" cy="173763"/>
                  </a:xfrm>
                  <a:prstGeom prst="rect">
                    <a:avLst/>
                  </a:prstGeom>
                </p:spPr>
                <p:txBody>
                  <a:bodyPr wrap="none" lIns="0" tIns="0" rIns="0" bIns="0" rtlCol="0">
                    <a:spAutoFit/>
                  </a:bodyPr>
                  <a:lstStyle/>
                  <a:p>
                    <a:pPr algn="l"/>
                    <a:r>
                      <a:rPr lang="en-US" sz="825" dirty="0">
                        <a:solidFill>
                          <a:schemeClr val="tx2"/>
                        </a:solidFill>
                      </a:rPr>
                      <a:t>4</a:t>
                    </a:r>
                  </a:p>
                </p:txBody>
              </p:sp>
            </p:grpSp>
            <p:sp>
              <p:nvSpPr>
                <p:cNvPr id="120" name="Rounded Rectangle 119"/>
                <p:cNvSpPr/>
                <p:nvPr/>
              </p:nvSpPr>
              <p:spPr>
                <a:xfrm>
                  <a:off x="3071644" y="1532327"/>
                  <a:ext cx="630934" cy="171314"/>
                </a:xfrm>
                <a:prstGeom prst="round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600" b="1" dirty="0">
                      <a:solidFill>
                        <a:prstClr val="black"/>
                      </a:solidFill>
                      <a:latin typeface="Arial" panose="020B0604020202020204"/>
                      <a:cs typeface="Arial" panose="020B0604020202020204" pitchFamily="34" charset="0"/>
                    </a:rPr>
                    <a:t>MS DNS</a:t>
                  </a:r>
                  <a:endParaRPr lang="en-US" sz="150" dirty="0">
                    <a:solidFill>
                      <a:prstClr val="black"/>
                    </a:solidFill>
                    <a:latin typeface="Arial" panose="020B0604020202020204"/>
                    <a:cs typeface="Arial" panose="020B0604020202020204" pitchFamily="34" charset="0"/>
                  </a:endParaRPr>
                </a:p>
              </p:txBody>
            </p:sp>
          </p:grpSp>
        </p:grpSp>
        <p:sp>
          <p:nvSpPr>
            <p:cNvPr id="106" name="Rectangle 105"/>
            <p:cNvSpPr/>
            <p:nvPr/>
          </p:nvSpPr>
          <p:spPr>
            <a:xfrm>
              <a:off x="3005669" y="1196558"/>
              <a:ext cx="1972496" cy="946478"/>
            </a:xfrm>
            <a:prstGeom prst="rect">
              <a:avLst/>
            </a:prstGeom>
            <a:noFill/>
            <a:ln w="6350">
              <a:solidFill>
                <a:srgbClr val="1F649E"/>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07" name="Picture 16" descr="Image result for PCM systems ltd logo"/>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373617" y="1907501"/>
              <a:ext cx="369957" cy="335880"/>
            </a:xfrm>
            <a:prstGeom prst="rect">
              <a:avLst/>
            </a:prstGeom>
            <a:noFill/>
            <a:extLst>
              <a:ext uri="{909E8E84-426E-40DD-AFC4-6F175D3DCCD1}">
                <a14:hiddenFill xmlns:a14="http://schemas.microsoft.com/office/drawing/2010/main">
                  <a:solidFill>
                    <a:srgbClr val="FFFFFF"/>
                  </a:solidFill>
                </a14:hiddenFill>
              </a:ext>
            </a:extLst>
          </p:spPr>
        </p:pic>
        <p:grpSp>
          <p:nvGrpSpPr>
            <p:cNvPr id="108" name="Group 107"/>
            <p:cNvGrpSpPr/>
            <p:nvPr/>
          </p:nvGrpSpPr>
          <p:grpSpPr>
            <a:xfrm>
              <a:off x="4339043" y="1248139"/>
              <a:ext cx="535821" cy="817585"/>
              <a:chOff x="4254778" y="940022"/>
              <a:chExt cx="798718" cy="1161103"/>
            </a:xfrm>
          </p:grpSpPr>
          <p:grpSp>
            <p:nvGrpSpPr>
              <p:cNvPr id="109" name="Group 108"/>
              <p:cNvGrpSpPr/>
              <p:nvPr/>
            </p:nvGrpSpPr>
            <p:grpSpPr>
              <a:xfrm>
                <a:off x="4294797" y="940022"/>
                <a:ext cx="718681" cy="702547"/>
                <a:chOff x="3733431" y="1028120"/>
                <a:chExt cx="718681" cy="702547"/>
              </a:xfrm>
            </p:grpSpPr>
            <p:pic>
              <p:nvPicPr>
                <p:cNvPr id="112" name="Picture 12" descr="Image result for ZABBIX"/>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33431" y="1028120"/>
                  <a:ext cx="718681" cy="404258"/>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2" descr="Image result for zabbix"/>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66392" y="1328701"/>
                  <a:ext cx="652759" cy="401966"/>
                </a:xfrm>
                <a:prstGeom prst="rect">
                  <a:avLst/>
                </a:prstGeom>
                <a:noFill/>
                <a:extLst>
                  <a:ext uri="{909E8E84-426E-40DD-AFC4-6F175D3DCCD1}">
                    <a14:hiddenFill xmlns:a14="http://schemas.microsoft.com/office/drawing/2010/main">
                      <a:solidFill>
                        <a:srgbClr val="FFFFFF"/>
                      </a:solidFill>
                    </a14:hiddenFill>
                  </a:ext>
                </a:extLst>
              </p:spPr>
            </p:pic>
          </p:grpSp>
          <p:sp>
            <p:nvSpPr>
              <p:cNvPr id="110" name="Rectangle 109"/>
              <p:cNvSpPr/>
              <p:nvPr/>
            </p:nvSpPr>
            <p:spPr>
              <a:xfrm>
                <a:off x="4254778" y="1022294"/>
                <a:ext cx="798718" cy="946478"/>
              </a:xfrm>
              <a:prstGeom prst="rect">
                <a:avLst/>
              </a:prstGeom>
              <a:noFill/>
              <a:ln w="6350">
                <a:solidFill>
                  <a:srgbClr val="1F649E"/>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11" name="Picture 4" descr="Image result for HCL"/>
              <p:cNvPicPr>
                <a:picLocks noChangeAspect="1" noChangeArrowheads="1"/>
              </p:cNvPicPr>
              <p:nvPr/>
            </p:nvPicPr>
            <p:blipFill>
              <a:blip r:embed="rId4"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4446846" y="1686542"/>
                <a:ext cx="414583" cy="414583"/>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27" name="Group 126"/>
          <p:cNvGrpSpPr/>
          <p:nvPr/>
        </p:nvGrpSpPr>
        <p:grpSpPr>
          <a:xfrm>
            <a:off x="3774094" y="673070"/>
            <a:ext cx="415639" cy="710500"/>
            <a:chOff x="5043653" y="1191889"/>
            <a:chExt cx="554185" cy="947333"/>
          </a:xfrm>
        </p:grpSpPr>
        <p:pic>
          <p:nvPicPr>
            <p:cNvPr id="128" name="Picture 4" descr="Image result for openshift"/>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154401" y="1350496"/>
              <a:ext cx="369335" cy="468937"/>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p:cNvSpPr/>
            <p:nvPr/>
          </p:nvSpPr>
          <p:spPr>
            <a:xfrm>
              <a:off x="5043653" y="1191889"/>
              <a:ext cx="554185" cy="946478"/>
            </a:xfrm>
            <a:prstGeom prst="rect">
              <a:avLst/>
            </a:prstGeom>
            <a:noFill/>
            <a:ln w="6350">
              <a:solidFill>
                <a:srgbClr val="1F649E"/>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0" name="TextBox 129"/>
            <p:cNvSpPr txBox="1"/>
            <p:nvPr/>
          </p:nvSpPr>
          <p:spPr>
            <a:xfrm>
              <a:off x="5154401" y="1923778"/>
              <a:ext cx="359072" cy="215444"/>
            </a:xfrm>
            <a:prstGeom prst="rect">
              <a:avLst/>
            </a:prstGeom>
          </p:spPr>
          <p:txBody>
            <a:bodyPr wrap="none" lIns="0" tIns="0" rIns="0" bIns="0" rtlCol="0">
              <a:spAutoFit/>
            </a:bodyPr>
            <a:lstStyle/>
            <a:p>
              <a:pPr algn="l"/>
              <a:r>
                <a:rPr lang="en-US" sz="1050" dirty="0">
                  <a:ln>
                    <a:solidFill>
                      <a:srgbClr val="33BEB4"/>
                    </a:solidFill>
                  </a:ln>
                  <a:solidFill>
                    <a:srgbClr val="87D437"/>
                  </a:solidFill>
                </a:rPr>
                <a:t>BHF</a:t>
              </a:r>
            </a:p>
          </p:txBody>
        </p:sp>
      </p:grpSp>
      <p:grpSp>
        <p:nvGrpSpPr>
          <p:cNvPr id="131" name="Group 130"/>
          <p:cNvGrpSpPr/>
          <p:nvPr/>
        </p:nvGrpSpPr>
        <p:grpSpPr>
          <a:xfrm>
            <a:off x="615595" y="1464734"/>
            <a:ext cx="3621310" cy="1889210"/>
            <a:chOff x="846026" y="2019845"/>
            <a:chExt cx="4828413" cy="2518946"/>
          </a:xfrm>
        </p:grpSpPr>
        <p:sp>
          <p:nvSpPr>
            <p:cNvPr id="132" name="Rectangle 131"/>
            <p:cNvSpPr/>
            <p:nvPr/>
          </p:nvSpPr>
          <p:spPr>
            <a:xfrm>
              <a:off x="846026" y="2181908"/>
              <a:ext cx="4828413" cy="2356883"/>
            </a:xfrm>
            <a:prstGeom prst="rect">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750">
                <a:solidFill>
                  <a:prstClr val="white"/>
                </a:solidFill>
                <a:latin typeface="+mj-lt"/>
              </a:endParaRPr>
            </a:p>
          </p:txBody>
        </p:sp>
        <p:sp>
          <p:nvSpPr>
            <p:cNvPr id="133" name="Rounded Rectangle 132"/>
            <p:cNvSpPr/>
            <p:nvPr/>
          </p:nvSpPr>
          <p:spPr>
            <a:xfrm>
              <a:off x="1009874" y="2019845"/>
              <a:ext cx="1829486" cy="279400"/>
            </a:xfrm>
            <a:prstGeom prst="roundRect">
              <a:avLst/>
            </a:prstGeom>
            <a:solidFill>
              <a:srgbClr val="0033A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750" b="1" dirty="0">
                  <a:solidFill>
                    <a:prstClr val="white"/>
                  </a:solidFill>
                  <a:cs typeface="Arial" panose="020B0604020202020204" pitchFamily="34" charset="0"/>
                </a:rPr>
                <a:t>Equinix </a:t>
              </a:r>
              <a:r>
                <a:rPr lang="en-US" sz="750" b="1" dirty="0" err="1">
                  <a:solidFill>
                    <a:prstClr val="white"/>
                  </a:solidFill>
                  <a:cs typeface="Arial" panose="020B0604020202020204" pitchFamily="34" charset="0"/>
                </a:rPr>
                <a:t>CoLo</a:t>
              </a:r>
              <a:r>
                <a:rPr lang="en-US" sz="750" b="1" dirty="0">
                  <a:solidFill>
                    <a:prstClr val="white"/>
                  </a:solidFill>
                  <a:cs typeface="Arial" panose="020B0604020202020204" pitchFamily="34" charset="0"/>
                </a:rPr>
                <a:t> DC</a:t>
              </a:r>
            </a:p>
          </p:txBody>
        </p:sp>
        <p:grpSp>
          <p:nvGrpSpPr>
            <p:cNvPr id="134" name="Group 133"/>
            <p:cNvGrpSpPr/>
            <p:nvPr/>
          </p:nvGrpSpPr>
          <p:grpSpPr>
            <a:xfrm>
              <a:off x="1007281" y="2598640"/>
              <a:ext cx="4567190" cy="734901"/>
              <a:chOff x="1007281" y="2796760"/>
              <a:chExt cx="4567190" cy="734901"/>
            </a:xfrm>
          </p:grpSpPr>
          <p:sp>
            <p:nvSpPr>
              <p:cNvPr id="151" name="Rounded Rectangle 150"/>
              <p:cNvSpPr/>
              <p:nvPr/>
            </p:nvSpPr>
            <p:spPr>
              <a:xfrm>
                <a:off x="1007281" y="2796760"/>
                <a:ext cx="4567190" cy="734901"/>
              </a:xfrm>
              <a:prstGeom prst="roundRect">
                <a:avLst/>
              </a:prstGeom>
              <a:solidFill>
                <a:srgbClr val="E1EAFF"/>
              </a:solidFill>
              <a:ln>
                <a:solidFill>
                  <a:srgbClr val="0033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nvGrpSpPr>
              <p:cNvPr id="152" name="Group 151"/>
              <p:cNvGrpSpPr/>
              <p:nvPr/>
            </p:nvGrpSpPr>
            <p:grpSpPr>
              <a:xfrm>
                <a:off x="3080676" y="3262578"/>
                <a:ext cx="1488468" cy="226711"/>
                <a:chOff x="3210216" y="3110178"/>
                <a:chExt cx="1488468" cy="226711"/>
              </a:xfrm>
            </p:grpSpPr>
            <p:sp>
              <p:nvSpPr>
                <p:cNvPr id="162" name="Rectangle 161"/>
                <p:cNvSpPr/>
                <p:nvPr/>
              </p:nvSpPr>
              <p:spPr>
                <a:xfrm>
                  <a:off x="3279259" y="3110178"/>
                  <a:ext cx="1419425" cy="226711"/>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Firewall - Cisco ASA </a:t>
                  </a:r>
                </a:p>
                <a:p>
                  <a:pPr lvl="0" algn="ctr">
                    <a:defRPr/>
                  </a:pPr>
                  <a:r>
                    <a:rPr lang="en-US" sz="600" dirty="0">
                      <a:solidFill>
                        <a:srgbClr val="000000"/>
                      </a:solidFill>
                    </a:rPr>
                    <a:t>Firepower 4120 </a:t>
                  </a:r>
                  <a:endParaRPr lang="en-US" sz="600" dirty="0">
                    <a:solidFill>
                      <a:srgbClr val="000000"/>
                    </a:solidFill>
                    <a:latin typeface="Arial" panose="020B0604020202020204"/>
                  </a:endParaRPr>
                </a:p>
              </p:txBody>
            </p:sp>
            <p:pic>
              <p:nvPicPr>
                <p:cNvPr id="163" name="Picture 162"/>
                <p:cNvPicPr>
                  <a:picLocks noChangeAspect="1"/>
                </p:cNvPicPr>
                <p:nvPr/>
              </p:nvPicPr>
              <p:blipFill>
                <a:blip r:embed="rId9">
                  <a:clrChange>
                    <a:clrFrom>
                      <a:srgbClr val="FEFEFE"/>
                    </a:clrFrom>
                    <a:clrTo>
                      <a:srgbClr val="FEFEFE">
                        <a:alpha val="0"/>
                      </a:srgbClr>
                    </a:clrTo>
                  </a:clrChange>
                </a:blip>
                <a:stretch>
                  <a:fillRect/>
                </a:stretch>
              </p:blipFill>
              <p:spPr>
                <a:xfrm>
                  <a:off x="3210216" y="3118427"/>
                  <a:ext cx="197064" cy="210212"/>
                </a:xfrm>
                <a:prstGeom prst="rect">
                  <a:avLst/>
                </a:prstGeom>
              </p:spPr>
            </p:pic>
          </p:grpSp>
          <p:grpSp>
            <p:nvGrpSpPr>
              <p:cNvPr id="153" name="Group 152"/>
              <p:cNvGrpSpPr/>
              <p:nvPr/>
            </p:nvGrpSpPr>
            <p:grpSpPr>
              <a:xfrm>
                <a:off x="3297665" y="2921496"/>
                <a:ext cx="2117524" cy="372086"/>
                <a:chOff x="3297665" y="2769096"/>
                <a:chExt cx="2117524" cy="372086"/>
              </a:xfrm>
            </p:grpSpPr>
            <p:sp>
              <p:nvSpPr>
                <p:cNvPr id="160" name="Rectangle 159"/>
                <p:cNvSpPr/>
                <p:nvPr/>
              </p:nvSpPr>
              <p:spPr>
                <a:xfrm>
                  <a:off x="3510141" y="2841784"/>
                  <a:ext cx="1905048" cy="226711"/>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600" b="1" dirty="0">
                      <a:solidFill>
                        <a:srgbClr val="000000"/>
                      </a:solidFill>
                    </a:rPr>
                    <a:t> </a:t>
                  </a:r>
                  <a:r>
                    <a:rPr lang="fr-FR" sz="600" b="1" dirty="0" err="1">
                      <a:solidFill>
                        <a:srgbClr val="000000"/>
                      </a:solidFill>
                    </a:rPr>
                    <a:t>Core</a:t>
                  </a:r>
                  <a:r>
                    <a:rPr lang="fr-FR" sz="600" b="1" dirty="0">
                      <a:solidFill>
                        <a:srgbClr val="000000"/>
                      </a:solidFill>
                    </a:rPr>
                    <a:t> Routers, VRF, BGP Endpoints - </a:t>
                  </a:r>
                  <a:r>
                    <a:rPr lang="fr-FR" sz="600" dirty="0">
                      <a:solidFill>
                        <a:srgbClr val="000000"/>
                      </a:solidFill>
                    </a:rPr>
                    <a:t>Cisco ASR 1001 - X</a:t>
                  </a:r>
                  <a:endParaRPr lang="en-US" sz="600" dirty="0">
                    <a:solidFill>
                      <a:srgbClr val="000000"/>
                    </a:solidFill>
                    <a:latin typeface="Arial" panose="020B0604020202020204"/>
                  </a:endParaRPr>
                </a:p>
              </p:txBody>
            </p:sp>
            <p:pic>
              <p:nvPicPr>
                <p:cNvPr id="161" name="Picture 4" descr="Image result for route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297665" y="2769096"/>
                  <a:ext cx="335549" cy="37208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4" name="Group 153"/>
              <p:cNvGrpSpPr/>
              <p:nvPr/>
            </p:nvGrpSpPr>
            <p:grpSpPr>
              <a:xfrm>
                <a:off x="4502985" y="3250373"/>
                <a:ext cx="957544" cy="254409"/>
                <a:chOff x="4502985" y="3105593"/>
                <a:chExt cx="957544" cy="254409"/>
              </a:xfrm>
            </p:grpSpPr>
            <p:sp>
              <p:nvSpPr>
                <p:cNvPr id="158" name="Rectangle 157"/>
                <p:cNvSpPr/>
                <p:nvPr/>
              </p:nvSpPr>
              <p:spPr>
                <a:xfrm>
                  <a:off x="4733862" y="3119444"/>
                  <a:ext cx="726667" cy="185272"/>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NACL – </a:t>
                  </a:r>
                </a:p>
                <a:p>
                  <a:pPr lvl="0" algn="ctr">
                    <a:defRPr/>
                  </a:pPr>
                  <a:r>
                    <a:rPr lang="en-US" sz="600" dirty="0">
                      <a:solidFill>
                        <a:srgbClr val="000000"/>
                      </a:solidFill>
                    </a:rPr>
                    <a:t>Cisco ISE</a:t>
                  </a:r>
                  <a:endParaRPr lang="en-US" sz="600" dirty="0">
                    <a:solidFill>
                      <a:srgbClr val="000000"/>
                    </a:solidFill>
                    <a:latin typeface="Arial" panose="020B0604020202020204"/>
                  </a:endParaRPr>
                </a:p>
              </p:txBody>
            </p:sp>
            <p:pic>
              <p:nvPicPr>
                <p:cNvPr id="159" name="Picture 2" descr="Related image"/>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02985" y="3105593"/>
                  <a:ext cx="339212" cy="25440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5" name="Group 154"/>
              <p:cNvGrpSpPr/>
              <p:nvPr/>
            </p:nvGrpSpPr>
            <p:grpSpPr>
              <a:xfrm>
                <a:off x="1071144" y="2911600"/>
                <a:ext cx="2208115" cy="372086"/>
                <a:chOff x="1071144" y="2759200"/>
                <a:chExt cx="2208115" cy="372086"/>
              </a:xfrm>
            </p:grpSpPr>
            <p:sp>
              <p:nvSpPr>
                <p:cNvPr id="156" name="Rectangle 155"/>
                <p:cNvSpPr/>
                <p:nvPr/>
              </p:nvSpPr>
              <p:spPr>
                <a:xfrm>
                  <a:off x="1257325" y="2840986"/>
                  <a:ext cx="2021934" cy="223754"/>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525" b="1" dirty="0">
                      <a:solidFill>
                        <a:srgbClr val="000000"/>
                      </a:solidFill>
                    </a:rPr>
                    <a:t>WLAN, LAN Switches &amp; Routers -</a:t>
                  </a:r>
                </a:p>
                <a:p>
                  <a:pPr lvl="0" algn="ctr">
                    <a:defRPr/>
                  </a:pPr>
                  <a:r>
                    <a:rPr lang="en-US" sz="525" dirty="0">
                      <a:solidFill>
                        <a:srgbClr val="000000"/>
                      </a:solidFill>
                    </a:rPr>
                    <a:t>Meraki AP, MX &amp; MS</a:t>
                  </a:r>
                  <a:endParaRPr lang="en-US" sz="525" dirty="0">
                    <a:solidFill>
                      <a:srgbClr val="000000"/>
                    </a:solidFill>
                    <a:latin typeface="Arial" panose="020B0604020202020204"/>
                  </a:endParaRPr>
                </a:p>
              </p:txBody>
            </p:sp>
            <p:pic>
              <p:nvPicPr>
                <p:cNvPr id="157" name="Picture 4" descr="Image result for route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71144" y="2759200"/>
                  <a:ext cx="335549" cy="37208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35" name="Group 134"/>
            <p:cNvGrpSpPr/>
            <p:nvPr/>
          </p:nvGrpSpPr>
          <p:grpSpPr>
            <a:xfrm>
              <a:off x="909387" y="2373443"/>
              <a:ext cx="2098532" cy="2122357"/>
              <a:chOff x="909387" y="2373443"/>
              <a:chExt cx="2098532" cy="2122357"/>
            </a:xfrm>
          </p:grpSpPr>
          <p:pic>
            <p:nvPicPr>
              <p:cNvPr id="143" name="Picture 6" descr="Image result for IBM"/>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414277" y="2426344"/>
                <a:ext cx="296139" cy="147901"/>
              </a:xfrm>
              <a:prstGeom prst="rect">
                <a:avLst/>
              </a:prstGeom>
              <a:noFill/>
              <a:extLst>
                <a:ext uri="{909E8E84-426E-40DD-AFC4-6F175D3DCCD1}">
                  <a14:hiddenFill xmlns:a14="http://schemas.microsoft.com/office/drawing/2010/main">
                    <a:solidFill>
                      <a:srgbClr val="FFFFFF"/>
                    </a:solidFill>
                  </a14:hiddenFill>
                </a:ext>
              </a:extLst>
            </p:spPr>
          </p:pic>
          <p:grpSp>
            <p:nvGrpSpPr>
              <p:cNvPr id="144" name="Group 143"/>
              <p:cNvGrpSpPr/>
              <p:nvPr/>
            </p:nvGrpSpPr>
            <p:grpSpPr>
              <a:xfrm>
                <a:off x="909387" y="2373443"/>
                <a:ext cx="2098532" cy="2122357"/>
                <a:chOff x="909387" y="2373443"/>
                <a:chExt cx="2098532" cy="2122357"/>
              </a:xfrm>
            </p:grpSpPr>
            <p:grpSp>
              <p:nvGrpSpPr>
                <p:cNvPr id="145" name="Group 144"/>
                <p:cNvGrpSpPr/>
                <p:nvPr/>
              </p:nvGrpSpPr>
              <p:grpSpPr>
                <a:xfrm>
                  <a:off x="1014025" y="3408164"/>
                  <a:ext cx="1889256" cy="711968"/>
                  <a:chOff x="1022052" y="3320534"/>
                  <a:chExt cx="2078182" cy="711968"/>
                </a:xfrm>
              </p:grpSpPr>
              <p:sp>
                <p:nvSpPr>
                  <p:cNvPr id="148" name="Rectangle 147"/>
                  <p:cNvSpPr/>
                  <p:nvPr/>
                </p:nvSpPr>
                <p:spPr>
                  <a:xfrm>
                    <a:off x="1022052" y="3320534"/>
                    <a:ext cx="2078182" cy="249383"/>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WAN Connectivity to </a:t>
                    </a:r>
                  </a:p>
                  <a:p>
                    <a:pPr lvl="0" algn="ctr">
                      <a:defRPr/>
                    </a:pPr>
                    <a:r>
                      <a:rPr lang="en-US" sz="600" b="1" dirty="0">
                        <a:solidFill>
                          <a:srgbClr val="000000"/>
                        </a:solidFill>
                      </a:rPr>
                      <a:t>Cloud/SaaS Providers - </a:t>
                    </a:r>
                    <a:r>
                      <a:rPr lang="en-US" sz="600" dirty="0">
                        <a:solidFill>
                          <a:srgbClr val="000000"/>
                        </a:solidFill>
                      </a:rPr>
                      <a:t>ECX</a:t>
                    </a:r>
                    <a:endParaRPr lang="en-US" sz="600" dirty="0">
                      <a:solidFill>
                        <a:srgbClr val="000000"/>
                      </a:solidFill>
                      <a:latin typeface="Arial" panose="020B0604020202020204"/>
                    </a:endParaRPr>
                  </a:p>
                </p:txBody>
              </p:sp>
              <p:sp>
                <p:nvSpPr>
                  <p:cNvPr id="149" name="Rectangle 148"/>
                  <p:cNvSpPr/>
                  <p:nvPr/>
                </p:nvSpPr>
                <p:spPr>
                  <a:xfrm>
                    <a:off x="1022052" y="3612114"/>
                    <a:ext cx="2078182" cy="249383"/>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Private B2B MPLS circuit - </a:t>
                    </a:r>
                    <a:r>
                      <a:rPr lang="en-US" sz="600" dirty="0">
                        <a:solidFill>
                          <a:srgbClr val="000000"/>
                        </a:solidFill>
                      </a:rPr>
                      <a:t>CenturyLink</a:t>
                    </a:r>
                    <a:endParaRPr lang="en-US" sz="600" dirty="0">
                      <a:solidFill>
                        <a:srgbClr val="000000"/>
                      </a:solidFill>
                      <a:latin typeface="Arial" panose="020B0604020202020204"/>
                    </a:endParaRPr>
                  </a:p>
                </p:txBody>
              </p:sp>
              <p:sp>
                <p:nvSpPr>
                  <p:cNvPr id="150" name="Rectangle 149"/>
                  <p:cNvSpPr/>
                  <p:nvPr/>
                </p:nvSpPr>
                <p:spPr>
                  <a:xfrm>
                    <a:off x="1022052" y="3904529"/>
                    <a:ext cx="2078182" cy="127973"/>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Internet Circuits - </a:t>
                    </a:r>
                    <a:r>
                      <a:rPr lang="en-US" sz="600" dirty="0">
                        <a:solidFill>
                          <a:srgbClr val="000000"/>
                        </a:solidFill>
                      </a:rPr>
                      <a:t>CenturyLink</a:t>
                    </a:r>
                    <a:endParaRPr lang="en-US" sz="600" dirty="0">
                      <a:solidFill>
                        <a:srgbClr val="000000"/>
                      </a:solidFill>
                      <a:latin typeface="Arial" panose="020B0604020202020204"/>
                    </a:endParaRPr>
                  </a:p>
                </p:txBody>
              </p:sp>
            </p:grpSp>
            <p:sp>
              <p:nvSpPr>
                <p:cNvPr id="146" name="Rounded Rectangle 145"/>
                <p:cNvSpPr/>
                <p:nvPr/>
              </p:nvSpPr>
              <p:spPr>
                <a:xfrm>
                  <a:off x="909387" y="2373443"/>
                  <a:ext cx="2098532" cy="2122357"/>
                </a:xfrm>
                <a:prstGeom prst="roundRect">
                  <a:avLst/>
                </a:prstGeom>
                <a:noFill/>
                <a:ln w="1270">
                  <a:solidFill>
                    <a:srgbClr val="0033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7" name="Rectangle 146"/>
                <p:cNvSpPr/>
                <p:nvPr/>
              </p:nvSpPr>
              <p:spPr>
                <a:xfrm>
                  <a:off x="1014025" y="4195908"/>
                  <a:ext cx="1889256" cy="140770"/>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600" b="1" dirty="0">
                      <a:solidFill>
                        <a:srgbClr val="000000"/>
                      </a:solidFill>
                    </a:rPr>
                    <a:t>Equinix Colo- </a:t>
                  </a:r>
                  <a:r>
                    <a:rPr lang="it-IT" sz="600" dirty="0">
                      <a:solidFill>
                        <a:srgbClr val="000000"/>
                      </a:solidFill>
                    </a:rPr>
                    <a:t>ECX CoLo DC</a:t>
                  </a:r>
                </a:p>
              </p:txBody>
            </p:sp>
          </p:grpSp>
        </p:grpSp>
        <p:sp>
          <p:nvSpPr>
            <p:cNvPr id="136" name="TextBox 135"/>
            <p:cNvSpPr txBox="1"/>
            <p:nvPr/>
          </p:nvSpPr>
          <p:spPr>
            <a:xfrm>
              <a:off x="1262662" y="2611484"/>
              <a:ext cx="574944" cy="153888"/>
            </a:xfrm>
            <a:prstGeom prst="rect">
              <a:avLst/>
            </a:prstGeom>
          </p:spPr>
          <p:txBody>
            <a:bodyPr wrap="none" lIns="0" tIns="0" rIns="0" bIns="0" rtlCol="0">
              <a:spAutoFit/>
            </a:bodyPr>
            <a:lstStyle/>
            <a:p>
              <a:pPr algn="l"/>
              <a:r>
                <a:rPr lang="en-US" sz="750" b="1" dirty="0">
                  <a:solidFill>
                    <a:srgbClr val="002060"/>
                  </a:solidFill>
                </a:rPr>
                <a:t>IBM Rack</a:t>
              </a:r>
            </a:p>
          </p:txBody>
        </p:sp>
        <p:grpSp>
          <p:nvGrpSpPr>
            <p:cNvPr id="137" name="Group 136"/>
            <p:cNvGrpSpPr/>
            <p:nvPr/>
          </p:nvGrpSpPr>
          <p:grpSpPr>
            <a:xfrm>
              <a:off x="3042212" y="2373443"/>
              <a:ext cx="2605698" cy="2122357"/>
              <a:chOff x="3042212" y="2373443"/>
              <a:chExt cx="2605698" cy="2122357"/>
            </a:xfrm>
          </p:grpSpPr>
          <p:grpSp>
            <p:nvGrpSpPr>
              <p:cNvPr id="138" name="Group 137"/>
              <p:cNvGrpSpPr/>
              <p:nvPr/>
            </p:nvGrpSpPr>
            <p:grpSpPr>
              <a:xfrm>
                <a:off x="3373112" y="3400227"/>
                <a:ext cx="1943899" cy="399777"/>
                <a:chOff x="3373112" y="3400227"/>
                <a:chExt cx="1943899" cy="399777"/>
              </a:xfrm>
            </p:grpSpPr>
            <p:sp>
              <p:nvSpPr>
                <p:cNvPr id="141" name="Rectangle 140"/>
                <p:cNvSpPr/>
                <p:nvPr/>
              </p:nvSpPr>
              <p:spPr>
                <a:xfrm>
                  <a:off x="3373112" y="3629672"/>
                  <a:ext cx="1943899" cy="170332"/>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DHCP - </a:t>
                  </a:r>
                  <a:r>
                    <a:rPr lang="en-US" sz="600" dirty="0" err="1">
                      <a:solidFill>
                        <a:srgbClr val="000000"/>
                      </a:solidFill>
                    </a:rPr>
                    <a:t>Infoblox</a:t>
                  </a:r>
                  <a:endParaRPr lang="en-US" sz="600" dirty="0">
                    <a:solidFill>
                      <a:srgbClr val="000000"/>
                    </a:solidFill>
                    <a:latin typeface="Arial" panose="020B0604020202020204"/>
                  </a:endParaRPr>
                </a:p>
              </p:txBody>
            </p:sp>
            <p:sp>
              <p:nvSpPr>
                <p:cNvPr id="142" name="Rectangle 141"/>
                <p:cNvSpPr/>
                <p:nvPr/>
              </p:nvSpPr>
              <p:spPr>
                <a:xfrm>
                  <a:off x="3384713" y="3400227"/>
                  <a:ext cx="1920697" cy="170332"/>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Cabling - </a:t>
                  </a:r>
                  <a:r>
                    <a:rPr lang="en-US" sz="600" dirty="0" err="1">
                      <a:solidFill>
                        <a:srgbClr val="000000"/>
                      </a:solidFill>
                    </a:rPr>
                    <a:t>Comnet</a:t>
                  </a:r>
                  <a:endParaRPr lang="en-US" sz="600" dirty="0">
                    <a:solidFill>
                      <a:srgbClr val="000000"/>
                    </a:solidFill>
                    <a:latin typeface="Arial" panose="020B0604020202020204"/>
                  </a:endParaRPr>
                </a:p>
              </p:txBody>
            </p:sp>
          </p:grpSp>
          <p:sp>
            <p:nvSpPr>
              <p:cNvPr id="139" name="TextBox 138"/>
              <p:cNvSpPr txBox="1"/>
              <p:nvPr/>
            </p:nvSpPr>
            <p:spPr>
              <a:xfrm>
                <a:off x="3441696" y="2392572"/>
                <a:ext cx="359072" cy="215444"/>
              </a:xfrm>
              <a:prstGeom prst="rect">
                <a:avLst/>
              </a:prstGeom>
            </p:spPr>
            <p:txBody>
              <a:bodyPr wrap="none" lIns="0" tIns="0" rIns="0" bIns="0" rtlCol="0">
                <a:spAutoFit/>
              </a:bodyPr>
              <a:lstStyle/>
              <a:p>
                <a:pPr algn="l"/>
                <a:r>
                  <a:rPr lang="en-US" sz="1050" dirty="0">
                    <a:ln>
                      <a:solidFill>
                        <a:srgbClr val="33BEB4"/>
                      </a:solidFill>
                    </a:ln>
                    <a:solidFill>
                      <a:srgbClr val="87D437"/>
                    </a:solidFill>
                  </a:rPr>
                  <a:t>BHF</a:t>
                </a:r>
              </a:p>
            </p:txBody>
          </p:sp>
          <p:sp>
            <p:nvSpPr>
              <p:cNvPr id="140" name="Rounded Rectangle 139"/>
              <p:cNvSpPr/>
              <p:nvPr/>
            </p:nvSpPr>
            <p:spPr>
              <a:xfrm>
                <a:off x="3042212" y="2373443"/>
                <a:ext cx="2605698" cy="2122357"/>
              </a:xfrm>
              <a:prstGeom prst="roundRect">
                <a:avLst/>
              </a:prstGeom>
              <a:noFill/>
              <a:ln w="1270">
                <a:solidFill>
                  <a:srgbClr val="83D21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grpSp>
        <p:nvGrpSpPr>
          <p:cNvPr id="164" name="Group 163"/>
          <p:cNvGrpSpPr/>
          <p:nvPr/>
        </p:nvGrpSpPr>
        <p:grpSpPr>
          <a:xfrm>
            <a:off x="5593280" y="719397"/>
            <a:ext cx="859342" cy="551036"/>
            <a:chOff x="3176232" y="1134528"/>
            <a:chExt cx="1089205" cy="734714"/>
          </a:xfrm>
        </p:grpSpPr>
        <p:sp>
          <p:nvSpPr>
            <p:cNvPr id="165" name="Cloud 164"/>
            <p:cNvSpPr/>
            <p:nvPr/>
          </p:nvSpPr>
          <p:spPr>
            <a:xfrm>
              <a:off x="3176232" y="1320602"/>
              <a:ext cx="1089205" cy="548640"/>
            </a:xfrm>
            <a:prstGeom prst="cloud">
              <a:avLst/>
            </a:prstGeom>
            <a:solidFill>
              <a:srgbClr val="FF8F1C"/>
            </a:solidFill>
            <a:ln w="3175">
              <a:solidFill>
                <a:schemeClr val="bg1">
                  <a:lumMod val="50000"/>
                  <a:alpha val="3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750" dirty="0">
                  <a:solidFill>
                    <a:prstClr val="black"/>
                  </a:solidFill>
                  <a:latin typeface="+mj-lt"/>
                  <a:cs typeface="Arial" panose="020B0604020202020204" pitchFamily="34" charset="0"/>
                </a:rPr>
                <a:t>IBM </a:t>
              </a:r>
              <a:r>
                <a:rPr lang="en-US" sz="750" dirty="0" err="1">
                  <a:solidFill>
                    <a:prstClr val="black"/>
                  </a:solidFill>
                  <a:latin typeface="+mj-lt"/>
                  <a:cs typeface="Arial" panose="020B0604020202020204" pitchFamily="34" charset="0"/>
                </a:rPr>
                <a:t>Softlayer</a:t>
              </a:r>
              <a:endParaRPr lang="en-US" sz="750" dirty="0">
                <a:solidFill>
                  <a:prstClr val="black"/>
                </a:solidFill>
                <a:latin typeface="+mj-lt"/>
                <a:cs typeface="Arial" panose="020B0604020202020204" pitchFamily="34" charset="0"/>
              </a:endParaRPr>
            </a:p>
          </p:txBody>
        </p:sp>
        <p:pic>
          <p:nvPicPr>
            <p:cNvPr id="166" name="Picture 6" descr="Image result for IBM"/>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576802" y="1134528"/>
              <a:ext cx="296139" cy="147901"/>
            </a:xfrm>
            <a:prstGeom prst="rect">
              <a:avLst/>
            </a:prstGeom>
            <a:noFill/>
            <a:extLst>
              <a:ext uri="{909E8E84-426E-40DD-AFC4-6F175D3DCCD1}">
                <a14:hiddenFill xmlns:a14="http://schemas.microsoft.com/office/drawing/2010/main">
                  <a:solidFill>
                    <a:srgbClr val="FFFFFF"/>
                  </a:solidFill>
                </a14:hiddenFill>
              </a:ext>
            </a:extLst>
          </p:spPr>
        </p:pic>
      </p:grpSp>
      <p:sp>
        <p:nvSpPr>
          <p:cNvPr id="167" name="TextBox 166"/>
          <p:cNvSpPr txBox="1"/>
          <p:nvPr/>
        </p:nvSpPr>
        <p:spPr>
          <a:xfrm>
            <a:off x="759889" y="3989995"/>
            <a:ext cx="269304" cy="161583"/>
          </a:xfrm>
          <a:prstGeom prst="rect">
            <a:avLst/>
          </a:prstGeom>
        </p:spPr>
        <p:txBody>
          <a:bodyPr wrap="none" lIns="0" tIns="0" rIns="0" bIns="0" rtlCol="0">
            <a:spAutoFit/>
          </a:bodyPr>
          <a:lstStyle/>
          <a:p>
            <a:pPr algn="l"/>
            <a:r>
              <a:rPr lang="en-US" sz="1050" dirty="0">
                <a:ln>
                  <a:solidFill>
                    <a:srgbClr val="33BEB4"/>
                  </a:solidFill>
                </a:ln>
                <a:solidFill>
                  <a:srgbClr val="87D437"/>
                </a:solidFill>
              </a:rPr>
              <a:t>BHF</a:t>
            </a:r>
          </a:p>
        </p:txBody>
      </p:sp>
      <p:grpSp>
        <p:nvGrpSpPr>
          <p:cNvPr id="168" name="Group 167"/>
          <p:cNvGrpSpPr/>
          <p:nvPr/>
        </p:nvGrpSpPr>
        <p:grpSpPr>
          <a:xfrm>
            <a:off x="636961" y="3355658"/>
            <a:ext cx="3621310" cy="1245458"/>
            <a:chOff x="849281" y="4566652"/>
            <a:chExt cx="4828413" cy="1660610"/>
          </a:xfrm>
        </p:grpSpPr>
        <p:sp>
          <p:nvSpPr>
            <p:cNvPr id="169" name="Rectangle 168"/>
            <p:cNvSpPr/>
            <p:nvPr/>
          </p:nvSpPr>
          <p:spPr>
            <a:xfrm>
              <a:off x="849281" y="4694307"/>
              <a:ext cx="4828413" cy="1532955"/>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170" name="Rounded Rectangle 169"/>
            <p:cNvSpPr/>
            <p:nvPr/>
          </p:nvSpPr>
          <p:spPr>
            <a:xfrm>
              <a:off x="1000553" y="4566652"/>
              <a:ext cx="1530046" cy="216010"/>
            </a:xfrm>
            <a:prstGeom prst="roundRect">
              <a:avLst/>
            </a:prstGeom>
            <a:solidFill>
              <a:srgbClr val="0033A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750" b="1" dirty="0">
                  <a:solidFill>
                    <a:prstClr val="white"/>
                  </a:solidFill>
                  <a:latin typeface="+mj-lt"/>
                  <a:cs typeface="Arial" panose="020B0604020202020204" pitchFamily="34" charset="0"/>
                </a:rPr>
                <a:t>BHF Sites</a:t>
              </a:r>
            </a:p>
          </p:txBody>
        </p:sp>
        <p:grpSp>
          <p:nvGrpSpPr>
            <p:cNvPr id="171" name="Group 170"/>
            <p:cNvGrpSpPr/>
            <p:nvPr/>
          </p:nvGrpSpPr>
          <p:grpSpPr>
            <a:xfrm>
              <a:off x="969050" y="4814675"/>
              <a:ext cx="4588875" cy="1360890"/>
              <a:chOff x="946828" y="4814675"/>
              <a:chExt cx="4588875" cy="1360890"/>
            </a:xfrm>
          </p:grpSpPr>
          <p:grpSp>
            <p:nvGrpSpPr>
              <p:cNvPr id="172" name="Group 171"/>
              <p:cNvGrpSpPr/>
              <p:nvPr/>
            </p:nvGrpSpPr>
            <p:grpSpPr>
              <a:xfrm>
                <a:off x="1206610" y="4814675"/>
                <a:ext cx="4109957" cy="580087"/>
                <a:chOff x="1123209" y="4924056"/>
                <a:chExt cx="4109957" cy="654261"/>
              </a:xfrm>
            </p:grpSpPr>
            <p:grpSp>
              <p:nvGrpSpPr>
                <p:cNvPr id="191" name="Group 190"/>
                <p:cNvGrpSpPr/>
                <p:nvPr/>
              </p:nvGrpSpPr>
              <p:grpSpPr>
                <a:xfrm>
                  <a:off x="1123209" y="4924057"/>
                  <a:ext cx="605292" cy="649696"/>
                  <a:chOff x="4227364" y="5351542"/>
                  <a:chExt cx="880017" cy="1457694"/>
                </a:xfrm>
              </p:grpSpPr>
              <p:pic>
                <p:nvPicPr>
                  <p:cNvPr id="204" name="Picture 8" descr="Image result for office building 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371782" y="5351542"/>
                    <a:ext cx="602181" cy="643470"/>
                  </a:xfrm>
                  <a:prstGeom prst="rect">
                    <a:avLst/>
                  </a:prstGeom>
                  <a:noFill/>
                  <a:extLst>
                    <a:ext uri="{909E8E84-426E-40DD-AFC4-6F175D3DCCD1}">
                      <a14:hiddenFill xmlns:a14="http://schemas.microsoft.com/office/drawing/2010/main">
                        <a:solidFill>
                          <a:srgbClr val="FFFFFF"/>
                        </a:solidFill>
                      </a14:hiddenFill>
                    </a:ext>
                  </a:extLst>
                </p:spPr>
              </p:pic>
              <p:sp>
                <p:nvSpPr>
                  <p:cNvPr id="205" name="TextBox 204"/>
                  <p:cNvSpPr txBox="1"/>
                  <p:nvPr/>
                </p:nvSpPr>
                <p:spPr>
                  <a:xfrm>
                    <a:off x="4227364" y="6147219"/>
                    <a:ext cx="880017" cy="662017"/>
                  </a:xfrm>
                  <a:prstGeom prst="rect">
                    <a:avLst/>
                  </a:prstGeom>
                  <a:noFill/>
                </p:spPr>
                <p:txBody>
                  <a:bodyPr wrap="none" rtlCol="0">
                    <a:spAutoFit/>
                  </a:bodyPr>
                  <a:lstStyle/>
                  <a:p>
                    <a:pPr algn="ctr" defTabSz="685800">
                      <a:defRPr/>
                    </a:pPr>
                    <a:r>
                      <a:rPr lang="en-US" sz="675" dirty="0">
                        <a:solidFill>
                          <a:prstClr val="black"/>
                        </a:solidFill>
                        <a:latin typeface="+mj-lt"/>
                        <a:cs typeface="Arial" panose="020B0604020202020204" pitchFamily="34" charset="0"/>
                      </a:rPr>
                      <a:t>Boston</a:t>
                    </a:r>
                  </a:p>
                </p:txBody>
              </p:sp>
            </p:grpSp>
            <p:grpSp>
              <p:nvGrpSpPr>
                <p:cNvPr id="192" name="Group 191"/>
                <p:cNvGrpSpPr/>
                <p:nvPr/>
              </p:nvGrpSpPr>
              <p:grpSpPr>
                <a:xfrm>
                  <a:off x="1894294" y="4928622"/>
                  <a:ext cx="714299" cy="649695"/>
                  <a:chOff x="4755810" y="5351543"/>
                  <a:chExt cx="1038496" cy="1457693"/>
                </a:xfrm>
              </p:grpSpPr>
              <p:pic>
                <p:nvPicPr>
                  <p:cNvPr id="202" name="Picture 8" descr="Image result for office building 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973968" y="5351543"/>
                    <a:ext cx="602182" cy="643471"/>
                  </a:xfrm>
                  <a:prstGeom prst="rect">
                    <a:avLst/>
                  </a:prstGeom>
                  <a:noFill/>
                  <a:extLst>
                    <a:ext uri="{909E8E84-426E-40DD-AFC4-6F175D3DCCD1}">
                      <a14:hiddenFill xmlns:a14="http://schemas.microsoft.com/office/drawing/2010/main">
                        <a:solidFill>
                          <a:srgbClr val="FFFFFF"/>
                        </a:solidFill>
                      </a14:hiddenFill>
                    </a:ext>
                  </a:extLst>
                </p:spPr>
              </p:pic>
              <p:sp>
                <p:nvSpPr>
                  <p:cNvPr id="203" name="TextBox 202"/>
                  <p:cNvSpPr txBox="1"/>
                  <p:nvPr/>
                </p:nvSpPr>
                <p:spPr>
                  <a:xfrm>
                    <a:off x="4755810" y="6147218"/>
                    <a:ext cx="1038496" cy="662018"/>
                  </a:xfrm>
                  <a:prstGeom prst="rect">
                    <a:avLst/>
                  </a:prstGeom>
                  <a:noFill/>
                </p:spPr>
                <p:txBody>
                  <a:bodyPr wrap="none" rtlCol="0">
                    <a:spAutoFit/>
                  </a:bodyPr>
                  <a:lstStyle>
                    <a:defPPr>
                      <a:defRPr lang="en-US"/>
                    </a:defPPr>
                    <a:lvl1pPr>
                      <a:defRPr sz="900">
                        <a:latin typeface="Arial" panose="020B0604020202020204" pitchFamily="34" charset="0"/>
                        <a:cs typeface="Arial" panose="020B0604020202020204" pitchFamily="34" charset="0"/>
                      </a:defRPr>
                    </a:lvl1pPr>
                  </a:lstStyle>
                  <a:p>
                    <a:pPr algn="ctr" defTabSz="685800">
                      <a:defRPr/>
                    </a:pPr>
                    <a:r>
                      <a:rPr lang="en-US" sz="675" dirty="0">
                        <a:solidFill>
                          <a:prstClr val="black"/>
                        </a:solidFill>
                        <a:latin typeface="+mj-lt"/>
                      </a:rPr>
                      <a:t>Charlotte</a:t>
                    </a:r>
                  </a:p>
                </p:txBody>
              </p:sp>
            </p:grpSp>
            <p:grpSp>
              <p:nvGrpSpPr>
                <p:cNvPr id="193" name="Group 192"/>
                <p:cNvGrpSpPr/>
                <p:nvPr/>
              </p:nvGrpSpPr>
              <p:grpSpPr>
                <a:xfrm>
                  <a:off x="2613061" y="4927256"/>
                  <a:ext cx="1066961" cy="624920"/>
                  <a:chOff x="5112870" y="5351544"/>
                  <a:chExt cx="1551219" cy="1402108"/>
                </a:xfrm>
              </p:grpSpPr>
              <p:pic>
                <p:nvPicPr>
                  <p:cNvPr id="200" name="Picture 8" descr="Image result for office building 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587389" y="5351544"/>
                    <a:ext cx="602182" cy="643471"/>
                  </a:xfrm>
                  <a:prstGeom prst="rect">
                    <a:avLst/>
                  </a:prstGeom>
                  <a:noFill/>
                  <a:extLst>
                    <a:ext uri="{909E8E84-426E-40DD-AFC4-6F175D3DCCD1}">
                      <a14:hiddenFill xmlns:a14="http://schemas.microsoft.com/office/drawing/2010/main">
                        <a:solidFill>
                          <a:srgbClr val="FFFFFF"/>
                        </a:solidFill>
                      </a14:hiddenFill>
                    </a:ext>
                  </a:extLst>
                </p:spPr>
              </p:pic>
              <p:sp>
                <p:nvSpPr>
                  <p:cNvPr id="201" name="TextBox 200"/>
                  <p:cNvSpPr txBox="1"/>
                  <p:nvPr/>
                </p:nvSpPr>
                <p:spPr>
                  <a:xfrm>
                    <a:off x="5112870" y="6091633"/>
                    <a:ext cx="1551219" cy="662019"/>
                  </a:xfrm>
                  <a:prstGeom prst="rect">
                    <a:avLst/>
                  </a:prstGeom>
                  <a:noFill/>
                </p:spPr>
                <p:txBody>
                  <a:bodyPr wrap="none" rtlCol="0">
                    <a:spAutoFit/>
                  </a:bodyPr>
                  <a:lstStyle>
                    <a:defPPr>
                      <a:defRPr lang="en-US"/>
                    </a:defPPr>
                    <a:lvl1pPr>
                      <a:defRPr sz="900">
                        <a:latin typeface="Arial" panose="020B0604020202020204" pitchFamily="34" charset="0"/>
                        <a:cs typeface="Arial" panose="020B0604020202020204" pitchFamily="34" charset="0"/>
                      </a:defRPr>
                    </a:lvl1pPr>
                  </a:lstStyle>
                  <a:p>
                    <a:pPr algn="ctr" defTabSz="685800">
                      <a:defRPr/>
                    </a:pPr>
                    <a:r>
                      <a:rPr lang="en-US" sz="675" dirty="0">
                        <a:solidFill>
                          <a:prstClr val="black"/>
                        </a:solidFill>
                        <a:latin typeface="+mj-lt"/>
                      </a:rPr>
                      <a:t>Convent Station</a:t>
                    </a:r>
                  </a:p>
                </p:txBody>
              </p:sp>
            </p:grpSp>
            <p:grpSp>
              <p:nvGrpSpPr>
                <p:cNvPr id="194" name="Group 193"/>
                <p:cNvGrpSpPr/>
                <p:nvPr/>
              </p:nvGrpSpPr>
              <p:grpSpPr>
                <a:xfrm>
                  <a:off x="3647442" y="4924057"/>
                  <a:ext cx="746358" cy="649694"/>
                  <a:chOff x="5948106" y="5351543"/>
                  <a:chExt cx="1085109" cy="1457693"/>
                </a:xfrm>
              </p:grpSpPr>
              <p:pic>
                <p:nvPicPr>
                  <p:cNvPr id="198" name="Picture 8" descr="Image result for office building 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189571" y="5351543"/>
                    <a:ext cx="602182" cy="643471"/>
                  </a:xfrm>
                  <a:prstGeom prst="rect">
                    <a:avLst/>
                  </a:prstGeom>
                  <a:noFill/>
                  <a:extLst>
                    <a:ext uri="{909E8E84-426E-40DD-AFC4-6F175D3DCCD1}">
                      <a14:hiddenFill xmlns:a14="http://schemas.microsoft.com/office/drawing/2010/main">
                        <a:solidFill>
                          <a:srgbClr val="FFFFFF"/>
                        </a:solidFill>
                      </a14:hiddenFill>
                    </a:ext>
                  </a:extLst>
                </p:spPr>
              </p:pic>
              <p:sp>
                <p:nvSpPr>
                  <p:cNvPr id="199" name="TextBox 198"/>
                  <p:cNvSpPr txBox="1"/>
                  <p:nvPr/>
                </p:nvSpPr>
                <p:spPr>
                  <a:xfrm>
                    <a:off x="5948106" y="6147216"/>
                    <a:ext cx="1085109" cy="662020"/>
                  </a:xfrm>
                  <a:prstGeom prst="rect">
                    <a:avLst/>
                  </a:prstGeom>
                  <a:noFill/>
                </p:spPr>
                <p:txBody>
                  <a:bodyPr wrap="none" rtlCol="0">
                    <a:spAutoFit/>
                  </a:bodyPr>
                  <a:lstStyle>
                    <a:defPPr>
                      <a:defRPr lang="en-US"/>
                    </a:defPPr>
                    <a:lvl1pPr>
                      <a:defRPr sz="900">
                        <a:latin typeface="Arial" panose="020B0604020202020204" pitchFamily="34" charset="0"/>
                        <a:cs typeface="Arial" panose="020B0604020202020204" pitchFamily="34" charset="0"/>
                      </a:defRPr>
                    </a:lvl1pPr>
                  </a:lstStyle>
                  <a:p>
                    <a:pPr algn="ctr" defTabSz="685800">
                      <a:defRPr/>
                    </a:pPr>
                    <a:r>
                      <a:rPr lang="en-US" sz="675" dirty="0">
                        <a:solidFill>
                          <a:prstClr val="black"/>
                        </a:solidFill>
                        <a:latin typeface="+mj-lt"/>
                      </a:rPr>
                      <a:t>New York</a:t>
                    </a:r>
                  </a:p>
                </p:txBody>
              </p:sp>
            </p:grpSp>
            <p:grpSp>
              <p:nvGrpSpPr>
                <p:cNvPr id="195" name="Group 194"/>
                <p:cNvGrpSpPr/>
                <p:nvPr/>
              </p:nvGrpSpPr>
              <p:grpSpPr>
                <a:xfrm>
                  <a:off x="4627872" y="4924056"/>
                  <a:ext cx="605294" cy="649692"/>
                  <a:chOff x="6652832" y="5351543"/>
                  <a:chExt cx="880019" cy="1457689"/>
                </a:xfrm>
              </p:grpSpPr>
              <p:pic>
                <p:nvPicPr>
                  <p:cNvPr id="196" name="Picture 8" descr="Image result for office building 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791753" y="5351543"/>
                    <a:ext cx="602182" cy="643472"/>
                  </a:xfrm>
                  <a:prstGeom prst="rect">
                    <a:avLst/>
                  </a:prstGeom>
                  <a:noFill/>
                  <a:extLst>
                    <a:ext uri="{909E8E84-426E-40DD-AFC4-6F175D3DCCD1}">
                      <a14:hiddenFill xmlns:a14="http://schemas.microsoft.com/office/drawing/2010/main">
                        <a:solidFill>
                          <a:srgbClr val="FFFFFF"/>
                        </a:solidFill>
                      </a14:hiddenFill>
                    </a:ext>
                  </a:extLst>
                </p:spPr>
              </p:pic>
              <p:sp>
                <p:nvSpPr>
                  <p:cNvPr id="197" name="TextBox 196"/>
                  <p:cNvSpPr txBox="1"/>
                  <p:nvPr/>
                </p:nvSpPr>
                <p:spPr>
                  <a:xfrm>
                    <a:off x="6652832" y="6147214"/>
                    <a:ext cx="880019" cy="662018"/>
                  </a:xfrm>
                  <a:prstGeom prst="rect">
                    <a:avLst/>
                  </a:prstGeom>
                  <a:noFill/>
                </p:spPr>
                <p:txBody>
                  <a:bodyPr wrap="none" rtlCol="0">
                    <a:spAutoFit/>
                  </a:bodyPr>
                  <a:lstStyle>
                    <a:defPPr>
                      <a:defRPr lang="en-US"/>
                    </a:defPPr>
                    <a:lvl1pPr>
                      <a:defRPr sz="900">
                        <a:latin typeface="Arial" panose="020B0604020202020204" pitchFamily="34" charset="0"/>
                        <a:cs typeface="Arial" panose="020B0604020202020204" pitchFamily="34" charset="0"/>
                      </a:defRPr>
                    </a:lvl1pPr>
                  </a:lstStyle>
                  <a:p>
                    <a:pPr algn="ctr" defTabSz="685800">
                      <a:defRPr/>
                    </a:pPr>
                    <a:r>
                      <a:rPr lang="en-US" sz="675" dirty="0">
                        <a:solidFill>
                          <a:prstClr val="black"/>
                        </a:solidFill>
                        <a:latin typeface="+mj-lt"/>
                      </a:rPr>
                      <a:t>Tampa</a:t>
                    </a:r>
                  </a:p>
                </p:txBody>
              </p:sp>
            </p:grpSp>
          </p:grpSp>
          <p:grpSp>
            <p:nvGrpSpPr>
              <p:cNvPr id="173" name="Group 172"/>
              <p:cNvGrpSpPr/>
              <p:nvPr/>
            </p:nvGrpSpPr>
            <p:grpSpPr>
              <a:xfrm>
                <a:off x="946828" y="5363991"/>
                <a:ext cx="4588875" cy="811574"/>
                <a:chOff x="946828" y="5363991"/>
                <a:chExt cx="4588875" cy="811574"/>
              </a:xfrm>
            </p:grpSpPr>
            <p:grpSp>
              <p:nvGrpSpPr>
                <p:cNvPr id="174" name="Group 173"/>
                <p:cNvGrpSpPr/>
                <p:nvPr/>
              </p:nvGrpSpPr>
              <p:grpSpPr>
                <a:xfrm>
                  <a:off x="946828" y="5363991"/>
                  <a:ext cx="4588875" cy="372086"/>
                  <a:chOff x="946828" y="5363991"/>
                  <a:chExt cx="4588875" cy="372086"/>
                </a:xfrm>
              </p:grpSpPr>
              <p:sp>
                <p:nvSpPr>
                  <p:cNvPr id="186" name="Rectangle 185"/>
                  <p:cNvSpPr/>
                  <p:nvPr/>
                </p:nvSpPr>
                <p:spPr>
                  <a:xfrm>
                    <a:off x="1528469" y="5440959"/>
                    <a:ext cx="1424245" cy="139030"/>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Cabling - </a:t>
                    </a:r>
                    <a:r>
                      <a:rPr lang="en-US" sz="600" dirty="0" err="1">
                        <a:solidFill>
                          <a:srgbClr val="000000"/>
                        </a:solidFill>
                      </a:rPr>
                      <a:t>Comnet</a:t>
                    </a:r>
                    <a:endParaRPr lang="en-US" sz="600" dirty="0">
                      <a:solidFill>
                        <a:srgbClr val="000000"/>
                      </a:solidFill>
                      <a:latin typeface="Arial" panose="020B0604020202020204"/>
                    </a:endParaRPr>
                  </a:p>
                </p:txBody>
              </p:sp>
              <p:sp>
                <p:nvSpPr>
                  <p:cNvPr id="187" name="Rounded Rectangle 186"/>
                  <p:cNvSpPr/>
                  <p:nvPr/>
                </p:nvSpPr>
                <p:spPr>
                  <a:xfrm>
                    <a:off x="946828" y="5363991"/>
                    <a:ext cx="4588875" cy="292967"/>
                  </a:xfrm>
                  <a:prstGeom prst="roundRect">
                    <a:avLst/>
                  </a:prstGeom>
                  <a:noFill/>
                  <a:ln w="1270">
                    <a:solidFill>
                      <a:srgbClr val="83D21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188" name="Group 187"/>
                  <p:cNvGrpSpPr/>
                  <p:nvPr/>
                </p:nvGrpSpPr>
                <p:grpSpPr>
                  <a:xfrm>
                    <a:off x="3017869" y="5363991"/>
                    <a:ext cx="2397505" cy="372086"/>
                    <a:chOff x="3017869" y="5363991"/>
                    <a:chExt cx="2397505" cy="372086"/>
                  </a:xfrm>
                </p:grpSpPr>
                <p:sp>
                  <p:nvSpPr>
                    <p:cNvPr id="189" name="Rectangle 188"/>
                    <p:cNvSpPr/>
                    <p:nvPr/>
                  </p:nvSpPr>
                  <p:spPr>
                    <a:xfrm>
                      <a:off x="3202526" y="5405508"/>
                      <a:ext cx="2212848" cy="301752"/>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WLAN, LAN Switches &amp; Routers -</a:t>
                      </a:r>
                    </a:p>
                    <a:p>
                      <a:pPr lvl="0" algn="ctr">
                        <a:defRPr/>
                      </a:pPr>
                      <a:r>
                        <a:rPr lang="en-US" sz="600" dirty="0">
                          <a:solidFill>
                            <a:srgbClr val="000000"/>
                          </a:solidFill>
                        </a:rPr>
                        <a:t>Meraki AP, MX &amp; MS</a:t>
                      </a:r>
                      <a:endParaRPr lang="en-US" sz="600" dirty="0">
                        <a:solidFill>
                          <a:srgbClr val="000000"/>
                        </a:solidFill>
                        <a:latin typeface="Arial" panose="020B0604020202020204"/>
                      </a:endParaRPr>
                    </a:p>
                  </p:txBody>
                </p:sp>
                <p:pic>
                  <p:nvPicPr>
                    <p:cNvPr id="190" name="Picture 4" descr="Image result for route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017869" y="5363991"/>
                      <a:ext cx="335549" cy="37208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75" name="Group 174"/>
                <p:cNvGrpSpPr/>
                <p:nvPr/>
              </p:nvGrpSpPr>
              <p:grpSpPr>
                <a:xfrm>
                  <a:off x="948953" y="5677888"/>
                  <a:ext cx="4586749" cy="497677"/>
                  <a:chOff x="948953" y="5677888"/>
                  <a:chExt cx="4586749" cy="497677"/>
                </a:xfrm>
              </p:grpSpPr>
              <p:sp>
                <p:nvSpPr>
                  <p:cNvPr id="176" name="Rounded Rectangle 175"/>
                  <p:cNvSpPr/>
                  <p:nvPr/>
                </p:nvSpPr>
                <p:spPr>
                  <a:xfrm>
                    <a:off x="948953" y="5677888"/>
                    <a:ext cx="4586749" cy="497677"/>
                  </a:xfrm>
                  <a:prstGeom prst="roundRect">
                    <a:avLst/>
                  </a:prstGeom>
                  <a:noFill/>
                  <a:ln w="1270">
                    <a:solidFill>
                      <a:srgbClr val="0033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77" name="Picture 6" descr="Image result for IBM"/>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988792" y="5872645"/>
                    <a:ext cx="296139" cy="147901"/>
                  </a:xfrm>
                  <a:prstGeom prst="rect">
                    <a:avLst/>
                  </a:prstGeom>
                  <a:noFill/>
                  <a:extLst>
                    <a:ext uri="{909E8E84-426E-40DD-AFC4-6F175D3DCCD1}">
                      <a14:hiddenFill xmlns:a14="http://schemas.microsoft.com/office/drawing/2010/main">
                        <a:solidFill>
                          <a:srgbClr val="FFFFFF"/>
                        </a:solidFill>
                      </a14:hiddenFill>
                    </a:ext>
                  </a:extLst>
                </p:spPr>
              </p:pic>
              <p:grpSp>
                <p:nvGrpSpPr>
                  <p:cNvPr id="178" name="Group 177"/>
                  <p:cNvGrpSpPr/>
                  <p:nvPr/>
                </p:nvGrpSpPr>
                <p:grpSpPr>
                  <a:xfrm>
                    <a:off x="1599513" y="5757898"/>
                    <a:ext cx="3813560" cy="377395"/>
                    <a:chOff x="1599513" y="5757898"/>
                    <a:chExt cx="3813560" cy="377395"/>
                  </a:xfrm>
                </p:grpSpPr>
                <p:grpSp>
                  <p:nvGrpSpPr>
                    <p:cNvPr id="179" name="Group 178"/>
                    <p:cNvGrpSpPr/>
                    <p:nvPr/>
                  </p:nvGrpSpPr>
                  <p:grpSpPr>
                    <a:xfrm>
                      <a:off x="4112124" y="5925081"/>
                      <a:ext cx="1277831" cy="210212"/>
                      <a:chOff x="4208084" y="6176528"/>
                      <a:chExt cx="1277831" cy="210212"/>
                    </a:xfrm>
                  </p:grpSpPr>
                  <p:sp>
                    <p:nvSpPr>
                      <p:cNvPr id="184" name="Rectangle 183"/>
                      <p:cNvSpPr/>
                      <p:nvPr/>
                    </p:nvSpPr>
                    <p:spPr>
                      <a:xfrm>
                        <a:off x="4350374" y="6213054"/>
                        <a:ext cx="1135541" cy="137160"/>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Firewall - </a:t>
                        </a:r>
                        <a:r>
                          <a:rPr lang="en-US" sz="600" dirty="0" err="1">
                            <a:solidFill>
                              <a:srgbClr val="000000"/>
                            </a:solidFill>
                          </a:rPr>
                          <a:t>Fortigate</a:t>
                        </a:r>
                        <a:endParaRPr lang="en-US" sz="600" dirty="0">
                          <a:solidFill>
                            <a:srgbClr val="000000"/>
                          </a:solidFill>
                          <a:latin typeface="Arial" panose="020B0604020202020204"/>
                        </a:endParaRPr>
                      </a:p>
                    </p:txBody>
                  </p:sp>
                  <p:pic>
                    <p:nvPicPr>
                      <p:cNvPr id="185" name="Picture 184"/>
                      <p:cNvPicPr>
                        <a:picLocks noChangeAspect="1"/>
                      </p:cNvPicPr>
                      <p:nvPr/>
                    </p:nvPicPr>
                    <p:blipFill>
                      <a:blip r:embed="rId9">
                        <a:clrChange>
                          <a:clrFrom>
                            <a:srgbClr val="FEFEFE"/>
                          </a:clrFrom>
                          <a:clrTo>
                            <a:srgbClr val="FEFEFE">
                              <a:alpha val="0"/>
                            </a:srgbClr>
                          </a:clrTo>
                        </a:clrChange>
                      </a:blip>
                      <a:stretch>
                        <a:fillRect/>
                      </a:stretch>
                    </p:blipFill>
                    <p:spPr>
                      <a:xfrm>
                        <a:off x="4208084" y="6176528"/>
                        <a:ext cx="197064" cy="210212"/>
                      </a:xfrm>
                      <a:prstGeom prst="rect">
                        <a:avLst/>
                      </a:prstGeom>
                    </p:spPr>
                  </p:pic>
                </p:grpSp>
                <p:sp>
                  <p:nvSpPr>
                    <p:cNvPr id="180" name="Rectangle 179"/>
                    <p:cNvSpPr/>
                    <p:nvPr/>
                  </p:nvSpPr>
                  <p:spPr>
                    <a:xfrm>
                      <a:off x="1599513" y="5760781"/>
                      <a:ext cx="1699655" cy="134100"/>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Internet Circuits - </a:t>
                      </a:r>
                      <a:r>
                        <a:rPr lang="en-US" sz="600" dirty="0">
                          <a:solidFill>
                            <a:srgbClr val="000000"/>
                          </a:solidFill>
                        </a:rPr>
                        <a:t>CenturyLink</a:t>
                      </a:r>
                      <a:endParaRPr lang="en-US" sz="600" dirty="0">
                        <a:solidFill>
                          <a:srgbClr val="000000"/>
                        </a:solidFill>
                        <a:latin typeface="Arial" panose="020B0604020202020204"/>
                      </a:endParaRPr>
                    </a:p>
                  </p:txBody>
                </p:sp>
                <p:sp>
                  <p:nvSpPr>
                    <p:cNvPr id="181" name="Rectangle 180"/>
                    <p:cNvSpPr/>
                    <p:nvPr/>
                  </p:nvSpPr>
                  <p:spPr>
                    <a:xfrm>
                      <a:off x="3401393" y="5757898"/>
                      <a:ext cx="2011680" cy="137160"/>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ATA Gateway – </a:t>
                      </a:r>
                      <a:r>
                        <a:rPr lang="en-US" sz="600" dirty="0" err="1">
                          <a:solidFill>
                            <a:srgbClr val="000000"/>
                          </a:solidFill>
                        </a:rPr>
                        <a:t>Lexair</a:t>
                      </a:r>
                      <a:r>
                        <a:rPr lang="en-US" sz="600" dirty="0">
                          <a:solidFill>
                            <a:srgbClr val="000000"/>
                          </a:solidFill>
                        </a:rPr>
                        <a:t> </a:t>
                      </a:r>
                      <a:r>
                        <a:rPr lang="en-US" sz="600" dirty="0" err="1">
                          <a:solidFill>
                            <a:srgbClr val="000000"/>
                          </a:solidFill>
                        </a:rPr>
                        <a:t>Grandstream</a:t>
                      </a:r>
                      <a:endParaRPr lang="en-US" sz="600" dirty="0">
                        <a:solidFill>
                          <a:srgbClr val="000000"/>
                        </a:solidFill>
                        <a:latin typeface="Arial" panose="020B0604020202020204"/>
                      </a:endParaRPr>
                    </a:p>
                  </p:txBody>
                </p:sp>
                <p:sp>
                  <p:nvSpPr>
                    <p:cNvPr id="182" name="Rectangle 181"/>
                    <p:cNvSpPr/>
                    <p:nvPr/>
                  </p:nvSpPr>
                  <p:spPr>
                    <a:xfrm>
                      <a:off x="1609616" y="5944100"/>
                      <a:ext cx="1228868" cy="182560"/>
                    </a:xfrm>
                    <a:prstGeom prst="rect">
                      <a:avLst/>
                    </a:prstGeom>
                    <a:solidFill>
                      <a:srgbClr val="FF8F1C"/>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Analog phone lines for Faxing - </a:t>
                      </a:r>
                      <a:r>
                        <a:rPr lang="en-US" sz="600" dirty="0" err="1">
                          <a:solidFill>
                            <a:srgbClr val="000000"/>
                          </a:solidFill>
                        </a:rPr>
                        <a:t>Lexair</a:t>
                      </a:r>
                      <a:endParaRPr lang="en-US" sz="600" dirty="0">
                        <a:solidFill>
                          <a:srgbClr val="000000"/>
                        </a:solidFill>
                        <a:latin typeface="Arial" panose="020B0604020202020204"/>
                      </a:endParaRPr>
                    </a:p>
                  </p:txBody>
                </p:sp>
                <p:sp>
                  <p:nvSpPr>
                    <p:cNvPr id="183" name="Rectangle 182"/>
                    <p:cNvSpPr/>
                    <p:nvPr/>
                  </p:nvSpPr>
                  <p:spPr>
                    <a:xfrm>
                      <a:off x="2952714" y="5941400"/>
                      <a:ext cx="1117153" cy="182560"/>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Analog lines for </a:t>
                      </a:r>
                      <a:r>
                        <a:rPr lang="en-US" sz="600" b="1" dirty="0" err="1">
                          <a:solidFill>
                            <a:srgbClr val="000000"/>
                          </a:solidFill>
                        </a:rPr>
                        <a:t>Conf</a:t>
                      </a:r>
                      <a:r>
                        <a:rPr lang="en-US" sz="600" b="1" dirty="0">
                          <a:solidFill>
                            <a:srgbClr val="000000"/>
                          </a:solidFill>
                        </a:rPr>
                        <a:t> - </a:t>
                      </a:r>
                      <a:r>
                        <a:rPr lang="en-US" sz="600" dirty="0" err="1">
                          <a:solidFill>
                            <a:srgbClr val="000000"/>
                          </a:solidFill>
                        </a:rPr>
                        <a:t>Lexair</a:t>
                      </a:r>
                      <a:endParaRPr lang="en-US" sz="600" dirty="0">
                        <a:solidFill>
                          <a:srgbClr val="000000"/>
                        </a:solidFill>
                        <a:latin typeface="Arial" panose="020B0604020202020204"/>
                      </a:endParaRPr>
                    </a:p>
                  </p:txBody>
                </p:sp>
              </p:grpSp>
            </p:grpSp>
          </p:grpSp>
        </p:grpSp>
      </p:grpSp>
      <p:sp>
        <p:nvSpPr>
          <p:cNvPr id="206" name="Rectangle 205"/>
          <p:cNvSpPr/>
          <p:nvPr/>
        </p:nvSpPr>
        <p:spPr>
          <a:xfrm>
            <a:off x="5466740" y="4388744"/>
            <a:ext cx="921651" cy="136920"/>
          </a:xfrm>
          <a:prstGeom prst="rect">
            <a:avLst/>
          </a:prstGeom>
          <a:solidFill>
            <a:srgbClr val="FF8F1C"/>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Analog phone lines for Faxing - </a:t>
            </a:r>
            <a:r>
              <a:rPr lang="en-US" sz="600" dirty="0" err="1">
                <a:solidFill>
                  <a:srgbClr val="000000"/>
                </a:solidFill>
              </a:rPr>
              <a:t>Lexair</a:t>
            </a:r>
            <a:endParaRPr lang="en-US" sz="600" dirty="0">
              <a:solidFill>
                <a:srgbClr val="000000"/>
              </a:solidFill>
              <a:latin typeface="Arial" panose="020B0604020202020204"/>
            </a:endParaRPr>
          </a:p>
        </p:txBody>
      </p:sp>
      <p:grpSp>
        <p:nvGrpSpPr>
          <p:cNvPr id="207" name="Group 206"/>
          <p:cNvGrpSpPr/>
          <p:nvPr/>
        </p:nvGrpSpPr>
        <p:grpSpPr>
          <a:xfrm>
            <a:off x="4879822" y="3355658"/>
            <a:ext cx="3621310" cy="1245458"/>
            <a:chOff x="6506429" y="4552867"/>
            <a:chExt cx="4828413" cy="1660610"/>
          </a:xfrm>
        </p:grpSpPr>
        <p:sp>
          <p:nvSpPr>
            <p:cNvPr id="208" name="Rectangle 207"/>
            <p:cNvSpPr/>
            <p:nvPr/>
          </p:nvSpPr>
          <p:spPr>
            <a:xfrm>
              <a:off x="6506429" y="4680522"/>
              <a:ext cx="4828413" cy="1532955"/>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209" name="Rounded Rectangle 208"/>
            <p:cNvSpPr/>
            <p:nvPr/>
          </p:nvSpPr>
          <p:spPr>
            <a:xfrm>
              <a:off x="6657701" y="4552867"/>
              <a:ext cx="1530046" cy="216010"/>
            </a:xfrm>
            <a:prstGeom prst="roundRect">
              <a:avLst/>
            </a:prstGeom>
            <a:solidFill>
              <a:srgbClr val="0033A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750" b="1" dirty="0">
                  <a:solidFill>
                    <a:prstClr val="white"/>
                  </a:solidFill>
                  <a:latin typeface="+mj-lt"/>
                  <a:cs typeface="Arial" panose="020B0604020202020204" pitchFamily="34" charset="0"/>
                </a:rPr>
                <a:t>BHF Sites</a:t>
              </a:r>
            </a:p>
          </p:txBody>
        </p:sp>
        <p:grpSp>
          <p:nvGrpSpPr>
            <p:cNvPr id="210" name="Group 209"/>
            <p:cNvGrpSpPr/>
            <p:nvPr/>
          </p:nvGrpSpPr>
          <p:grpSpPr>
            <a:xfrm>
              <a:off x="6567647" y="4800890"/>
              <a:ext cx="4647425" cy="1360891"/>
              <a:chOff x="6567647" y="4800890"/>
              <a:chExt cx="4647425" cy="1360891"/>
            </a:xfrm>
          </p:grpSpPr>
          <p:grpSp>
            <p:nvGrpSpPr>
              <p:cNvPr id="211" name="Group 210"/>
              <p:cNvGrpSpPr/>
              <p:nvPr/>
            </p:nvGrpSpPr>
            <p:grpSpPr>
              <a:xfrm>
                <a:off x="6584465" y="4800890"/>
                <a:ext cx="3952645" cy="580087"/>
                <a:chOff x="821694" y="4924056"/>
                <a:chExt cx="3952645" cy="654261"/>
              </a:xfrm>
            </p:grpSpPr>
            <p:grpSp>
              <p:nvGrpSpPr>
                <p:cNvPr id="226" name="Group 225"/>
                <p:cNvGrpSpPr/>
                <p:nvPr/>
              </p:nvGrpSpPr>
              <p:grpSpPr>
                <a:xfrm>
                  <a:off x="821694" y="4924057"/>
                  <a:ext cx="605292" cy="649696"/>
                  <a:chOff x="3788995" y="5351542"/>
                  <a:chExt cx="880017" cy="1457694"/>
                </a:xfrm>
              </p:grpSpPr>
              <p:pic>
                <p:nvPicPr>
                  <p:cNvPr id="239" name="Picture 8" descr="Image result for office building 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933413" y="5351542"/>
                    <a:ext cx="602180" cy="643470"/>
                  </a:xfrm>
                  <a:prstGeom prst="rect">
                    <a:avLst/>
                  </a:prstGeom>
                  <a:noFill/>
                  <a:extLst>
                    <a:ext uri="{909E8E84-426E-40DD-AFC4-6F175D3DCCD1}">
                      <a14:hiddenFill xmlns:a14="http://schemas.microsoft.com/office/drawing/2010/main">
                        <a:solidFill>
                          <a:srgbClr val="FFFFFF"/>
                        </a:solidFill>
                      </a14:hiddenFill>
                    </a:ext>
                  </a:extLst>
                </p:spPr>
              </p:pic>
              <p:sp>
                <p:nvSpPr>
                  <p:cNvPr id="240" name="TextBox 239"/>
                  <p:cNvSpPr txBox="1"/>
                  <p:nvPr/>
                </p:nvSpPr>
                <p:spPr>
                  <a:xfrm>
                    <a:off x="3788995" y="6147219"/>
                    <a:ext cx="880017" cy="662017"/>
                  </a:xfrm>
                  <a:prstGeom prst="rect">
                    <a:avLst/>
                  </a:prstGeom>
                  <a:noFill/>
                </p:spPr>
                <p:txBody>
                  <a:bodyPr wrap="none" rtlCol="0">
                    <a:spAutoFit/>
                  </a:bodyPr>
                  <a:lstStyle/>
                  <a:p>
                    <a:pPr algn="ctr" defTabSz="685800">
                      <a:defRPr/>
                    </a:pPr>
                    <a:r>
                      <a:rPr lang="en-US" sz="675" dirty="0">
                        <a:solidFill>
                          <a:prstClr val="black"/>
                        </a:solidFill>
                        <a:latin typeface="+mj-lt"/>
                        <a:cs typeface="Arial" panose="020B0604020202020204" pitchFamily="34" charset="0"/>
                      </a:rPr>
                      <a:t>Boston</a:t>
                    </a:r>
                  </a:p>
                </p:txBody>
              </p:sp>
            </p:grpSp>
            <p:grpSp>
              <p:nvGrpSpPr>
                <p:cNvPr id="227" name="Group 226"/>
                <p:cNvGrpSpPr/>
                <p:nvPr/>
              </p:nvGrpSpPr>
              <p:grpSpPr>
                <a:xfrm>
                  <a:off x="1592779" y="4928622"/>
                  <a:ext cx="714299" cy="649695"/>
                  <a:chOff x="4317445" y="5351543"/>
                  <a:chExt cx="1038496" cy="1457693"/>
                </a:xfrm>
              </p:grpSpPr>
              <p:pic>
                <p:nvPicPr>
                  <p:cNvPr id="237" name="Picture 8" descr="Image result for office building 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535603" y="5351543"/>
                    <a:ext cx="602182" cy="643469"/>
                  </a:xfrm>
                  <a:prstGeom prst="rect">
                    <a:avLst/>
                  </a:prstGeom>
                  <a:noFill/>
                  <a:extLst>
                    <a:ext uri="{909E8E84-426E-40DD-AFC4-6F175D3DCCD1}">
                      <a14:hiddenFill xmlns:a14="http://schemas.microsoft.com/office/drawing/2010/main">
                        <a:solidFill>
                          <a:srgbClr val="FFFFFF"/>
                        </a:solidFill>
                      </a14:hiddenFill>
                    </a:ext>
                  </a:extLst>
                </p:spPr>
              </p:pic>
              <p:sp>
                <p:nvSpPr>
                  <p:cNvPr id="238" name="TextBox 237"/>
                  <p:cNvSpPr txBox="1"/>
                  <p:nvPr/>
                </p:nvSpPr>
                <p:spPr>
                  <a:xfrm>
                    <a:off x="4317445" y="6147219"/>
                    <a:ext cx="1038496" cy="662017"/>
                  </a:xfrm>
                  <a:prstGeom prst="rect">
                    <a:avLst/>
                  </a:prstGeom>
                  <a:noFill/>
                </p:spPr>
                <p:txBody>
                  <a:bodyPr wrap="none" rtlCol="0">
                    <a:spAutoFit/>
                  </a:bodyPr>
                  <a:lstStyle>
                    <a:defPPr>
                      <a:defRPr lang="en-US"/>
                    </a:defPPr>
                    <a:lvl1pPr>
                      <a:defRPr sz="900">
                        <a:latin typeface="Arial" panose="020B0604020202020204" pitchFamily="34" charset="0"/>
                        <a:cs typeface="Arial" panose="020B0604020202020204" pitchFamily="34" charset="0"/>
                      </a:defRPr>
                    </a:lvl1pPr>
                  </a:lstStyle>
                  <a:p>
                    <a:pPr algn="ctr" defTabSz="685800">
                      <a:defRPr/>
                    </a:pPr>
                    <a:r>
                      <a:rPr lang="en-US" sz="675" dirty="0">
                        <a:solidFill>
                          <a:prstClr val="black"/>
                        </a:solidFill>
                        <a:latin typeface="+mj-lt"/>
                      </a:rPr>
                      <a:t>Charlotte</a:t>
                    </a:r>
                  </a:p>
                </p:txBody>
              </p:sp>
            </p:grpSp>
            <p:grpSp>
              <p:nvGrpSpPr>
                <p:cNvPr id="228" name="Group 227"/>
                <p:cNvGrpSpPr/>
                <p:nvPr/>
              </p:nvGrpSpPr>
              <p:grpSpPr>
                <a:xfrm>
                  <a:off x="2311546" y="4927255"/>
                  <a:ext cx="1066961" cy="624919"/>
                  <a:chOff x="4674505" y="5351544"/>
                  <a:chExt cx="1551219" cy="1402106"/>
                </a:xfrm>
              </p:grpSpPr>
              <p:pic>
                <p:nvPicPr>
                  <p:cNvPr id="235" name="Picture 8" descr="Image result for office building 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149023" y="5351544"/>
                    <a:ext cx="602182" cy="643471"/>
                  </a:xfrm>
                  <a:prstGeom prst="rect">
                    <a:avLst/>
                  </a:prstGeom>
                  <a:noFill/>
                  <a:extLst>
                    <a:ext uri="{909E8E84-426E-40DD-AFC4-6F175D3DCCD1}">
                      <a14:hiddenFill xmlns:a14="http://schemas.microsoft.com/office/drawing/2010/main">
                        <a:solidFill>
                          <a:srgbClr val="FFFFFF"/>
                        </a:solidFill>
                      </a14:hiddenFill>
                    </a:ext>
                  </a:extLst>
                </p:spPr>
              </p:pic>
              <p:sp>
                <p:nvSpPr>
                  <p:cNvPr id="236" name="TextBox 235"/>
                  <p:cNvSpPr txBox="1"/>
                  <p:nvPr/>
                </p:nvSpPr>
                <p:spPr>
                  <a:xfrm>
                    <a:off x="4674505" y="6091632"/>
                    <a:ext cx="1551219" cy="662018"/>
                  </a:xfrm>
                  <a:prstGeom prst="rect">
                    <a:avLst/>
                  </a:prstGeom>
                  <a:noFill/>
                </p:spPr>
                <p:txBody>
                  <a:bodyPr wrap="none" rtlCol="0">
                    <a:spAutoFit/>
                  </a:bodyPr>
                  <a:lstStyle>
                    <a:defPPr>
                      <a:defRPr lang="en-US"/>
                    </a:defPPr>
                    <a:lvl1pPr>
                      <a:defRPr sz="900">
                        <a:latin typeface="Arial" panose="020B0604020202020204" pitchFamily="34" charset="0"/>
                        <a:cs typeface="Arial" panose="020B0604020202020204" pitchFamily="34" charset="0"/>
                      </a:defRPr>
                    </a:lvl1pPr>
                  </a:lstStyle>
                  <a:p>
                    <a:pPr algn="ctr" defTabSz="685800">
                      <a:defRPr/>
                    </a:pPr>
                    <a:r>
                      <a:rPr lang="en-US" sz="675" dirty="0">
                        <a:solidFill>
                          <a:prstClr val="black"/>
                        </a:solidFill>
                        <a:latin typeface="+mj-lt"/>
                      </a:rPr>
                      <a:t>Convent Station</a:t>
                    </a:r>
                  </a:p>
                </p:txBody>
              </p:sp>
            </p:grpSp>
            <p:grpSp>
              <p:nvGrpSpPr>
                <p:cNvPr id="229" name="Group 228"/>
                <p:cNvGrpSpPr/>
                <p:nvPr/>
              </p:nvGrpSpPr>
              <p:grpSpPr>
                <a:xfrm>
                  <a:off x="3345927" y="4924057"/>
                  <a:ext cx="746358" cy="649694"/>
                  <a:chOff x="5509737" y="5351543"/>
                  <a:chExt cx="1085109" cy="1457693"/>
                </a:xfrm>
              </p:grpSpPr>
              <p:pic>
                <p:nvPicPr>
                  <p:cNvPr id="233" name="Picture 8" descr="Image result for office building 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751202" y="5351543"/>
                    <a:ext cx="602183" cy="643471"/>
                  </a:xfrm>
                  <a:prstGeom prst="rect">
                    <a:avLst/>
                  </a:prstGeom>
                  <a:noFill/>
                  <a:extLst>
                    <a:ext uri="{909E8E84-426E-40DD-AFC4-6F175D3DCCD1}">
                      <a14:hiddenFill xmlns:a14="http://schemas.microsoft.com/office/drawing/2010/main">
                        <a:solidFill>
                          <a:srgbClr val="FFFFFF"/>
                        </a:solidFill>
                      </a14:hiddenFill>
                    </a:ext>
                  </a:extLst>
                </p:spPr>
              </p:pic>
              <p:sp>
                <p:nvSpPr>
                  <p:cNvPr id="234" name="TextBox 233"/>
                  <p:cNvSpPr txBox="1"/>
                  <p:nvPr/>
                </p:nvSpPr>
                <p:spPr>
                  <a:xfrm>
                    <a:off x="5509737" y="6147215"/>
                    <a:ext cx="1085109" cy="662021"/>
                  </a:xfrm>
                  <a:prstGeom prst="rect">
                    <a:avLst/>
                  </a:prstGeom>
                  <a:noFill/>
                </p:spPr>
                <p:txBody>
                  <a:bodyPr wrap="none" rtlCol="0">
                    <a:spAutoFit/>
                  </a:bodyPr>
                  <a:lstStyle>
                    <a:defPPr>
                      <a:defRPr lang="en-US"/>
                    </a:defPPr>
                    <a:lvl1pPr>
                      <a:defRPr sz="900">
                        <a:latin typeface="Arial" panose="020B0604020202020204" pitchFamily="34" charset="0"/>
                        <a:cs typeface="Arial" panose="020B0604020202020204" pitchFamily="34" charset="0"/>
                      </a:defRPr>
                    </a:lvl1pPr>
                  </a:lstStyle>
                  <a:p>
                    <a:pPr algn="ctr" defTabSz="685800">
                      <a:defRPr/>
                    </a:pPr>
                    <a:r>
                      <a:rPr lang="en-US" sz="675" dirty="0">
                        <a:solidFill>
                          <a:prstClr val="black"/>
                        </a:solidFill>
                        <a:latin typeface="+mj-lt"/>
                      </a:rPr>
                      <a:t>New York</a:t>
                    </a:r>
                  </a:p>
                </p:txBody>
              </p:sp>
            </p:grpSp>
            <p:grpSp>
              <p:nvGrpSpPr>
                <p:cNvPr id="230" name="Group 229"/>
                <p:cNvGrpSpPr/>
                <p:nvPr/>
              </p:nvGrpSpPr>
              <p:grpSpPr>
                <a:xfrm>
                  <a:off x="4169047" y="4924056"/>
                  <a:ext cx="605292" cy="649692"/>
                  <a:chOff x="5985757" y="5351543"/>
                  <a:chExt cx="880016" cy="1457689"/>
                </a:xfrm>
              </p:grpSpPr>
              <p:pic>
                <p:nvPicPr>
                  <p:cNvPr id="231" name="Picture 8" descr="Image result for office building 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124677" y="5351543"/>
                    <a:ext cx="602181" cy="643471"/>
                  </a:xfrm>
                  <a:prstGeom prst="rect">
                    <a:avLst/>
                  </a:prstGeom>
                  <a:noFill/>
                  <a:extLst>
                    <a:ext uri="{909E8E84-426E-40DD-AFC4-6F175D3DCCD1}">
                      <a14:hiddenFill xmlns:a14="http://schemas.microsoft.com/office/drawing/2010/main">
                        <a:solidFill>
                          <a:srgbClr val="FFFFFF"/>
                        </a:solidFill>
                      </a14:hiddenFill>
                    </a:ext>
                  </a:extLst>
                </p:spPr>
              </p:pic>
              <p:sp>
                <p:nvSpPr>
                  <p:cNvPr id="232" name="TextBox 231"/>
                  <p:cNvSpPr txBox="1"/>
                  <p:nvPr/>
                </p:nvSpPr>
                <p:spPr>
                  <a:xfrm>
                    <a:off x="5985757" y="6147214"/>
                    <a:ext cx="880016" cy="662018"/>
                  </a:xfrm>
                  <a:prstGeom prst="rect">
                    <a:avLst/>
                  </a:prstGeom>
                  <a:noFill/>
                </p:spPr>
                <p:txBody>
                  <a:bodyPr wrap="none" rtlCol="0">
                    <a:spAutoFit/>
                  </a:bodyPr>
                  <a:lstStyle>
                    <a:defPPr>
                      <a:defRPr lang="en-US"/>
                    </a:defPPr>
                    <a:lvl1pPr>
                      <a:defRPr sz="900">
                        <a:latin typeface="Arial" panose="020B0604020202020204" pitchFamily="34" charset="0"/>
                        <a:cs typeface="Arial" panose="020B0604020202020204" pitchFamily="34" charset="0"/>
                      </a:defRPr>
                    </a:lvl1pPr>
                  </a:lstStyle>
                  <a:p>
                    <a:pPr algn="ctr" defTabSz="685800">
                      <a:defRPr/>
                    </a:pPr>
                    <a:r>
                      <a:rPr lang="en-US" sz="675" dirty="0">
                        <a:solidFill>
                          <a:prstClr val="black"/>
                        </a:solidFill>
                        <a:latin typeface="+mj-lt"/>
                      </a:rPr>
                      <a:t>Tampa</a:t>
                    </a:r>
                  </a:p>
                </p:txBody>
              </p:sp>
            </p:grpSp>
          </p:grpSp>
          <p:grpSp>
            <p:nvGrpSpPr>
              <p:cNvPr id="212" name="Group 211"/>
              <p:cNvGrpSpPr/>
              <p:nvPr/>
            </p:nvGrpSpPr>
            <p:grpSpPr>
              <a:xfrm>
                <a:off x="6567647" y="5350206"/>
                <a:ext cx="4647425" cy="811575"/>
                <a:chOff x="6567647" y="5350206"/>
                <a:chExt cx="4647425" cy="811575"/>
              </a:xfrm>
            </p:grpSpPr>
            <p:grpSp>
              <p:nvGrpSpPr>
                <p:cNvPr id="213" name="Group 212"/>
                <p:cNvGrpSpPr/>
                <p:nvPr/>
              </p:nvGrpSpPr>
              <p:grpSpPr>
                <a:xfrm>
                  <a:off x="7207839" y="5350206"/>
                  <a:ext cx="3886905" cy="372086"/>
                  <a:chOff x="1528469" y="5363991"/>
                  <a:chExt cx="3886905" cy="372086"/>
                </a:xfrm>
              </p:grpSpPr>
              <p:sp>
                <p:nvSpPr>
                  <p:cNvPr id="222" name="Rectangle 221"/>
                  <p:cNvSpPr/>
                  <p:nvPr/>
                </p:nvSpPr>
                <p:spPr>
                  <a:xfrm>
                    <a:off x="1528469" y="5440959"/>
                    <a:ext cx="1424245" cy="139030"/>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Cabling </a:t>
                    </a:r>
                    <a:r>
                      <a:rPr lang="en-US" sz="600" b="1" dirty="0" smtClean="0">
                        <a:solidFill>
                          <a:srgbClr val="000000"/>
                        </a:solidFill>
                      </a:rPr>
                      <a:t>– </a:t>
                    </a:r>
                    <a:r>
                      <a:rPr lang="en-US" sz="600" dirty="0" err="1" smtClean="0">
                        <a:solidFill>
                          <a:srgbClr val="000000"/>
                        </a:solidFill>
                      </a:rPr>
                      <a:t>Comne</a:t>
                    </a:r>
                    <a:r>
                      <a:rPr lang="en-US" sz="600" dirty="0" smtClean="0">
                        <a:solidFill>
                          <a:srgbClr val="000000"/>
                        </a:solidFill>
                      </a:rPr>
                      <a:t>/</a:t>
                    </a:r>
                    <a:r>
                      <a:rPr lang="en-US" sz="600" dirty="0" err="1" smtClean="0">
                        <a:solidFill>
                          <a:srgbClr val="000000"/>
                        </a:solidFill>
                      </a:rPr>
                      <a:t>TBDt</a:t>
                    </a:r>
                    <a:endParaRPr lang="en-US" sz="600" dirty="0">
                      <a:solidFill>
                        <a:srgbClr val="000000"/>
                      </a:solidFill>
                      <a:latin typeface="Arial" panose="020B0604020202020204"/>
                    </a:endParaRPr>
                  </a:p>
                </p:txBody>
              </p:sp>
              <p:grpSp>
                <p:nvGrpSpPr>
                  <p:cNvPr id="223" name="Group 222"/>
                  <p:cNvGrpSpPr/>
                  <p:nvPr/>
                </p:nvGrpSpPr>
                <p:grpSpPr>
                  <a:xfrm>
                    <a:off x="3017869" y="5363991"/>
                    <a:ext cx="2397505" cy="372086"/>
                    <a:chOff x="3017869" y="5363991"/>
                    <a:chExt cx="2397505" cy="372086"/>
                  </a:xfrm>
                </p:grpSpPr>
                <p:sp>
                  <p:nvSpPr>
                    <p:cNvPr id="224" name="Rectangle 223"/>
                    <p:cNvSpPr/>
                    <p:nvPr/>
                  </p:nvSpPr>
                  <p:spPr>
                    <a:xfrm>
                      <a:off x="3202526" y="5405508"/>
                      <a:ext cx="2212848" cy="301752"/>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WLAN, LAN Switches &amp; Routers -</a:t>
                      </a:r>
                    </a:p>
                    <a:p>
                      <a:pPr lvl="0" algn="ctr">
                        <a:defRPr/>
                      </a:pPr>
                      <a:r>
                        <a:rPr lang="en-US" sz="600" dirty="0">
                          <a:solidFill>
                            <a:srgbClr val="000000"/>
                          </a:solidFill>
                        </a:rPr>
                        <a:t>Meraki AP, MX &amp; MS</a:t>
                      </a:r>
                      <a:endParaRPr lang="en-US" sz="600" dirty="0">
                        <a:solidFill>
                          <a:srgbClr val="000000"/>
                        </a:solidFill>
                        <a:latin typeface="Arial" panose="020B0604020202020204"/>
                      </a:endParaRPr>
                    </a:p>
                  </p:txBody>
                </p:sp>
                <p:pic>
                  <p:nvPicPr>
                    <p:cNvPr id="225" name="Picture 4" descr="Image result for route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017869" y="5363991"/>
                      <a:ext cx="335549" cy="372086"/>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14" name="Rounded Rectangle 213"/>
                <p:cNvSpPr/>
                <p:nvPr/>
              </p:nvSpPr>
              <p:spPr>
                <a:xfrm>
                  <a:off x="6567647" y="5350207"/>
                  <a:ext cx="4647425" cy="811574"/>
                </a:xfrm>
                <a:prstGeom prst="roundRect">
                  <a:avLst/>
                </a:prstGeom>
                <a:noFill/>
                <a:ln w="1270">
                  <a:solidFill>
                    <a:srgbClr val="0033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215" name="Group 214"/>
                <p:cNvGrpSpPr/>
                <p:nvPr/>
              </p:nvGrpSpPr>
              <p:grpSpPr>
                <a:xfrm>
                  <a:off x="9791494" y="5911296"/>
                  <a:ext cx="1277831" cy="210212"/>
                  <a:chOff x="4208084" y="6176528"/>
                  <a:chExt cx="1277831" cy="210212"/>
                </a:xfrm>
              </p:grpSpPr>
              <p:sp>
                <p:nvSpPr>
                  <p:cNvPr id="220" name="Rectangle 219"/>
                  <p:cNvSpPr/>
                  <p:nvPr/>
                </p:nvSpPr>
                <p:spPr>
                  <a:xfrm>
                    <a:off x="4350374" y="6213054"/>
                    <a:ext cx="1135541" cy="137160"/>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Firewall </a:t>
                    </a:r>
                    <a:r>
                      <a:rPr lang="en-US" sz="600" b="1" dirty="0" smtClean="0">
                        <a:solidFill>
                          <a:srgbClr val="000000"/>
                        </a:solidFill>
                      </a:rPr>
                      <a:t>– </a:t>
                    </a:r>
                    <a:r>
                      <a:rPr lang="en-US" sz="600" dirty="0" smtClean="0">
                        <a:solidFill>
                          <a:srgbClr val="000000"/>
                        </a:solidFill>
                      </a:rPr>
                      <a:t>Palo Alto</a:t>
                    </a:r>
                    <a:endParaRPr lang="en-US" sz="600" dirty="0">
                      <a:solidFill>
                        <a:srgbClr val="000000"/>
                      </a:solidFill>
                      <a:latin typeface="Arial" panose="020B0604020202020204"/>
                    </a:endParaRPr>
                  </a:p>
                </p:txBody>
              </p:sp>
              <p:pic>
                <p:nvPicPr>
                  <p:cNvPr id="221" name="Picture 220"/>
                  <p:cNvPicPr>
                    <a:picLocks noChangeAspect="1"/>
                  </p:cNvPicPr>
                  <p:nvPr/>
                </p:nvPicPr>
                <p:blipFill>
                  <a:blip r:embed="rId9">
                    <a:clrChange>
                      <a:clrFrom>
                        <a:srgbClr val="FEFEFE"/>
                      </a:clrFrom>
                      <a:clrTo>
                        <a:srgbClr val="FEFEFE">
                          <a:alpha val="0"/>
                        </a:srgbClr>
                      </a:clrTo>
                    </a:clrChange>
                  </a:blip>
                  <a:stretch>
                    <a:fillRect/>
                  </a:stretch>
                </p:blipFill>
                <p:spPr>
                  <a:xfrm>
                    <a:off x="4208084" y="6176528"/>
                    <a:ext cx="197064" cy="210212"/>
                  </a:xfrm>
                  <a:prstGeom prst="rect">
                    <a:avLst/>
                  </a:prstGeom>
                </p:spPr>
              </p:pic>
            </p:grpSp>
            <p:sp>
              <p:nvSpPr>
                <p:cNvPr id="216" name="Rectangle 215"/>
                <p:cNvSpPr/>
                <p:nvPr/>
              </p:nvSpPr>
              <p:spPr>
                <a:xfrm>
                  <a:off x="7332223" y="5746996"/>
                  <a:ext cx="1699655" cy="134100"/>
                </a:xfrm>
                <a:prstGeom prst="rect">
                  <a:avLst/>
                </a:prstGeom>
                <a:solidFill>
                  <a:srgbClr val="00B050"/>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chemeClr val="bg1"/>
                      </a:solidFill>
                    </a:rPr>
                    <a:t>Internet Circuits - </a:t>
                  </a:r>
                  <a:r>
                    <a:rPr lang="en-US" sz="600" dirty="0">
                      <a:solidFill>
                        <a:schemeClr val="bg1"/>
                      </a:solidFill>
                    </a:rPr>
                    <a:t>CenturyLink</a:t>
                  </a:r>
                  <a:endParaRPr lang="en-US" sz="600" dirty="0">
                    <a:solidFill>
                      <a:schemeClr val="bg1"/>
                    </a:solidFill>
                    <a:latin typeface="Arial" panose="020B0604020202020204"/>
                  </a:endParaRPr>
                </a:p>
              </p:txBody>
            </p:sp>
            <p:sp>
              <p:nvSpPr>
                <p:cNvPr id="217" name="Rectangle 216"/>
                <p:cNvSpPr/>
                <p:nvPr/>
              </p:nvSpPr>
              <p:spPr>
                <a:xfrm>
                  <a:off x="9080763" y="5744113"/>
                  <a:ext cx="2011680" cy="137160"/>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ATA Gateway – </a:t>
                  </a:r>
                  <a:r>
                    <a:rPr lang="en-US" sz="600" dirty="0" err="1">
                      <a:solidFill>
                        <a:srgbClr val="000000"/>
                      </a:solidFill>
                    </a:rPr>
                    <a:t>Lexair</a:t>
                  </a:r>
                  <a:r>
                    <a:rPr lang="en-US" sz="600" dirty="0">
                      <a:solidFill>
                        <a:srgbClr val="000000"/>
                      </a:solidFill>
                    </a:rPr>
                    <a:t> </a:t>
                  </a:r>
                  <a:r>
                    <a:rPr lang="en-US" sz="600" dirty="0" err="1">
                      <a:solidFill>
                        <a:srgbClr val="000000"/>
                      </a:solidFill>
                    </a:rPr>
                    <a:t>Grandstream</a:t>
                  </a:r>
                  <a:endParaRPr lang="en-US" sz="600" dirty="0">
                    <a:solidFill>
                      <a:srgbClr val="000000"/>
                    </a:solidFill>
                    <a:latin typeface="Arial" panose="020B0604020202020204"/>
                  </a:endParaRPr>
                </a:p>
              </p:txBody>
            </p:sp>
            <p:sp>
              <p:nvSpPr>
                <p:cNvPr id="218" name="Rectangle 217"/>
                <p:cNvSpPr/>
                <p:nvPr/>
              </p:nvSpPr>
              <p:spPr>
                <a:xfrm>
                  <a:off x="8632084" y="5927615"/>
                  <a:ext cx="1117153" cy="182560"/>
                </a:xfrm>
                <a:prstGeom prst="rect">
                  <a:avLst/>
                </a:prstGeom>
                <a:solidFill>
                  <a:schemeClr val="bg1">
                    <a:lumMod val="85000"/>
                  </a:schemeClr>
                </a:solidFill>
                <a:ln>
                  <a:solidFill>
                    <a:schemeClr val="bg1">
                      <a:lumMod val="7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600" b="1" dirty="0">
                      <a:solidFill>
                        <a:srgbClr val="000000"/>
                      </a:solidFill>
                    </a:rPr>
                    <a:t>Analog lines for </a:t>
                  </a:r>
                  <a:r>
                    <a:rPr lang="en-US" sz="600" b="1" dirty="0" err="1">
                      <a:solidFill>
                        <a:srgbClr val="000000"/>
                      </a:solidFill>
                    </a:rPr>
                    <a:t>Conf</a:t>
                  </a:r>
                  <a:r>
                    <a:rPr lang="en-US" sz="600" b="1" dirty="0">
                      <a:solidFill>
                        <a:srgbClr val="000000"/>
                      </a:solidFill>
                    </a:rPr>
                    <a:t> - </a:t>
                  </a:r>
                  <a:r>
                    <a:rPr lang="en-US" sz="600" dirty="0" err="1">
                      <a:solidFill>
                        <a:srgbClr val="000000"/>
                      </a:solidFill>
                    </a:rPr>
                    <a:t>Lexair</a:t>
                  </a:r>
                  <a:endParaRPr lang="en-US" sz="600" dirty="0">
                    <a:solidFill>
                      <a:srgbClr val="000000"/>
                    </a:solidFill>
                    <a:latin typeface="Arial" panose="020B0604020202020204"/>
                  </a:endParaRPr>
                </a:p>
              </p:txBody>
            </p:sp>
            <p:pic>
              <p:nvPicPr>
                <p:cNvPr id="219" name="Picture 218">
                  <a:extLst>
                    <a:ext uri="{FF2B5EF4-FFF2-40B4-BE49-F238E27FC236}">
                      <a16:creationId xmlns:a16="http://schemas.microsoft.com/office/drawing/2014/main" id="{0E5CE040-C0D3-40BD-8063-A2DF101E8B8B}"/>
                    </a:ext>
                  </a:extLst>
                </p:cNvPr>
                <p:cNvPicPr>
                  <a:picLocks noChangeAspect="1"/>
                </p:cNvPicPr>
                <p:nvPr/>
              </p:nvPicPr>
              <p:blipFill>
                <a:blip r:embed="rId15"/>
                <a:stretch>
                  <a:fillRect/>
                </a:stretch>
              </p:blipFill>
              <p:spPr bwMode="black">
                <a:xfrm>
                  <a:off x="6601574" y="5691896"/>
                  <a:ext cx="597318" cy="128196"/>
                </a:xfrm>
                <a:prstGeom prst="rect">
                  <a:avLst/>
                </a:prstGeom>
              </p:spPr>
            </p:pic>
          </p:grpSp>
        </p:grpSp>
      </p:grpSp>
      <p:sp>
        <p:nvSpPr>
          <p:cNvPr id="241" name="TextBox 240"/>
          <p:cNvSpPr txBox="1"/>
          <p:nvPr/>
        </p:nvSpPr>
        <p:spPr>
          <a:xfrm>
            <a:off x="1560628" y="155224"/>
            <a:ext cx="2135200" cy="207749"/>
          </a:xfrm>
          <a:prstGeom prst="rect">
            <a:avLst/>
          </a:prstGeom>
        </p:spPr>
        <p:txBody>
          <a:bodyPr wrap="none" lIns="0" tIns="0" rIns="0" bIns="0" rtlCol="0">
            <a:spAutoFit/>
          </a:bodyPr>
          <a:lstStyle/>
          <a:p>
            <a:pPr algn="l"/>
            <a:r>
              <a:rPr lang="en-US" sz="1350" b="1" dirty="0" smtClean="0">
                <a:solidFill>
                  <a:schemeClr val="tx2"/>
                </a:solidFill>
              </a:rPr>
              <a:t>BHF Current </a:t>
            </a:r>
            <a:r>
              <a:rPr lang="en-US" sz="1350" b="1" dirty="0">
                <a:solidFill>
                  <a:schemeClr val="tx2"/>
                </a:solidFill>
              </a:rPr>
              <a:t>Environment</a:t>
            </a:r>
          </a:p>
        </p:txBody>
      </p:sp>
      <p:sp>
        <p:nvSpPr>
          <p:cNvPr id="242" name="TextBox 241"/>
          <p:cNvSpPr txBox="1"/>
          <p:nvPr/>
        </p:nvSpPr>
        <p:spPr>
          <a:xfrm>
            <a:off x="5833949" y="144259"/>
            <a:ext cx="2026196" cy="207749"/>
          </a:xfrm>
          <a:prstGeom prst="rect">
            <a:avLst/>
          </a:prstGeom>
        </p:spPr>
        <p:txBody>
          <a:bodyPr wrap="none" lIns="0" tIns="0" rIns="0" bIns="0" rtlCol="0">
            <a:spAutoFit/>
          </a:bodyPr>
          <a:lstStyle/>
          <a:p>
            <a:pPr algn="l"/>
            <a:r>
              <a:rPr lang="en-US" sz="1350" b="1" dirty="0" smtClean="0">
                <a:solidFill>
                  <a:schemeClr val="tx2"/>
                </a:solidFill>
              </a:rPr>
              <a:t>BHF Target </a:t>
            </a:r>
            <a:r>
              <a:rPr lang="en-US" sz="1350" b="1" dirty="0">
                <a:solidFill>
                  <a:schemeClr val="tx2"/>
                </a:solidFill>
              </a:rPr>
              <a:t>Environment</a:t>
            </a:r>
          </a:p>
        </p:txBody>
      </p:sp>
      <p:sp>
        <p:nvSpPr>
          <p:cNvPr id="243" name="TextBox 242"/>
          <p:cNvSpPr txBox="1"/>
          <p:nvPr/>
        </p:nvSpPr>
        <p:spPr>
          <a:xfrm>
            <a:off x="5131872" y="1246278"/>
            <a:ext cx="519373" cy="138499"/>
          </a:xfrm>
          <a:prstGeom prst="rect">
            <a:avLst/>
          </a:prstGeom>
        </p:spPr>
        <p:txBody>
          <a:bodyPr wrap="none" lIns="0" tIns="0" rIns="0" bIns="0" rtlCol="0">
            <a:spAutoFit/>
          </a:bodyPr>
          <a:lstStyle/>
          <a:p>
            <a:pPr algn="l"/>
            <a:r>
              <a:rPr lang="en-US" sz="900" dirty="0" smtClean="0">
                <a:ln>
                  <a:solidFill>
                    <a:srgbClr val="33BEB4"/>
                  </a:solidFill>
                </a:ln>
                <a:solidFill>
                  <a:schemeClr val="accent2"/>
                </a:solidFill>
              </a:rPr>
              <a:t>Cognizant</a:t>
            </a:r>
            <a:endParaRPr lang="en-US" sz="1050" dirty="0">
              <a:ln>
                <a:solidFill>
                  <a:srgbClr val="33BEB4"/>
                </a:solidFill>
              </a:ln>
              <a:solidFill>
                <a:schemeClr val="accent2"/>
              </a:solidFill>
            </a:endParaRPr>
          </a:p>
        </p:txBody>
      </p:sp>
      <p:sp>
        <p:nvSpPr>
          <p:cNvPr id="2" name="Rectangle 1"/>
          <p:cNvSpPr/>
          <p:nvPr/>
        </p:nvSpPr>
        <p:spPr>
          <a:xfrm>
            <a:off x="3225548" y="4737948"/>
            <a:ext cx="396237" cy="23083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t>BHF</a:t>
            </a:r>
            <a:endParaRPr lang="en-US" sz="800" b="1" dirty="0"/>
          </a:p>
        </p:txBody>
      </p:sp>
      <p:pic>
        <p:nvPicPr>
          <p:cNvPr id="244" name="Picture 8" descr="Image result for office building 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006235" y="3546284"/>
            <a:ext cx="310644" cy="190711"/>
          </a:xfrm>
          <a:prstGeom prst="rect">
            <a:avLst/>
          </a:prstGeom>
          <a:noFill/>
          <a:extLst>
            <a:ext uri="{909E8E84-426E-40DD-AFC4-6F175D3DCCD1}">
              <a14:hiddenFill xmlns:a14="http://schemas.microsoft.com/office/drawing/2010/main">
                <a:solidFill>
                  <a:srgbClr val="FFFFFF"/>
                </a:solidFill>
              </a14:hiddenFill>
            </a:ext>
          </a:extLst>
        </p:spPr>
      </p:pic>
      <p:sp>
        <p:nvSpPr>
          <p:cNvPr id="245" name="TextBox 244"/>
          <p:cNvSpPr txBox="1"/>
          <p:nvPr/>
        </p:nvSpPr>
        <p:spPr>
          <a:xfrm>
            <a:off x="7953154" y="3782986"/>
            <a:ext cx="497252" cy="196208"/>
          </a:xfrm>
          <a:prstGeom prst="rect">
            <a:avLst/>
          </a:prstGeom>
          <a:noFill/>
        </p:spPr>
        <p:txBody>
          <a:bodyPr wrap="none" rtlCol="0">
            <a:spAutoFit/>
          </a:bodyPr>
          <a:lstStyle>
            <a:defPPr>
              <a:defRPr lang="en-US"/>
            </a:defPPr>
            <a:lvl1pPr>
              <a:defRPr sz="900">
                <a:latin typeface="Arial" panose="020B0604020202020204" pitchFamily="34" charset="0"/>
                <a:cs typeface="Arial" panose="020B0604020202020204" pitchFamily="34" charset="0"/>
              </a:defRPr>
            </a:lvl1pPr>
          </a:lstStyle>
          <a:p>
            <a:pPr algn="ctr" defTabSz="685800">
              <a:defRPr/>
            </a:pPr>
            <a:r>
              <a:rPr lang="en-US" sz="675" dirty="0" smtClean="0">
                <a:solidFill>
                  <a:prstClr val="black"/>
                </a:solidFill>
                <a:latin typeface="+mj-lt"/>
              </a:rPr>
              <a:t>Phoenix</a:t>
            </a:r>
            <a:endParaRPr lang="en-US" sz="675" dirty="0">
              <a:solidFill>
                <a:prstClr val="black"/>
              </a:solidFill>
              <a:latin typeface="+mj-lt"/>
            </a:endParaRPr>
          </a:p>
        </p:txBody>
      </p:sp>
      <p:sp>
        <p:nvSpPr>
          <p:cNvPr id="13" name="TextBox 12"/>
          <p:cNvSpPr txBox="1"/>
          <p:nvPr/>
        </p:nvSpPr>
        <p:spPr>
          <a:xfrm>
            <a:off x="5707737" y="4591592"/>
            <a:ext cx="2787623" cy="123111"/>
          </a:xfrm>
          <a:prstGeom prst="rect">
            <a:avLst/>
          </a:prstGeom>
        </p:spPr>
        <p:txBody>
          <a:bodyPr wrap="none" lIns="0" tIns="0" rIns="0" bIns="0" rtlCol="0">
            <a:spAutoFit/>
          </a:bodyPr>
          <a:lstStyle/>
          <a:p>
            <a:pPr algn="l"/>
            <a:r>
              <a:rPr lang="en-US" sz="800" dirty="0" smtClean="0">
                <a:solidFill>
                  <a:schemeClr val="tx2"/>
                </a:solidFill>
              </a:rPr>
              <a:t>The diagram depicts the ownership from Support perspective</a:t>
            </a:r>
          </a:p>
        </p:txBody>
      </p:sp>
    </p:spTree>
    <p:extLst>
      <p:ext uri="{BB962C8B-B14F-4D97-AF65-F5344CB8AC3E}">
        <p14:creationId xmlns:p14="http://schemas.microsoft.com/office/powerpoint/2010/main" val="2503448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1"/>
                                        </p:tgtEl>
                                        <p:attrNameLst>
                                          <p:attrName>style.visibility</p:attrName>
                                        </p:attrNameLst>
                                      </p:cBhvr>
                                      <p:to>
                                        <p:strVal val="visible"/>
                                      </p:to>
                                    </p:set>
                                    <p:animEffect transition="in" filter="fade">
                                      <p:cBhvr>
                                        <p:cTn id="7" dur="1500"/>
                                        <p:tgtEl>
                                          <p:spTgt spid="24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2"/>
                                        </p:tgtEl>
                                        <p:attrNameLst>
                                          <p:attrName>style.visibility</p:attrName>
                                        </p:attrNameLst>
                                      </p:cBhvr>
                                      <p:to>
                                        <p:strVal val="visible"/>
                                      </p:to>
                                    </p:set>
                                    <p:animEffect transition="in" filter="fade">
                                      <p:cBhvr>
                                        <p:cTn id="10" dur="1500"/>
                                        <p:tgtEl>
                                          <p:spTgt spid="24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164"/>
                                        </p:tgtEl>
                                        <p:attrNameLst>
                                          <p:attrName>style.visibility</p:attrName>
                                        </p:attrNameLst>
                                      </p:cBhvr>
                                      <p:to>
                                        <p:strVal val="visible"/>
                                      </p:to>
                                    </p:set>
                                    <p:animEffect transition="in" filter="fade">
                                      <p:cBhvr>
                                        <p:cTn id="18" dur="500"/>
                                        <p:tgtEl>
                                          <p:spTgt spid="164"/>
                                        </p:tgtEl>
                                      </p:cBhvr>
                                    </p:animEffect>
                                  </p:childTnLst>
                                </p:cTn>
                              </p:par>
                            </p:childTnLst>
                          </p:cTn>
                        </p:par>
                        <p:par>
                          <p:cTn id="19" fill="hold">
                            <p:stCondLst>
                              <p:cond delay="500"/>
                            </p:stCondLst>
                            <p:childTnLst>
                              <p:par>
                                <p:cTn id="20" presetID="10" presetClass="exit" presetSubtype="0" fill="hold" nodeType="afterEffect">
                                  <p:stCondLst>
                                    <p:cond delay="0"/>
                                  </p:stCondLst>
                                  <p:childTnLst>
                                    <p:animEffect transition="out" filter="fade">
                                      <p:cBhvr>
                                        <p:cTn id="21" dur="2000"/>
                                        <p:tgtEl>
                                          <p:spTgt spid="164"/>
                                        </p:tgtEl>
                                      </p:cBhvr>
                                    </p:animEffect>
                                    <p:set>
                                      <p:cBhvr>
                                        <p:cTn id="22" dur="1" fill="hold">
                                          <p:stCondLst>
                                            <p:cond delay="1999"/>
                                          </p:stCondLst>
                                        </p:cTn>
                                        <p:tgtEl>
                                          <p:spTgt spid="164"/>
                                        </p:tgtEl>
                                        <p:attrNameLst>
                                          <p:attrName>style.visibility</p:attrName>
                                        </p:attrNameLst>
                                      </p:cBhvr>
                                      <p:to>
                                        <p:strVal val="hidden"/>
                                      </p:to>
                                    </p:set>
                                  </p:childTnLst>
                                </p:cTn>
                              </p:par>
                              <p:par>
                                <p:cTn id="23" presetID="10" presetClass="entr" presetSubtype="0" fill="hold" grpId="0" nodeType="withEffect">
                                  <p:stCondLst>
                                    <p:cond delay="0"/>
                                  </p:stCondLst>
                                  <p:childTnLst>
                                    <p:set>
                                      <p:cBhvr>
                                        <p:cTn id="24" dur="1" fill="hold">
                                          <p:stCondLst>
                                            <p:cond delay="0"/>
                                          </p:stCondLst>
                                        </p:cTn>
                                        <p:tgtEl>
                                          <p:spTgt spid="243"/>
                                        </p:tgtEl>
                                        <p:attrNameLst>
                                          <p:attrName>style.visibility</p:attrName>
                                        </p:attrNameLst>
                                      </p:cBhvr>
                                      <p:to>
                                        <p:strVal val="visible"/>
                                      </p:to>
                                    </p:set>
                                    <p:animEffect transition="in" filter="fade">
                                      <p:cBhvr>
                                        <p:cTn id="25" dur="500"/>
                                        <p:tgtEl>
                                          <p:spTgt spid="24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56"/>
                                        </p:tgtEl>
                                        <p:attrNameLst>
                                          <p:attrName>style.visibility</p:attrName>
                                        </p:attrNameLst>
                                      </p:cBhvr>
                                      <p:to>
                                        <p:strVal val="visible"/>
                                      </p:to>
                                    </p:set>
                                    <p:animEffect transition="in" filter="fade">
                                      <p:cBhvr>
                                        <p:cTn id="30" dur="500"/>
                                        <p:tgtEl>
                                          <p:spTgt spid="56"/>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207"/>
                                        </p:tgtEl>
                                        <p:attrNameLst>
                                          <p:attrName>style.visibility</p:attrName>
                                        </p:attrNameLst>
                                      </p:cBhvr>
                                      <p:to>
                                        <p:strVal val="visible"/>
                                      </p:to>
                                    </p:set>
                                    <p:animEffect transition="in" filter="fade">
                                      <p:cBhvr>
                                        <p:cTn id="35" dur="500"/>
                                        <p:tgtEl>
                                          <p:spTgt spid="20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06"/>
                                        </p:tgtEl>
                                        <p:attrNameLst>
                                          <p:attrName>style.visibility</p:attrName>
                                        </p:attrNameLst>
                                      </p:cBhvr>
                                      <p:to>
                                        <p:strVal val="visible"/>
                                      </p:to>
                                    </p:set>
                                    <p:animEffect transition="in" filter="fade">
                                      <p:cBhvr>
                                        <p:cTn id="38" dur="500"/>
                                        <p:tgtEl>
                                          <p:spTgt spid="206"/>
                                        </p:tgtEl>
                                      </p:cBhvr>
                                    </p:animEffect>
                                  </p:childTnLst>
                                </p:cTn>
                              </p:par>
                            </p:childTnLst>
                          </p:cTn>
                        </p:par>
                        <p:par>
                          <p:cTn id="39" fill="hold">
                            <p:stCondLst>
                              <p:cond delay="500"/>
                            </p:stCondLst>
                            <p:childTnLst>
                              <p:par>
                                <p:cTn id="40" presetID="10" presetClass="exit" presetSubtype="0" fill="hold" grpId="1" nodeType="afterEffect">
                                  <p:stCondLst>
                                    <p:cond delay="0"/>
                                  </p:stCondLst>
                                  <p:childTnLst>
                                    <p:animEffect transition="out" filter="fade">
                                      <p:cBhvr>
                                        <p:cTn id="41" dur="2000"/>
                                        <p:tgtEl>
                                          <p:spTgt spid="206"/>
                                        </p:tgtEl>
                                      </p:cBhvr>
                                    </p:animEffect>
                                    <p:set>
                                      <p:cBhvr>
                                        <p:cTn id="42" dur="1" fill="hold">
                                          <p:stCondLst>
                                            <p:cond delay="1999"/>
                                          </p:stCondLst>
                                        </p:cTn>
                                        <p:tgtEl>
                                          <p:spTgt spid="206"/>
                                        </p:tgtEl>
                                        <p:attrNameLst>
                                          <p:attrName>style.visibility</p:attrName>
                                        </p:attrNameLst>
                                      </p:cBhvr>
                                      <p:to>
                                        <p:strVal val="hidden"/>
                                      </p:to>
                                    </p:set>
                                  </p:childTnLst>
                                </p:cTn>
                              </p:par>
                              <p:par>
                                <p:cTn id="43" presetID="10" presetClass="entr" presetSubtype="0" fill="hold" grpId="0" nodeType="withEffect">
                                  <p:stCondLst>
                                    <p:cond delay="0"/>
                                  </p:stCondLst>
                                  <p:childTnLst>
                                    <p:set>
                                      <p:cBhvr>
                                        <p:cTn id="44" dur="1" fill="hold">
                                          <p:stCondLst>
                                            <p:cond delay="0"/>
                                          </p:stCondLst>
                                        </p:cTn>
                                        <p:tgtEl>
                                          <p:spTgt spid="245"/>
                                        </p:tgtEl>
                                        <p:attrNameLst>
                                          <p:attrName>style.visibility</p:attrName>
                                        </p:attrNameLst>
                                      </p:cBhvr>
                                      <p:to>
                                        <p:strVal val="visible"/>
                                      </p:to>
                                    </p:set>
                                    <p:animEffect transition="in" filter="fade">
                                      <p:cBhvr>
                                        <p:cTn id="45" dur="500"/>
                                        <p:tgtEl>
                                          <p:spTgt spid="245"/>
                                        </p:tgtEl>
                                      </p:cBhvr>
                                    </p:animEffect>
                                  </p:childTnLst>
                                </p:cTn>
                              </p:par>
                              <p:par>
                                <p:cTn id="46" presetID="10" presetClass="entr" presetSubtype="0" fill="hold" nodeType="withEffect">
                                  <p:stCondLst>
                                    <p:cond delay="0"/>
                                  </p:stCondLst>
                                  <p:childTnLst>
                                    <p:set>
                                      <p:cBhvr>
                                        <p:cTn id="47" dur="1" fill="hold">
                                          <p:stCondLst>
                                            <p:cond delay="0"/>
                                          </p:stCondLst>
                                        </p:cTn>
                                        <p:tgtEl>
                                          <p:spTgt spid="244"/>
                                        </p:tgtEl>
                                        <p:attrNameLst>
                                          <p:attrName>style.visibility</p:attrName>
                                        </p:attrNameLst>
                                      </p:cBhvr>
                                      <p:to>
                                        <p:strVal val="visible"/>
                                      </p:to>
                                    </p:set>
                                    <p:animEffect transition="in" filter="fade">
                                      <p:cBhvr>
                                        <p:cTn id="48" dur="500"/>
                                        <p:tgtEl>
                                          <p:spTgt spid="2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6" grpId="0" animBg="1"/>
      <p:bldP spid="206" grpId="1" animBg="1"/>
      <p:bldP spid="241" grpId="0"/>
      <p:bldP spid="242" grpId="0"/>
      <p:bldP spid="243" grpId="0"/>
      <p:bldP spid="24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5100" y="164375"/>
            <a:ext cx="8417052" cy="401578"/>
          </a:xfrm>
        </p:spPr>
        <p:txBody>
          <a:bodyPr/>
          <a:lstStyle/>
          <a:p>
            <a:r>
              <a:rPr lang="en-US" dirty="0"/>
              <a:t>End User Computing Current vs Target Environment</a:t>
            </a:r>
          </a:p>
        </p:txBody>
      </p:sp>
      <p:sp>
        <p:nvSpPr>
          <p:cNvPr id="4" name="Footer Placeholder 3"/>
          <p:cNvSpPr>
            <a:spLocks noGrp="1"/>
          </p:cNvSpPr>
          <p:nvPr>
            <p:ph type="ftr" sz="quarter" idx="3"/>
          </p:nvPr>
        </p:nvSpPr>
        <p:spPr/>
        <p:txBody>
          <a:bodyPr/>
          <a:lstStyle/>
          <a:p>
            <a:r>
              <a:rPr lang="en-US" smtClean="0"/>
              <a:t>© 2020 Cognizant</a:t>
            </a:r>
            <a:endParaRPr lang="en-US" dirty="0"/>
          </a:p>
        </p:txBody>
      </p:sp>
      <p:sp>
        <p:nvSpPr>
          <p:cNvPr id="5" name="Slide Number Placeholder 4"/>
          <p:cNvSpPr>
            <a:spLocks noGrp="1"/>
          </p:cNvSpPr>
          <p:nvPr>
            <p:ph type="sldNum" sz="quarter" idx="4"/>
          </p:nvPr>
        </p:nvSpPr>
        <p:spPr/>
        <p:txBody>
          <a:bodyPr/>
          <a:lstStyle/>
          <a:p>
            <a:fld id="{2EFEF571-C9B4-4D92-A7F7-315B894862A8}" type="slidenum">
              <a:rPr lang="en-US" smtClean="0"/>
              <a:pPr/>
              <a:t>24</a:t>
            </a:fld>
            <a:endParaRPr lang="en-US" dirty="0"/>
          </a:p>
        </p:txBody>
      </p:sp>
      <p:sp>
        <p:nvSpPr>
          <p:cNvPr id="6" name="TextBox 5"/>
          <p:cNvSpPr txBox="1"/>
          <p:nvPr/>
        </p:nvSpPr>
        <p:spPr>
          <a:xfrm>
            <a:off x="1156060" y="606847"/>
            <a:ext cx="1731243" cy="207749"/>
          </a:xfrm>
          <a:prstGeom prst="rect">
            <a:avLst/>
          </a:prstGeom>
        </p:spPr>
        <p:txBody>
          <a:bodyPr wrap="none" lIns="0" tIns="0" rIns="0" bIns="0" rtlCol="0">
            <a:spAutoFit/>
          </a:bodyPr>
          <a:lstStyle/>
          <a:p>
            <a:pPr defTabSz="685800">
              <a:defRPr/>
            </a:pPr>
            <a:r>
              <a:rPr lang="en-US" sz="1350" b="1" dirty="0">
                <a:solidFill>
                  <a:srgbClr val="000000"/>
                </a:solidFill>
                <a:latin typeface="Arial" panose="020B0604020202020204"/>
              </a:rPr>
              <a:t>Current Environment</a:t>
            </a:r>
          </a:p>
        </p:txBody>
      </p:sp>
      <p:sp>
        <p:nvSpPr>
          <p:cNvPr id="7" name="TextBox 6"/>
          <p:cNvSpPr txBox="1"/>
          <p:nvPr/>
        </p:nvSpPr>
        <p:spPr>
          <a:xfrm>
            <a:off x="6311208" y="606847"/>
            <a:ext cx="1622239" cy="207749"/>
          </a:xfrm>
          <a:prstGeom prst="rect">
            <a:avLst/>
          </a:prstGeom>
        </p:spPr>
        <p:txBody>
          <a:bodyPr wrap="none" lIns="0" tIns="0" rIns="0" bIns="0" rtlCol="0">
            <a:spAutoFit/>
          </a:bodyPr>
          <a:lstStyle/>
          <a:p>
            <a:pPr defTabSz="685800">
              <a:defRPr/>
            </a:pPr>
            <a:r>
              <a:rPr lang="en-US" sz="1350" b="1" dirty="0">
                <a:solidFill>
                  <a:srgbClr val="000000"/>
                </a:solidFill>
                <a:latin typeface="Arial" panose="020B0604020202020204"/>
              </a:rPr>
              <a:t>Target Environment</a:t>
            </a:r>
          </a:p>
        </p:txBody>
      </p:sp>
      <p:sp>
        <p:nvSpPr>
          <p:cNvPr id="8" name="Right Arrow 7"/>
          <p:cNvSpPr/>
          <p:nvPr/>
        </p:nvSpPr>
        <p:spPr>
          <a:xfrm>
            <a:off x="4043363" y="2234047"/>
            <a:ext cx="1057275" cy="814806"/>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Arial" panose="020B0604020202020204"/>
            </a:endParaRPr>
          </a:p>
        </p:txBody>
      </p:sp>
      <p:grpSp>
        <p:nvGrpSpPr>
          <p:cNvPr id="9" name="Group 8"/>
          <p:cNvGrpSpPr/>
          <p:nvPr/>
        </p:nvGrpSpPr>
        <p:grpSpPr>
          <a:xfrm>
            <a:off x="476072" y="854629"/>
            <a:ext cx="3091218" cy="3777689"/>
            <a:chOff x="642645" y="1139505"/>
            <a:chExt cx="4121624" cy="5036918"/>
          </a:xfrm>
        </p:grpSpPr>
        <p:sp>
          <p:nvSpPr>
            <p:cNvPr id="10" name="Rounded Rectangle 9"/>
            <p:cNvSpPr/>
            <p:nvPr/>
          </p:nvSpPr>
          <p:spPr>
            <a:xfrm>
              <a:off x="854640" y="1451720"/>
              <a:ext cx="3745856" cy="470877"/>
            </a:xfrm>
            <a:prstGeom prst="roundRect">
              <a:avLst/>
            </a:prstGeom>
            <a:noFill/>
            <a:ln w="19050">
              <a:solidFill>
                <a:srgbClr val="87D43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Arial" panose="020B0604020202020204"/>
              </a:endParaRPr>
            </a:p>
          </p:txBody>
        </p:sp>
        <p:sp>
          <p:nvSpPr>
            <p:cNvPr id="11" name="TextBox 10"/>
            <p:cNvSpPr txBox="1"/>
            <p:nvPr/>
          </p:nvSpPr>
          <p:spPr>
            <a:xfrm>
              <a:off x="995354" y="1579436"/>
              <a:ext cx="359072" cy="215444"/>
            </a:xfrm>
            <a:prstGeom prst="rect">
              <a:avLst/>
            </a:prstGeom>
          </p:spPr>
          <p:txBody>
            <a:bodyPr wrap="none" lIns="0" tIns="0" rIns="0" bIns="0" rtlCol="0">
              <a:spAutoFit/>
            </a:bodyPr>
            <a:lstStyle/>
            <a:p>
              <a:pPr defTabSz="685800">
                <a:defRPr/>
              </a:pPr>
              <a:r>
                <a:rPr lang="en-US" sz="1050" dirty="0">
                  <a:ln>
                    <a:solidFill>
                      <a:srgbClr val="33BEB4"/>
                    </a:solidFill>
                  </a:ln>
                  <a:solidFill>
                    <a:srgbClr val="87D437"/>
                  </a:solidFill>
                  <a:latin typeface="Arial" panose="020B0604020202020204"/>
                </a:rPr>
                <a:t>BHF</a:t>
              </a:r>
            </a:p>
          </p:txBody>
        </p:sp>
        <p:grpSp>
          <p:nvGrpSpPr>
            <p:cNvPr id="12" name="Group 11"/>
            <p:cNvGrpSpPr/>
            <p:nvPr/>
          </p:nvGrpSpPr>
          <p:grpSpPr>
            <a:xfrm>
              <a:off x="1637587" y="1515822"/>
              <a:ext cx="1249992" cy="342672"/>
              <a:chOff x="1926680" y="1949018"/>
              <a:chExt cx="1249992" cy="342672"/>
            </a:xfrm>
          </p:grpSpPr>
          <p:pic>
            <p:nvPicPr>
              <p:cNvPr id="61" name="Picture 2" descr="Image result for fax"/>
              <p:cNvPicPr>
                <a:picLocks noChangeAspect="1" noChangeArrowheads="1"/>
              </p:cNvPicPr>
              <p:nvPr/>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926680" y="1949018"/>
                <a:ext cx="365760" cy="342672"/>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p:cNvSpPr txBox="1"/>
              <p:nvPr/>
            </p:nvSpPr>
            <p:spPr>
              <a:xfrm>
                <a:off x="2426466" y="2018517"/>
                <a:ext cx="750206" cy="138500"/>
              </a:xfrm>
              <a:prstGeom prst="rect">
                <a:avLst/>
              </a:prstGeom>
            </p:spPr>
            <p:txBody>
              <a:bodyPr wrap="none" lIns="0" tIns="0" rIns="0" bIns="0" rtlCol="0">
                <a:spAutoFit/>
              </a:bodyPr>
              <a:lstStyle/>
              <a:p>
                <a:pPr defTabSz="685800">
                  <a:defRPr/>
                </a:pPr>
                <a:r>
                  <a:rPr lang="en-US" sz="675" b="1" dirty="0">
                    <a:solidFill>
                      <a:srgbClr val="000000"/>
                    </a:solidFill>
                    <a:latin typeface="Arial" panose="020B0604020202020204"/>
                  </a:rPr>
                  <a:t>Fax - </a:t>
                </a:r>
                <a:r>
                  <a:rPr lang="en-US" sz="675" dirty="0" err="1">
                    <a:solidFill>
                      <a:srgbClr val="000000"/>
                    </a:solidFill>
                    <a:latin typeface="Arial" panose="020B0604020202020204"/>
                  </a:rPr>
                  <a:t>EasyFax</a:t>
                </a:r>
                <a:endParaRPr lang="en-US" sz="675" dirty="0">
                  <a:solidFill>
                    <a:srgbClr val="000000"/>
                  </a:solidFill>
                  <a:latin typeface="Arial" panose="020B0604020202020204"/>
                </a:endParaRPr>
              </a:p>
            </p:txBody>
          </p:sp>
        </p:grpSp>
        <p:grpSp>
          <p:nvGrpSpPr>
            <p:cNvPr id="13" name="Group 12"/>
            <p:cNvGrpSpPr/>
            <p:nvPr/>
          </p:nvGrpSpPr>
          <p:grpSpPr>
            <a:xfrm>
              <a:off x="854640" y="1973355"/>
              <a:ext cx="3745856" cy="1650750"/>
              <a:chOff x="853440" y="2197985"/>
              <a:chExt cx="3745856" cy="1650750"/>
            </a:xfrm>
          </p:grpSpPr>
          <p:sp>
            <p:nvSpPr>
              <p:cNvPr id="43" name="Rounded Rectangle 42"/>
              <p:cNvSpPr/>
              <p:nvPr/>
            </p:nvSpPr>
            <p:spPr>
              <a:xfrm>
                <a:off x="853440" y="2197985"/>
                <a:ext cx="3745856" cy="1650750"/>
              </a:xfrm>
              <a:prstGeom prst="roundRect">
                <a:avLst/>
              </a:prstGeom>
              <a:noFill/>
              <a:ln w="19050">
                <a:solidFill>
                  <a:srgbClr val="1F649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Arial" panose="020B0604020202020204"/>
                </a:endParaRPr>
              </a:p>
            </p:txBody>
          </p:sp>
          <p:pic>
            <p:nvPicPr>
              <p:cNvPr id="44" name="Picture 16" descr="Image result for PCM systems ltd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0339" y="2752891"/>
                <a:ext cx="595819" cy="540939"/>
              </a:xfrm>
              <a:prstGeom prst="rect">
                <a:avLst/>
              </a:prstGeom>
              <a:noFill/>
              <a:extLst>
                <a:ext uri="{909E8E84-426E-40DD-AFC4-6F175D3DCCD1}">
                  <a14:hiddenFill xmlns:a14="http://schemas.microsoft.com/office/drawing/2010/main">
                    <a:solidFill>
                      <a:srgbClr val="FFFFFF"/>
                    </a:solidFill>
                  </a14:hiddenFill>
                </a:ext>
              </a:extLst>
            </p:spPr>
          </p:pic>
          <p:grpSp>
            <p:nvGrpSpPr>
              <p:cNvPr id="45" name="Group 44"/>
              <p:cNvGrpSpPr/>
              <p:nvPr/>
            </p:nvGrpSpPr>
            <p:grpSpPr>
              <a:xfrm>
                <a:off x="1636387" y="2295502"/>
                <a:ext cx="2314517" cy="1452997"/>
                <a:chOff x="1912612" y="2597775"/>
                <a:chExt cx="2314517" cy="1452997"/>
              </a:xfrm>
            </p:grpSpPr>
            <p:grpSp>
              <p:nvGrpSpPr>
                <p:cNvPr id="46" name="Group 45"/>
                <p:cNvGrpSpPr/>
                <p:nvPr/>
              </p:nvGrpSpPr>
              <p:grpSpPr>
                <a:xfrm>
                  <a:off x="1912612" y="2597775"/>
                  <a:ext cx="1422558" cy="271031"/>
                  <a:chOff x="1965711" y="2597775"/>
                  <a:chExt cx="1422558" cy="271031"/>
                </a:xfrm>
              </p:grpSpPr>
              <p:pic>
                <p:nvPicPr>
                  <p:cNvPr id="59" name="Picture 58"/>
                  <p:cNvPicPr>
                    <a:picLocks noChangeAspect="1"/>
                  </p:cNvPicPr>
                  <p:nvPr/>
                </p:nvPicPr>
                <p:blipFill>
                  <a:blip r:embed="rId4"/>
                  <a:stretch>
                    <a:fillRect/>
                  </a:stretch>
                </p:blipFill>
                <p:spPr>
                  <a:xfrm>
                    <a:off x="1965711" y="2597775"/>
                    <a:ext cx="274320" cy="271031"/>
                  </a:xfrm>
                  <a:prstGeom prst="rect">
                    <a:avLst/>
                  </a:prstGeom>
                </p:spPr>
              </p:pic>
              <p:sp>
                <p:nvSpPr>
                  <p:cNvPr id="60" name="TextBox 59"/>
                  <p:cNvSpPr txBox="1"/>
                  <p:nvPr/>
                </p:nvSpPr>
                <p:spPr>
                  <a:xfrm>
                    <a:off x="2426467" y="2664040"/>
                    <a:ext cx="961802" cy="138500"/>
                  </a:xfrm>
                  <a:prstGeom prst="rect">
                    <a:avLst/>
                  </a:prstGeom>
                </p:spPr>
                <p:txBody>
                  <a:bodyPr wrap="none" lIns="0" tIns="0" rIns="0" bIns="0" rtlCol="0">
                    <a:spAutoFit/>
                  </a:bodyPr>
                  <a:lstStyle>
                    <a:defPPr>
                      <a:defRPr lang="en-US"/>
                    </a:defPPr>
                    <a:lvl1pPr>
                      <a:defRPr sz="900" b="1">
                        <a:solidFill>
                          <a:schemeClr val="tx2"/>
                        </a:solidFill>
                      </a:defRPr>
                    </a:lvl1pPr>
                  </a:lstStyle>
                  <a:p>
                    <a:pPr defTabSz="685800">
                      <a:defRPr/>
                    </a:pPr>
                    <a:r>
                      <a:rPr lang="en-US" sz="675" dirty="0">
                        <a:solidFill>
                          <a:srgbClr val="000000"/>
                        </a:solidFill>
                        <a:latin typeface="Arial" panose="020B0604020202020204"/>
                      </a:rPr>
                      <a:t>Email – </a:t>
                    </a:r>
                    <a:r>
                      <a:rPr lang="en-US" sz="675" b="0" dirty="0">
                        <a:solidFill>
                          <a:srgbClr val="000000"/>
                        </a:solidFill>
                        <a:latin typeface="Arial" panose="020B0604020202020204"/>
                      </a:rPr>
                      <a:t>Office 365</a:t>
                    </a:r>
                  </a:p>
                </p:txBody>
              </p:sp>
            </p:grpSp>
            <p:grpSp>
              <p:nvGrpSpPr>
                <p:cNvPr id="47" name="Group 46"/>
                <p:cNvGrpSpPr/>
                <p:nvPr/>
              </p:nvGrpSpPr>
              <p:grpSpPr>
                <a:xfrm>
                  <a:off x="1912612" y="2889982"/>
                  <a:ext cx="2314517" cy="274320"/>
                  <a:chOff x="1965022" y="2889982"/>
                  <a:chExt cx="2314517" cy="274320"/>
                </a:xfrm>
              </p:grpSpPr>
              <p:pic>
                <p:nvPicPr>
                  <p:cNvPr id="57" name="Picture 6" descr="Image result for skyp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022" y="2889982"/>
                    <a:ext cx="275009" cy="274320"/>
                  </a:xfrm>
                  <a:prstGeom prst="rect">
                    <a:avLst/>
                  </a:prstGeom>
                  <a:noFill/>
                  <a:extLst>
                    <a:ext uri="{909E8E84-426E-40DD-AFC4-6F175D3DCCD1}">
                      <a14:hiddenFill xmlns:a14="http://schemas.microsoft.com/office/drawing/2010/main">
                        <a:solidFill>
                          <a:srgbClr val="FFFFFF"/>
                        </a:solidFill>
                      </a14:hiddenFill>
                    </a:ext>
                  </a:extLst>
                </p:spPr>
              </p:pic>
              <p:sp>
                <p:nvSpPr>
                  <p:cNvPr id="58" name="TextBox 57"/>
                  <p:cNvSpPr txBox="1"/>
                  <p:nvPr/>
                </p:nvSpPr>
                <p:spPr>
                  <a:xfrm>
                    <a:off x="2426467" y="2957893"/>
                    <a:ext cx="1853072" cy="138500"/>
                  </a:xfrm>
                  <a:prstGeom prst="rect">
                    <a:avLst/>
                  </a:prstGeom>
                </p:spPr>
                <p:txBody>
                  <a:bodyPr wrap="none" lIns="0" tIns="0" rIns="0" bIns="0" rtlCol="0">
                    <a:spAutoFit/>
                  </a:bodyPr>
                  <a:lstStyle/>
                  <a:p>
                    <a:pPr defTabSz="685800">
                      <a:defRPr/>
                    </a:pPr>
                    <a:r>
                      <a:rPr lang="en-US" sz="675" b="1" dirty="0">
                        <a:solidFill>
                          <a:srgbClr val="000000"/>
                        </a:solidFill>
                        <a:latin typeface="Arial" panose="020B0604020202020204"/>
                      </a:rPr>
                      <a:t>Collaboration - </a:t>
                    </a:r>
                    <a:r>
                      <a:rPr lang="en-US" sz="675" dirty="0">
                        <a:solidFill>
                          <a:srgbClr val="000000"/>
                        </a:solidFill>
                        <a:latin typeface="Arial" panose="020B0604020202020204"/>
                      </a:rPr>
                      <a:t>Skype for business </a:t>
                    </a:r>
                  </a:p>
                </p:txBody>
              </p:sp>
            </p:grpSp>
            <p:grpSp>
              <p:nvGrpSpPr>
                <p:cNvPr id="48" name="Group 47"/>
                <p:cNvGrpSpPr/>
                <p:nvPr/>
              </p:nvGrpSpPr>
              <p:grpSpPr>
                <a:xfrm>
                  <a:off x="1912612" y="3185478"/>
                  <a:ext cx="1198138" cy="274320"/>
                  <a:chOff x="1965711" y="3185478"/>
                  <a:chExt cx="1198138" cy="274320"/>
                </a:xfrm>
              </p:grpSpPr>
              <p:pic>
                <p:nvPicPr>
                  <p:cNvPr id="55" name="Picture 8" descr="Image result for intun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65711" y="3185478"/>
                    <a:ext cx="274320" cy="274320"/>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p:cNvSpPr txBox="1"/>
                  <p:nvPr/>
                </p:nvSpPr>
                <p:spPr>
                  <a:xfrm>
                    <a:off x="2426467" y="3253389"/>
                    <a:ext cx="737382" cy="138500"/>
                  </a:xfrm>
                  <a:prstGeom prst="rect">
                    <a:avLst/>
                  </a:prstGeom>
                </p:spPr>
                <p:txBody>
                  <a:bodyPr wrap="none" lIns="0" tIns="0" rIns="0" bIns="0" rtlCol="0">
                    <a:spAutoFit/>
                  </a:bodyPr>
                  <a:lstStyle>
                    <a:defPPr>
                      <a:defRPr lang="en-US"/>
                    </a:defPPr>
                    <a:lvl1pPr>
                      <a:defRPr sz="900" b="1">
                        <a:solidFill>
                          <a:schemeClr val="tx2"/>
                        </a:solidFill>
                      </a:defRPr>
                    </a:lvl1pPr>
                  </a:lstStyle>
                  <a:p>
                    <a:pPr defTabSz="685800">
                      <a:defRPr/>
                    </a:pPr>
                    <a:r>
                      <a:rPr lang="en-US" sz="675" dirty="0">
                        <a:solidFill>
                          <a:srgbClr val="000000"/>
                        </a:solidFill>
                        <a:latin typeface="Arial" panose="020B0604020202020204"/>
                      </a:rPr>
                      <a:t>MDM - </a:t>
                    </a:r>
                    <a:r>
                      <a:rPr lang="en-US" sz="675" b="0" dirty="0">
                        <a:solidFill>
                          <a:srgbClr val="000000"/>
                        </a:solidFill>
                        <a:latin typeface="Arial" panose="020B0604020202020204"/>
                      </a:rPr>
                      <a:t>InTune</a:t>
                    </a:r>
                  </a:p>
                </p:txBody>
              </p:sp>
            </p:grpSp>
            <p:grpSp>
              <p:nvGrpSpPr>
                <p:cNvPr id="49" name="Group 48"/>
                <p:cNvGrpSpPr/>
                <p:nvPr/>
              </p:nvGrpSpPr>
              <p:grpSpPr>
                <a:xfrm>
                  <a:off x="1912612" y="3480974"/>
                  <a:ext cx="1268670" cy="274320"/>
                  <a:chOff x="1965711" y="3480974"/>
                  <a:chExt cx="1268670" cy="274320"/>
                </a:xfrm>
              </p:grpSpPr>
              <p:pic>
                <p:nvPicPr>
                  <p:cNvPr id="53" name="Picture 52"/>
                  <p:cNvPicPr>
                    <a:picLocks noChangeAspect="1"/>
                  </p:cNvPicPr>
                  <p:nvPr/>
                </p:nvPicPr>
                <p:blipFill>
                  <a:blip r:embed="rId7"/>
                  <a:stretch>
                    <a:fillRect/>
                  </a:stretch>
                </p:blipFill>
                <p:spPr>
                  <a:xfrm>
                    <a:off x="1965711" y="3480974"/>
                    <a:ext cx="274320" cy="274320"/>
                  </a:xfrm>
                  <a:prstGeom prst="rect">
                    <a:avLst/>
                  </a:prstGeom>
                </p:spPr>
              </p:pic>
              <p:sp>
                <p:nvSpPr>
                  <p:cNvPr id="54" name="TextBox 53"/>
                  <p:cNvSpPr txBox="1"/>
                  <p:nvPr/>
                </p:nvSpPr>
                <p:spPr>
                  <a:xfrm>
                    <a:off x="2426467" y="3548885"/>
                    <a:ext cx="807914" cy="138500"/>
                  </a:xfrm>
                  <a:prstGeom prst="rect">
                    <a:avLst/>
                  </a:prstGeom>
                </p:spPr>
                <p:txBody>
                  <a:bodyPr wrap="none" lIns="0" tIns="0" rIns="0" bIns="0" rtlCol="0">
                    <a:spAutoFit/>
                  </a:bodyPr>
                  <a:lstStyle>
                    <a:defPPr>
                      <a:defRPr lang="en-US"/>
                    </a:defPPr>
                    <a:lvl1pPr>
                      <a:defRPr sz="900" b="1">
                        <a:solidFill>
                          <a:schemeClr val="tx2"/>
                        </a:solidFill>
                      </a:defRPr>
                    </a:lvl1pPr>
                  </a:lstStyle>
                  <a:p>
                    <a:pPr defTabSz="685800">
                      <a:defRPr/>
                    </a:pPr>
                    <a:r>
                      <a:rPr lang="en-US" sz="675" dirty="0">
                        <a:solidFill>
                          <a:srgbClr val="000000"/>
                        </a:solidFill>
                        <a:latin typeface="Arial" panose="020B0604020202020204"/>
                      </a:rPr>
                      <a:t>Email - </a:t>
                    </a:r>
                    <a:r>
                      <a:rPr lang="en-US" sz="675" b="0" dirty="0">
                        <a:solidFill>
                          <a:srgbClr val="000000"/>
                        </a:solidFill>
                        <a:latin typeface="Arial" panose="020B0604020202020204"/>
                      </a:rPr>
                      <a:t>Outlook</a:t>
                    </a:r>
                  </a:p>
                </p:txBody>
              </p:sp>
            </p:grpSp>
            <p:grpSp>
              <p:nvGrpSpPr>
                <p:cNvPr id="50" name="Group 49"/>
                <p:cNvGrpSpPr/>
                <p:nvPr/>
              </p:nvGrpSpPr>
              <p:grpSpPr>
                <a:xfrm>
                  <a:off x="1912612" y="3773773"/>
                  <a:ext cx="2168139" cy="276999"/>
                  <a:chOff x="1912612" y="3773773"/>
                  <a:chExt cx="2168139" cy="276999"/>
                </a:xfrm>
              </p:grpSpPr>
              <p:pic>
                <p:nvPicPr>
                  <p:cNvPr id="51" name="Picture 12" descr="Image result for sharepoint icon"/>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12612" y="3773773"/>
                    <a:ext cx="379828" cy="274320"/>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p:cNvSpPr txBox="1"/>
                  <p:nvPr/>
                </p:nvSpPr>
                <p:spPr>
                  <a:xfrm>
                    <a:off x="2373368" y="3773773"/>
                    <a:ext cx="1707383" cy="276999"/>
                  </a:xfrm>
                  <a:prstGeom prst="rect">
                    <a:avLst/>
                  </a:prstGeom>
                </p:spPr>
                <p:txBody>
                  <a:bodyPr wrap="square" lIns="0" tIns="0" rIns="0" bIns="0" rtlCol="0">
                    <a:spAutoFit/>
                  </a:bodyPr>
                  <a:lstStyle/>
                  <a:p>
                    <a:pPr defTabSz="685800">
                      <a:defRPr/>
                    </a:pPr>
                    <a:r>
                      <a:rPr lang="en-US" sz="675" b="1" dirty="0">
                        <a:solidFill>
                          <a:srgbClr val="000000"/>
                        </a:solidFill>
                        <a:latin typeface="Arial" panose="020B0604020202020204"/>
                      </a:rPr>
                      <a:t>Collaboration - </a:t>
                    </a:r>
                    <a:r>
                      <a:rPr lang="en-US" sz="675" dirty="0">
                        <a:solidFill>
                          <a:srgbClr val="000000"/>
                        </a:solidFill>
                        <a:latin typeface="Arial" panose="020B0604020202020204"/>
                      </a:rPr>
                      <a:t> SharePoint, One Drive, </a:t>
                    </a:r>
                    <a:r>
                      <a:rPr lang="en-US" sz="675" dirty="0" err="1">
                        <a:solidFill>
                          <a:srgbClr val="000000"/>
                        </a:solidFill>
                        <a:latin typeface="Arial" panose="020B0604020202020204"/>
                      </a:rPr>
                      <a:t>FileShare</a:t>
                    </a:r>
                    <a:endParaRPr lang="en-US" sz="675" dirty="0">
                      <a:solidFill>
                        <a:srgbClr val="000000"/>
                      </a:solidFill>
                      <a:latin typeface="Arial" panose="020B0604020202020204"/>
                    </a:endParaRPr>
                  </a:p>
                </p:txBody>
              </p:sp>
            </p:grpSp>
          </p:grpSp>
        </p:grpSp>
        <p:sp>
          <p:nvSpPr>
            <p:cNvPr id="14" name="Rectangle 13"/>
            <p:cNvSpPr/>
            <p:nvPr/>
          </p:nvSpPr>
          <p:spPr>
            <a:xfrm>
              <a:off x="642645" y="1280745"/>
              <a:ext cx="4121624" cy="4895678"/>
            </a:xfrm>
            <a:prstGeom prst="rect">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750">
                <a:solidFill>
                  <a:prstClr val="white"/>
                </a:solidFill>
                <a:latin typeface="Arial" panose="020B0604020202020204"/>
              </a:endParaRPr>
            </a:p>
          </p:txBody>
        </p:sp>
        <p:sp>
          <p:nvSpPr>
            <p:cNvPr id="15" name="Rounded Rectangle 14"/>
            <p:cNvSpPr/>
            <p:nvPr/>
          </p:nvSpPr>
          <p:spPr>
            <a:xfrm>
              <a:off x="753965" y="1139505"/>
              <a:ext cx="1829486" cy="258452"/>
            </a:xfrm>
            <a:prstGeom prst="roundRect">
              <a:avLst/>
            </a:prstGeom>
            <a:solidFill>
              <a:srgbClr val="0033A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750" b="1" dirty="0">
                  <a:solidFill>
                    <a:prstClr val="white"/>
                  </a:solidFill>
                  <a:latin typeface="Arial" panose="020B0604020202020204"/>
                  <a:cs typeface="Arial" panose="020B0604020202020204" pitchFamily="34" charset="0"/>
                </a:rPr>
                <a:t>End User Computing</a:t>
              </a:r>
            </a:p>
          </p:txBody>
        </p:sp>
        <p:pic>
          <p:nvPicPr>
            <p:cNvPr id="16" name="Picture 6" descr="Image result for IBM"/>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72367" y="4803974"/>
              <a:ext cx="394161" cy="196856"/>
            </a:xfrm>
            <a:prstGeom prst="rect">
              <a:avLst/>
            </a:prstGeom>
            <a:noFill/>
            <a:extLst>
              <a:ext uri="{909E8E84-426E-40DD-AFC4-6F175D3DCCD1}">
                <a14:hiddenFill xmlns:a14="http://schemas.microsoft.com/office/drawing/2010/main">
                  <a:solidFill>
                    <a:srgbClr val="FFFFFF"/>
                  </a:solidFill>
                </a14:hiddenFill>
              </a:ext>
            </a:extLst>
          </p:spPr>
        </p:pic>
        <p:sp>
          <p:nvSpPr>
            <p:cNvPr id="17" name="Rounded Rectangle 16"/>
            <p:cNvSpPr/>
            <p:nvPr/>
          </p:nvSpPr>
          <p:spPr>
            <a:xfrm>
              <a:off x="854640" y="3685120"/>
              <a:ext cx="3745856" cy="2434565"/>
            </a:xfrm>
            <a:prstGeom prst="roundRect">
              <a:avLst/>
            </a:prstGeom>
            <a:noFill/>
            <a:ln w="19050">
              <a:solidFill>
                <a:srgbClr val="2876C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Arial" panose="020B0604020202020204"/>
              </a:endParaRPr>
            </a:p>
          </p:txBody>
        </p:sp>
        <p:grpSp>
          <p:nvGrpSpPr>
            <p:cNvPr id="18" name="Group 17"/>
            <p:cNvGrpSpPr/>
            <p:nvPr/>
          </p:nvGrpSpPr>
          <p:grpSpPr>
            <a:xfrm>
              <a:off x="1640203" y="3729278"/>
              <a:ext cx="2750031" cy="2346249"/>
              <a:chOff x="1640203" y="3728584"/>
              <a:chExt cx="2750031" cy="2346249"/>
            </a:xfrm>
          </p:grpSpPr>
          <p:grpSp>
            <p:nvGrpSpPr>
              <p:cNvPr id="19" name="Group 18"/>
              <p:cNvGrpSpPr/>
              <p:nvPr/>
            </p:nvGrpSpPr>
            <p:grpSpPr>
              <a:xfrm>
                <a:off x="1678303" y="4059946"/>
                <a:ext cx="2490738" cy="276999"/>
                <a:chOff x="1965022" y="4339504"/>
                <a:chExt cx="2490738" cy="304699"/>
              </a:xfrm>
            </p:grpSpPr>
            <p:pic>
              <p:nvPicPr>
                <p:cNvPr id="41" name="Picture 40"/>
                <p:cNvPicPr>
                  <a:picLocks noChangeAspect="1"/>
                </p:cNvPicPr>
                <p:nvPr/>
              </p:nvPicPr>
              <p:blipFill>
                <a:blip r:embed="rId10"/>
                <a:stretch>
                  <a:fillRect/>
                </a:stretch>
              </p:blipFill>
              <p:spPr>
                <a:xfrm>
                  <a:off x="1965022" y="4340844"/>
                  <a:ext cx="235779" cy="274320"/>
                </a:xfrm>
                <a:prstGeom prst="rect">
                  <a:avLst/>
                </a:prstGeom>
              </p:spPr>
            </p:pic>
            <p:sp>
              <p:nvSpPr>
                <p:cNvPr id="42" name="TextBox 41"/>
                <p:cNvSpPr txBox="1"/>
                <p:nvPr/>
              </p:nvSpPr>
              <p:spPr>
                <a:xfrm>
                  <a:off x="2403849" y="4339504"/>
                  <a:ext cx="2051911" cy="304699"/>
                </a:xfrm>
                <a:prstGeom prst="rect">
                  <a:avLst/>
                </a:prstGeom>
              </p:spPr>
              <p:txBody>
                <a:bodyPr wrap="square" lIns="0" tIns="0" rIns="0" bIns="0" rtlCol="0">
                  <a:spAutoFit/>
                </a:bodyPr>
                <a:lstStyle>
                  <a:defPPr>
                    <a:defRPr lang="en-US"/>
                  </a:defPPr>
                  <a:lvl1pPr>
                    <a:defRPr sz="900" b="1">
                      <a:solidFill>
                        <a:schemeClr val="tx2"/>
                      </a:solidFill>
                    </a:defRPr>
                  </a:lvl1pPr>
                </a:lstStyle>
                <a:p>
                  <a:pPr defTabSz="685800">
                    <a:defRPr/>
                  </a:pPr>
                  <a:r>
                    <a:rPr lang="en-US" sz="675" dirty="0">
                      <a:solidFill>
                        <a:srgbClr val="000000"/>
                      </a:solidFill>
                      <a:latin typeface="Arial" panose="020B0604020202020204"/>
                    </a:rPr>
                    <a:t>Conference/desk phones - </a:t>
                  </a:r>
                  <a:r>
                    <a:rPr lang="en-US" sz="675" b="0" dirty="0">
                      <a:solidFill>
                        <a:srgbClr val="000000"/>
                      </a:solidFill>
                      <a:latin typeface="Arial" panose="020B0604020202020204"/>
                    </a:rPr>
                    <a:t>Polycom conference, desk phones</a:t>
                  </a:r>
                </a:p>
              </p:txBody>
            </p:sp>
          </p:grpSp>
          <p:grpSp>
            <p:nvGrpSpPr>
              <p:cNvPr id="20" name="Group 19"/>
              <p:cNvGrpSpPr/>
              <p:nvPr/>
            </p:nvGrpSpPr>
            <p:grpSpPr>
              <a:xfrm>
                <a:off x="1678303" y="4394425"/>
                <a:ext cx="1952312" cy="187365"/>
                <a:chOff x="1937939" y="4744392"/>
                <a:chExt cx="1952312" cy="206101"/>
              </a:xfrm>
            </p:grpSpPr>
            <p:pic>
              <p:nvPicPr>
                <p:cNvPr id="39" name="Picture 16" descr="Image result for vdi icon"/>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937939" y="4744392"/>
                  <a:ext cx="251844" cy="206101"/>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p:cNvSpPr txBox="1"/>
                <p:nvPr/>
              </p:nvSpPr>
              <p:spPr>
                <a:xfrm>
                  <a:off x="2373368" y="4778193"/>
                  <a:ext cx="1516883" cy="152349"/>
                </a:xfrm>
                <a:prstGeom prst="rect">
                  <a:avLst/>
                </a:prstGeom>
              </p:spPr>
              <p:txBody>
                <a:bodyPr wrap="square" lIns="0" tIns="0" rIns="0" bIns="0" rtlCol="0">
                  <a:spAutoFit/>
                </a:bodyPr>
                <a:lstStyle>
                  <a:defPPr>
                    <a:defRPr lang="en-US"/>
                  </a:defPPr>
                  <a:lvl1pPr>
                    <a:defRPr sz="900" b="1">
                      <a:solidFill>
                        <a:schemeClr val="tx2"/>
                      </a:solidFill>
                    </a:defRPr>
                  </a:lvl1pPr>
                </a:lstStyle>
                <a:p>
                  <a:pPr defTabSz="685800">
                    <a:defRPr/>
                  </a:pPr>
                  <a:r>
                    <a:rPr lang="en-US" sz="675" dirty="0">
                      <a:solidFill>
                        <a:srgbClr val="000000"/>
                      </a:solidFill>
                      <a:latin typeface="Arial" panose="020B0604020202020204"/>
                    </a:rPr>
                    <a:t>VDI – </a:t>
                  </a:r>
                  <a:r>
                    <a:rPr lang="en-US" sz="675" b="0" dirty="0">
                      <a:solidFill>
                        <a:srgbClr val="000000"/>
                      </a:solidFill>
                      <a:latin typeface="Arial" panose="020B0604020202020204"/>
                    </a:rPr>
                    <a:t>Horizon VDI</a:t>
                  </a:r>
                </a:p>
              </p:txBody>
            </p:sp>
          </p:grpSp>
          <p:grpSp>
            <p:nvGrpSpPr>
              <p:cNvPr id="21" name="Group 20"/>
              <p:cNvGrpSpPr/>
              <p:nvPr/>
            </p:nvGrpSpPr>
            <p:grpSpPr>
              <a:xfrm>
                <a:off x="1678303" y="4664458"/>
                <a:ext cx="2629381" cy="276999"/>
                <a:chOff x="1669569" y="4772244"/>
                <a:chExt cx="2629381" cy="304699"/>
              </a:xfrm>
            </p:grpSpPr>
            <p:pic>
              <p:nvPicPr>
                <p:cNvPr id="37" name="Picture 36"/>
                <p:cNvPicPr>
                  <a:picLocks noChangeAspect="1"/>
                </p:cNvPicPr>
                <p:nvPr/>
              </p:nvPicPr>
              <p:blipFill>
                <a:blip r:embed="rId12"/>
                <a:stretch>
                  <a:fillRect/>
                </a:stretch>
              </p:blipFill>
              <p:spPr>
                <a:xfrm>
                  <a:off x="1669569" y="4807693"/>
                  <a:ext cx="206896" cy="206101"/>
                </a:xfrm>
                <a:prstGeom prst="rect">
                  <a:avLst/>
                </a:prstGeom>
              </p:spPr>
            </p:pic>
            <p:sp>
              <p:nvSpPr>
                <p:cNvPr id="38" name="TextBox 37"/>
                <p:cNvSpPr txBox="1"/>
                <p:nvPr/>
              </p:nvSpPr>
              <p:spPr>
                <a:xfrm>
                  <a:off x="2094446" y="4772244"/>
                  <a:ext cx="2204504" cy="304699"/>
                </a:xfrm>
                <a:prstGeom prst="rect">
                  <a:avLst/>
                </a:prstGeom>
              </p:spPr>
              <p:txBody>
                <a:bodyPr wrap="square" lIns="0" tIns="0" rIns="0" bIns="0" rtlCol="0">
                  <a:spAutoFit/>
                </a:bodyPr>
                <a:lstStyle>
                  <a:defPPr>
                    <a:defRPr lang="en-US"/>
                  </a:defPPr>
                  <a:lvl1pPr>
                    <a:defRPr sz="900" b="1">
                      <a:solidFill>
                        <a:schemeClr val="tx2"/>
                      </a:solidFill>
                    </a:defRPr>
                  </a:lvl1pPr>
                </a:lstStyle>
                <a:p>
                  <a:pPr defTabSz="685800">
                    <a:defRPr/>
                  </a:pPr>
                  <a:r>
                    <a:rPr lang="en-US" sz="675" dirty="0">
                      <a:solidFill>
                        <a:srgbClr val="000000"/>
                      </a:solidFill>
                      <a:latin typeface="Arial" panose="020B0604020202020204"/>
                    </a:rPr>
                    <a:t>Polycom Headsets Portal - </a:t>
                  </a:r>
                  <a:r>
                    <a:rPr lang="en-US" sz="675" b="0" dirty="0" err="1">
                      <a:solidFill>
                        <a:srgbClr val="000000"/>
                      </a:solidFill>
                      <a:latin typeface="Arial" panose="020B0604020202020204"/>
                    </a:rPr>
                    <a:t>Plantronic</a:t>
                  </a:r>
                  <a:r>
                    <a:rPr lang="en-US" sz="675" b="0" dirty="0">
                      <a:solidFill>
                        <a:srgbClr val="000000"/>
                      </a:solidFill>
                      <a:latin typeface="Arial" panose="020B0604020202020204"/>
                    </a:rPr>
                    <a:t>/Polycom Hub</a:t>
                  </a:r>
                </a:p>
              </p:txBody>
            </p:sp>
          </p:grpSp>
          <p:grpSp>
            <p:nvGrpSpPr>
              <p:cNvPr id="22" name="Group 21"/>
              <p:cNvGrpSpPr/>
              <p:nvPr/>
            </p:nvGrpSpPr>
            <p:grpSpPr>
              <a:xfrm>
                <a:off x="1678303" y="4998941"/>
                <a:ext cx="2711931" cy="276999"/>
                <a:chOff x="1669569" y="5113874"/>
                <a:chExt cx="2711931" cy="304699"/>
              </a:xfrm>
            </p:grpSpPr>
            <p:pic>
              <p:nvPicPr>
                <p:cNvPr id="35" name="Picture 34"/>
                <p:cNvPicPr>
                  <a:picLocks noChangeAspect="1"/>
                </p:cNvPicPr>
                <p:nvPr/>
              </p:nvPicPr>
              <p:blipFill>
                <a:blip r:embed="rId12"/>
                <a:stretch>
                  <a:fillRect/>
                </a:stretch>
              </p:blipFill>
              <p:spPr>
                <a:xfrm>
                  <a:off x="1669569" y="5149323"/>
                  <a:ext cx="206896" cy="206101"/>
                </a:xfrm>
                <a:prstGeom prst="rect">
                  <a:avLst/>
                </a:prstGeom>
              </p:spPr>
            </p:pic>
            <p:sp>
              <p:nvSpPr>
                <p:cNvPr id="36" name="TextBox 35"/>
                <p:cNvSpPr txBox="1"/>
                <p:nvPr/>
              </p:nvSpPr>
              <p:spPr>
                <a:xfrm>
                  <a:off x="2069490" y="5113874"/>
                  <a:ext cx="2312010" cy="304699"/>
                </a:xfrm>
                <a:prstGeom prst="rect">
                  <a:avLst/>
                </a:prstGeom>
              </p:spPr>
              <p:txBody>
                <a:bodyPr wrap="square" lIns="0" tIns="0" rIns="0" bIns="0" rtlCol="0">
                  <a:spAutoFit/>
                </a:bodyPr>
                <a:lstStyle>
                  <a:defPPr>
                    <a:defRPr lang="en-US"/>
                  </a:defPPr>
                  <a:lvl1pPr>
                    <a:defRPr sz="900" b="1">
                      <a:solidFill>
                        <a:schemeClr val="tx2"/>
                      </a:solidFill>
                    </a:defRPr>
                  </a:lvl1pPr>
                </a:lstStyle>
                <a:p>
                  <a:pPr defTabSz="685800">
                    <a:defRPr/>
                  </a:pPr>
                  <a:r>
                    <a:rPr lang="en-US" sz="675" dirty="0">
                      <a:solidFill>
                        <a:srgbClr val="000000"/>
                      </a:solidFill>
                      <a:latin typeface="Arial" panose="020B0604020202020204"/>
                    </a:rPr>
                    <a:t>Polycom Device </a:t>
                  </a:r>
                  <a:r>
                    <a:rPr lang="en-US" sz="675" dirty="0" smtClean="0">
                      <a:solidFill>
                        <a:srgbClr val="000000"/>
                      </a:solidFill>
                      <a:latin typeface="Arial" panose="020B0604020202020204"/>
                    </a:rPr>
                    <a:t>Management </a:t>
                  </a:r>
                  <a:r>
                    <a:rPr lang="en-US" sz="675" dirty="0">
                      <a:solidFill>
                        <a:srgbClr val="000000"/>
                      </a:solidFill>
                      <a:latin typeface="Arial" panose="020B0604020202020204"/>
                    </a:rPr>
                    <a:t>Software - </a:t>
                  </a:r>
                  <a:r>
                    <a:rPr lang="en-US" sz="675" b="0" dirty="0">
                      <a:solidFill>
                        <a:srgbClr val="000000"/>
                      </a:solidFill>
                      <a:latin typeface="Arial" panose="020B0604020202020204"/>
                    </a:rPr>
                    <a:t>Polycom Resource Manager</a:t>
                  </a:r>
                </a:p>
              </p:txBody>
            </p:sp>
          </p:grpSp>
          <p:grpSp>
            <p:nvGrpSpPr>
              <p:cNvPr id="23" name="Group 22"/>
              <p:cNvGrpSpPr/>
              <p:nvPr/>
            </p:nvGrpSpPr>
            <p:grpSpPr>
              <a:xfrm>
                <a:off x="1678303" y="5333419"/>
                <a:ext cx="2460551" cy="187365"/>
                <a:chOff x="1660849" y="5491029"/>
                <a:chExt cx="2460551" cy="206101"/>
              </a:xfrm>
            </p:grpSpPr>
            <p:pic>
              <p:nvPicPr>
                <p:cNvPr id="33" name="Picture 32"/>
                <p:cNvPicPr>
                  <a:picLocks noChangeAspect="1"/>
                </p:cNvPicPr>
                <p:nvPr/>
              </p:nvPicPr>
              <p:blipFill>
                <a:blip r:embed="rId12"/>
                <a:stretch>
                  <a:fillRect/>
                </a:stretch>
              </p:blipFill>
              <p:spPr>
                <a:xfrm>
                  <a:off x="1660849" y="5491029"/>
                  <a:ext cx="206896" cy="206101"/>
                </a:xfrm>
                <a:prstGeom prst="rect">
                  <a:avLst/>
                </a:prstGeom>
              </p:spPr>
            </p:pic>
            <p:sp>
              <p:nvSpPr>
                <p:cNvPr id="34" name="TextBox 33"/>
                <p:cNvSpPr txBox="1"/>
                <p:nvPr/>
              </p:nvSpPr>
              <p:spPr>
                <a:xfrm>
                  <a:off x="2069490" y="5526667"/>
                  <a:ext cx="2051910" cy="152349"/>
                </a:xfrm>
                <a:prstGeom prst="rect">
                  <a:avLst/>
                </a:prstGeom>
                <a:solidFill>
                  <a:srgbClr val="FF8F1C"/>
                </a:solidFill>
              </p:spPr>
              <p:txBody>
                <a:bodyPr wrap="square" lIns="0" tIns="0" rIns="0" bIns="0" rtlCol="0">
                  <a:spAutoFit/>
                </a:bodyPr>
                <a:lstStyle>
                  <a:defPPr>
                    <a:defRPr lang="en-US"/>
                  </a:defPPr>
                  <a:lvl1pPr>
                    <a:defRPr sz="900" b="1">
                      <a:solidFill>
                        <a:schemeClr val="tx2"/>
                      </a:solidFill>
                    </a:defRPr>
                  </a:lvl1pPr>
                </a:lstStyle>
                <a:p>
                  <a:pPr defTabSz="685800">
                    <a:defRPr/>
                  </a:pPr>
                  <a:r>
                    <a:rPr lang="en-US" sz="675" dirty="0">
                      <a:solidFill>
                        <a:srgbClr val="000000"/>
                      </a:solidFill>
                      <a:latin typeface="Arial" panose="020B0604020202020204"/>
                    </a:rPr>
                    <a:t>Patch management - </a:t>
                  </a:r>
                  <a:r>
                    <a:rPr lang="en-US" sz="675" b="0" dirty="0">
                      <a:solidFill>
                        <a:srgbClr val="000000"/>
                      </a:solidFill>
                      <a:latin typeface="Arial" panose="020B0604020202020204"/>
                    </a:rPr>
                    <a:t>IBM </a:t>
                  </a:r>
                  <a:r>
                    <a:rPr lang="en-US" sz="675" b="0" dirty="0" err="1">
                      <a:solidFill>
                        <a:srgbClr val="000000"/>
                      </a:solidFill>
                      <a:latin typeface="Arial" panose="020B0604020202020204"/>
                    </a:rPr>
                    <a:t>BigFix</a:t>
                  </a:r>
                  <a:endParaRPr lang="en-US" sz="675" b="0" dirty="0">
                    <a:solidFill>
                      <a:srgbClr val="000000"/>
                    </a:solidFill>
                    <a:latin typeface="Arial" panose="020B0604020202020204"/>
                  </a:endParaRPr>
                </a:p>
              </p:txBody>
            </p:sp>
          </p:grpSp>
          <p:grpSp>
            <p:nvGrpSpPr>
              <p:cNvPr id="24" name="Group 23"/>
              <p:cNvGrpSpPr/>
              <p:nvPr/>
            </p:nvGrpSpPr>
            <p:grpSpPr>
              <a:xfrm>
                <a:off x="1678303" y="5603449"/>
                <a:ext cx="1925524" cy="187365"/>
                <a:chOff x="1660849" y="5831904"/>
                <a:chExt cx="1925524" cy="206101"/>
              </a:xfrm>
            </p:grpSpPr>
            <p:pic>
              <p:nvPicPr>
                <p:cNvPr id="31" name="Picture 30"/>
                <p:cNvPicPr>
                  <a:picLocks noChangeAspect="1"/>
                </p:cNvPicPr>
                <p:nvPr/>
              </p:nvPicPr>
              <p:blipFill>
                <a:blip r:embed="rId12"/>
                <a:stretch>
                  <a:fillRect/>
                </a:stretch>
              </p:blipFill>
              <p:spPr>
                <a:xfrm>
                  <a:off x="1660849" y="5831904"/>
                  <a:ext cx="206896" cy="206101"/>
                </a:xfrm>
                <a:prstGeom prst="rect">
                  <a:avLst/>
                </a:prstGeom>
              </p:spPr>
            </p:pic>
            <p:sp>
              <p:nvSpPr>
                <p:cNvPr id="32" name="TextBox 31"/>
                <p:cNvSpPr txBox="1"/>
                <p:nvPr/>
              </p:nvSpPr>
              <p:spPr>
                <a:xfrm>
                  <a:off x="2069490" y="5860989"/>
                  <a:ext cx="1516883" cy="152349"/>
                </a:xfrm>
                <a:prstGeom prst="rect">
                  <a:avLst/>
                </a:prstGeom>
                <a:solidFill>
                  <a:srgbClr val="FF8F1C"/>
                </a:solidFill>
              </p:spPr>
              <p:txBody>
                <a:bodyPr wrap="square" lIns="0" tIns="0" rIns="0" bIns="0" rtlCol="0">
                  <a:spAutoFit/>
                </a:bodyPr>
                <a:lstStyle>
                  <a:defPPr>
                    <a:defRPr lang="en-US"/>
                  </a:defPPr>
                  <a:lvl1pPr>
                    <a:defRPr sz="900" b="1">
                      <a:solidFill>
                        <a:schemeClr val="tx2"/>
                      </a:solidFill>
                    </a:defRPr>
                  </a:lvl1pPr>
                </a:lstStyle>
                <a:p>
                  <a:pPr defTabSz="685800">
                    <a:defRPr/>
                  </a:pPr>
                  <a:r>
                    <a:rPr lang="en-US" sz="675" dirty="0">
                      <a:solidFill>
                        <a:srgbClr val="000000"/>
                      </a:solidFill>
                      <a:latin typeface="Arial" panose="020B0604020202020204"/>
                    </a:rPr>
                    <a:t>MDM 2 - </a:t>
                  </a:r>
                  <a:r>
                    <a:rPr lang="en-US" sz="675" b="0" dirty="0">
                      <a:solidFill>
                        <a:srgbClr val="000000"/>
                      </a:solidFill>
                      <a:latin typeface="Arial" panose="020B0604020202020204"/>
                    </a:rPr>
                    <a:t>MaaS360</a:t>
                  </a:r>
                </a:p>
              </p:txBody>
            </p:sp>
          </p:grpSp>
          <p:grpSp>
            <p:nvGrpSpPr>
              <p:cNvPr id="25" name="Group 24"/>
              <p:cNvGrpSpPr/>
              <p:nvPr/>
            </p:nvGrpSpPr>
            <p:grpSpPr>
              <a:xfrm>
                <a:off x="1678303" y="5873480"/>
                <a:ext cx="1912395" cy="201353"/>
                <a:chOff x="1608093" y="5816023"/>
                <a:chExt cx="1912395" cy="221488"/>
              </a:xfrm>
            </p:grpSpPr>
            <p:sp>
              <p:nvSpPr>
                <p:cNvPr id="29" name="TextBox 28"/>
                <p:cNvSpPr txBox="1"/>
                <p:nvPr/>
              </p:nvSpPr>
              <p:spPr>
                <a:xfrm>
                  <a:off x="2003605" y="5857518"/>
                  <a:ext cx="1516883" cy="152350"/>
                </a:xfrm>
                <a:prstGeom prst="rect">
                  <a:avLst/>
                </a:prstGeom>
              </p:spPr>
              <p:txBody>
                <a:bodyPr wrap="square" lIns="0" tIns="0" rIns="0" bIns="0" rtlCol="0">
                  <a:spAutoFit/>
                </a:bodyPr>
                <a:lstStyle>
                  <a:defPPr>
                    <a:defRPr lang="en-US"/>
                  </a:defPPr>
                  <a:lvl1pPr>
                    <a:defRPr sz="900" b="1">
                      <a:solidFill>
                        <a:schemeClr val="tx2"/>
                      </a:solidFill>
                    </a:defRPr>
                  </a:lvl1pPr>
                </a:lstStyle>
                <a:p>
                  <a:pPr defTabSz="685800">
                    <a:defRPr/>
                  </a:pPr>
                  <a:r>
                    <a:rPr lang="en-US" sz="675" dirty="0">
                      <a:solidFill>
                        <a:srgbClr val="000000"/>
                      </a:solidFill>
                      <a:latin typeface="Arial" panose="020B0604020202020204"/>
                    </a:rPr>
                    <a:t>Printer support - </a:t>
                  </a:r>
                  <a:r>
                    <a:rPr lang="en-US" sz="675" b="0" dirty="0">
                      <a:solidFill>
                        <a:srgbClr val="000000"/>
                      </a:solidFill>
                      <a:latin typeface="Arial" panose="020B0604020202020204"/>
                    </a:rPr>
                    <a:t>Ricoh</a:t>
                  </a:r>
                </a:p>
              </p:txBody>
            </p:sp>
            <p:pic>
              <p:nvPicPr>
                <p:cNvPr id="30" name="Picture 18" descr="Image result for contract"/>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608093" y="5816023"/>
                  <a:ext cx="245727" cy="22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oup 25"/>
              <p:cNvGrpSpPr/>
              <p:nvPr/>
            </p:nvGrpSpPr>
            <p:grpSpPr>
              <a:xfrm>
                <a:off x="1640203" y="3728584"/>
                <a:ext cx="2263136" cy="248694"/>
                <a:chOff x="1503043" y="3728584"/>
                <a:chExt cx="2263136" cy="248694"/>
              </a:xfrm>
            </p:grpSpPr>
            <p:pic>
              <p:nvPicPr>
                <p:cNvPr id="27" name="Picture 20" descr="Image result for backup"/>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03043" y="3728584"/>
                  <a:ext cx="317852" cy="248694"/>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p:cNvSpPr txBox="1"/>
                <p:nvPr/>
              </p:nvSpPr>
              <p:spPr>
                <a:xfrm>
                  <a:off x="1985842" y="3785528"/>
                  <a:ext cx="1780337" cy="138500"/>
                </a:xfrm>
                <a:prstGeom prst="rect">
                  <a:avLst/>
                </a:prstGeom>
              </p:spPr>
              <p:txBody>
                <a:bodyPr wrap="square" lIns="0" tIns="0" rIns="0" bIns="0" rtlCol="0">
                  <a:spAutoFit/>
                </a:bodyPr>
                <a:lstStyle>
                  <a:defPPr>
                    <a:defRPr lang="en-US"/>
                  </a:defPPr>
                  <a:lvl1pPr>
                    <a:defRPr sz="900" b="1">
                      <a:solidFill>
                        <a:schemeClr val="tx2"/>
                      </a:solidFill>
                    </a:defRPr>
                  </a:lvl1pPr>
                </a:lstStyle>
                <a:p>
                  <a:pPr defTabSz="685800">
                    <a:defRPr/>
                  </a:pPr>
                  <a:r>
                    <a:rPr lang="en-US" sz="675" dirty="0">
                      <a:solidFill>
                        <a:srgbClr val="000000"/>
                      </a:solidFill>
                      <a:latin typeface="Arial" panose="020B0604020202020204"/>
                    </a:rPr>
                    <a:t>Backup Software - </a:t>
                  </a:r>
                  <a:r>
                    <a:rPr lang="en-US" sz="675" b="0" dirty="0" err="1">
                      <a:solidFill>
                        <a:srgbClr val="000000"/>
                      </a:solidFill>
                      <a:latin typeface="Arial" panose="020B0604020202020204"/>
                    </a:rPr>
                    <a:t>Crashplan</a:t>
                  </a:r>
                  <a:endParaRPr lang="en-US" sz="675" b="0" dirty="0">
                    <a:solidFill>
                      <a:srgbClr val="000000"/>
                    </a:solidFill>
                    <a:latin typeface="Arial" panose="020B0604020202020204"/>
                  </a:endParaRPr>
                </a:p>
              </p:txBody>
            </p:sp>
          </p:grpSp>
        </p:grpSp>
      </p:grpSp>
      <p:grpSp>
        <p:nvGrpSpPr>
          <p:cNvPr id="63" name="Group 62"/>
          <p:cNvGrpSpPr/>
          <p:nvPr/>
        </p:nvGrpSpPr>
        <p:grpSpPr>
          <a:xfrm>
            <a:off x="6260623" y="3998935"/>
            <a:ext cx="1845413" cy="140524"/>
            <a:chOff x="1660849" y="5491029"/>
            <a:chExt cx="2460551" cy="206101"/>
          </a:xfrm>
          <a:solidFill>
            <a:srgbClr val="FF8F1C"/>
          </a:solidFill>
        </p:grpSpPr>
        <p:pic>
          <p:nvPicPr>
            <p:cNvPr id="64" name="Picture 63"/>
            <p:cNvPicPr>
              <a:picLocks noChangeAspect="1"/>
            </p:cNvPicPr>
            <p:nvPr/>
          </p:nvPicPr>
          <p:blipFill>
            <a:blip r:embed="rId12"/>
            <a:stretch>
              <a:fillRect/>
            </a:stretch>
          </p:blipFill>
          <p:spPr>
            <a:xfrm>
              <a:off x="1660849" y="5491029"/>
              <a:ext cx="206896" cy="206101"/>
            </a:xfrm>
            <a:prstGeom prst="rect">
              <a:avLst/>
            </a:prstGeom>
            <a:grpFill/>
          </p:spPr>
        </p:pic>
        <p:sp>
          <p:nvSpPr>
            <p:cNvPr id="65" name="TextBox 64"/>
            <p:cNvSpPr txBox="1"/>
            <p:nvPr/>
          </p:nvSpPr>
          <p:spPr>
            <a:xfrm>
              <a:off x="2069490" y="5526667"/>
              <a:ext cx="2051910" cy="152349"/>
            </a:xfrm>
            <a:prstGeom prst="rect">
              <a:avLst/>
            </a:prstGeom>
            <a:grpFill/>
          </p:spPr>
          <p:txBody>
            <a:bodyPr wrap="square" lIns="0" tIns="0" rIns="0" bIns="0" rtlCol="0">
              <a:spAutoFit/>
            </a:bodyPr>
            <a:lstStyle>
              <a:defPPr>
                <a:defRPr lang="en-US"/>
              </a:defPPr>
              <a:lvl1pPr>
                <a:defRPr sz="900" b="1">
                  <a:solidFill>
                    <a:schemeClr val="tx2"/>
                  </a:solidFill>
                </a:defRPr>
              </a:lvl1pPr>
            </a:lstStyle>
            <a:p>
              <a:pPr defTabSz="685800">
                <a:defRPr/>
              </a:pPr>
              <a:r>
                <a:rPr lang="en-US" sz="675" dirty="0">
                  <a:solidFill>
                    <a:srgbClr val="000000"/>
                  </a:solidFill>
                  <a:latin typeface="Arial" panose="020B0604020202020204"/>
                </a:rPr>
                <a:t>Patch management</a:t>
              </a:r>
              <a:endParaRPr lang="en-US" sz="675" b="0" dirty="0">
                <a:solidFill>
                  <a:srgbClr val="000000"/>
                </a:solidFill>
                <a:latin typeface="Arial" panose="020B0604020202020204"/>
              </a:endParaRPr>
            </a:p>
          </p:txBody>
        </p:sp>
      </p:grpSp>
      <p:grpSp>
        <p:nvGrpSpPr>
          <p:cNvPr id="66" name="Group 65"/>
          <p:cNvGrpSpPr/>
          <p:nvPr/>
        </p:nvGrpSpPr>
        <p:grpSpPr>
          <a:xfrm>
            <a:off x="6260622" y="4201458"/>
            <a:ext cx="1444143" cy="140524"/>
            <a:chOff x="1660849" y="5831904"/>
            <a:chExt cx="1925524" cy="206101"/>
          </a:xfrm>
          <a:solidFill>
            <a:srgbClr val="FF8F1C"/>
          </a:solidFill>
        </p:grpSpPr>
        <p:pic>
          <p:nvPicPr>
            <p:cNvPr id="67" name="Picture 66"/>
            <p:cNvPicPr>
              <a:picLocks noChangeAspect="1"/>
            </p:cNvPicPr>
            <p:nvPr/>
          </p:nvPicPr>
          <p:blipFill>
            <a:blip r:embed="rId12"/>
            <a:stretch>
              <a:fillRect/>
            </a:stretch>
          </p:blipFill>
          <p:spPr>
            <a:xfrm>
              <a:off x="1660849" y="5831904"/>
              <a:ext cx="206896" cy="206101"/>
            </a:xfrm>
            <a:prstGeom prst="rect">
              <a:avLst/>
            </a:prstGeom>
            <a:grpFill/>
          </p:spPr>
        </p:pic>
        <p:sp>
          <p:nvSpPr>
            <p:cNvPr id="68" name="TextBox 67"/>
            <p:cNvSpPr txBox="1"/>
            <p:nvPr/>
          </p:nvSpPr>
          <p:spPr>
            <a:xfrm>
              <a:off x="2069490" y="5860989"/>
              <a:ext cx="1516883" cy="152349"/>
            </a:xfrm>
            <a:prstGeom prst="rect">
              <a:avLst/>
            </a:prstGeom>
            <a:grpFill/>
          </p:spPr>
          <p:txBody>
            <a:bodyPr wrap="square" lIns="0" tIns="0" rIns="0" bIns="0" rtlCol="0">
              <a:spAutoFit/>
            </a:bodyPr>
            <a:lstStyle>
              <a:defPPr>
                <a:defRPr lang="en-US"/>
              </a:defPPr>
              <a:lvl1pPr>
                <a:defRPr sz="900" b="1">
                  <a:solidFill>
                    <a:schemeClr val="tx2"/>
                  </a:solidFill>
                </a:defRPr>
              </a:lvl1pPr>
            </a:lstStyle>
            <a:p>
              <a:pPr defTabSz="685800">
                <a:defRPr/>
              </a:pPr>
              <a:r>
                <a:rPr lang="en-US" sz="675" dirty="0">
                  <a:solidFill>
                    <a:srgbClr val="000000"/>
                  </a:solidFill>
                  <a:latin typeface="Arial" panose="020B0604020202020204"/>
                </a:rPr>
                <a:t>MDM 2 - </a:t>
              </a:r>
              <a:r>
                <a:rPr lang="en-US" sz="675" b="0" dirty="0">
                  <a:solidFill>
                    <a:srgbClr val="000000"/>
                  </a:solidFill>
                  <a:latin typeface="Arial" panose="020B0604020202020204"/>
                </a:rPr>
                <a:t>InTune</a:t>
              </a:r>
            </a:p>
          </p:txBody>
        </p:sp>
      </p:grpSp>
      <p:grpSp>
        <p:nvGrpSpPr>
          <p:cNvPr id="69" name="Group 68"/>
          <p:cNvGrpSpPr/>
          <p:nvPr/>
        </p:nvGrpSpPr>
        <p:grpSpPr>
          <a:xfrm>
            <a:off x="5576710" y="854629"/>
            <a:ext cx="3091218" cy="3777689"/>
            <a:chOff x="7435613" y="1139505"/>
            <a:chExt cx="4121624" cy="5036918"/>
          </a:xfrm>
        </p:grpSpPr>
        <p:grpSp>
          <p:nvGrpSpPr>
            <p:cNvPr id="70" name="Group 69"/>
            <p:cNvGrpSpPr/>
            <p:nvPr/>
          </p:nvGrpSpPr>
          <p:grpSpPr>
            <a:xfrm>
              <a:off x="7623497" y="1451720"/>
              <a:ext cx="3745856" cy="2172386"/>
              <a:chOff x="7113820" y="1451720"/>
              <a:chExt cx="3745856" cy="2172386"/>
            </a:xfrm>
          </p:grpSpPr>
          <p:sp>
            <p:nvSpPr>
              <p:cNvPr id="95" name="Rounded Rectangle 94"/>
              <p:cNvSpPr/>
              <p:nvPr/>
            </p:nvSpPr>
            <p:spPr>
              <a:xfrm>
                <a:off x="7113820" y="1451720"/>
                <a:ext cx="3745856" cy="2172386"/>
              </a:xfrm>
              <a:prstGeom prst="roundRect">
                <a:avLst/>
              </a:prstGeom>
              <a:noFill/>
              <a:ln w="19050">
                <a:solidFill>
                  <a:srgbClr val="87D43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Arial" panose="020B0604020202020204"/>
                </a:endParaRPr>
              </a:p>
            </p:txBody>
          </p:sp>
          <p:sp>
            <p:nvSpPr>
              <p:cNvPr id="96" name="TextBox 95"/>
              <p:cNvSpPr txBox="1"/>
              <p:nvPr/>
            </p:nvSpPr>
            <p:spPr>
              <a:xfrm>
                <a:off x="7254535" y="2430190"/>
                <a:ext cx="359072" cy="215444"/>
              </a:xfrm>
              <a:prstGeom prst="rect">
                <a:avLst/>
              </a:prstGeom>
            </p:spPr>
            <p:txBody>
              <a:bodyPr wrap="none" lIns="0" tIns="0" rIns="0" bIns="0" rtlCol="0">
                <a:spAutoFit/>
              </a:bodyPr>
              <a:lstStyle/>
              <a:p>
                <a:pPr defTabSz="685800">
                  <a:defRPr/>
                </a:pPr>
                <a:r>
                  <a:rPr lang="en-US" sz="1050" dirty="0">
                    <a:ln>
                      <a:solidFill>
                        <a:srgbClr val="33BEB4"/>
                      </a:solidFill>
                    </a:ln>
                    <a:solidFill>
                      <a:srgbClr val="87D437"/>
                    </a:solidFill>
                    <a:latin typeface="Arial" panose="020B0604020202020204"/>
                  </a:rPr>
                  <a:t>BHF</a:t>
                </a:r>
              </a:p>
            </p:txBody>
          </p:sp>
          <p:grpSp>
            <p:nvGrpSpPr>
              <p:cNvPr id="97" name="Group 96"/>
              <p:cNvGrpSpPr/>
              <p:nvPr/>
            </p:nvGrpSpPr>
            <p:grpSpPr>
              <a:xfrm>
                <a:off x="7833267" y="1530949"/>
                <a:ext cx="2314517" cy="2011209"/>
                <a:chOff x="7833267" y="1550780"/>
                <a:chExt cx="2314517" cy="2011209"/>
              </a:xfrm>
            </p:grpSpPr>
            <p:grpSp>
              <p:nvGrpSpPr>
                <p:cNvPr id="98" name="Group 97"/>
                <p:cNvGrpSpPr/>
                <p:nvPr/>
              </p:nvGrpSpPr>
              <p:grpSpPr>
                <a:xfrm>
                  <a:off x="7833267" y="1550780"/>
                  <a:ext cx="1275394" cy="342672"/>
                  <a:chOff x="1863180" y="1949018"/>
                  <a:chExt cx="1275394" cy="342672"/>
                </a:xfrm>
              </p:grpSpPr>
              <p:pic>
                <p:nvPicPr>
                  <p:cNvPr id="114" name="Picture 2" descr="Image result for fax"/>
                  <p:cNvPicPr>
                    <a:picLocks noChangeAspect="1" noChangeArrowheads="1"/>
                  </p:cNvPicPr>
                  <p:nvPr/>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63180" y="1949018"/>
                    <a:ext cx="365760" cy="342672"/>
                  </a:xfrm>
                  <a:prstGeom prst="rect">
                    <a:avLst/>
                  </a:prstGeom>
                  <a:noFill/>
                  <a:extLst>
                    <a:ext uri="{909E8E84-426E-40DD-AFC4-6F175D3DCCD1}">
                      <a14:hiddenFill xmlns:a14="http://schemas.microsoft.com/office/drawing/2010/main">
                        <a:solidFill>
                          <a:srgbClr val="FFFFFF"/>
                        </a:solidFill>
                      </a14:hiddenFill>
                    </a:ext>
                  </a:extLst>
                </p:spPr>
              </p:pic>
              <p:sp>
                <p:nvSpPr>
                  <p:cNvPr id="115" name="TextBox 114"/>
                  <p:cNvSpPr txBox="1"/>
                  <p:nvPr/>
                </p:nvSpPr>
                <p:spPr>
                  <a:xfrm>
                    <a:off x="2388367" y="2018517"/>
                    <a:ext cx="750207" cy="138500"/>
                  </a:xfrm>
                  <a:prstGeom prst="rect">
                    <a:avLst/>
                  </a:prstGeom>
                </p:spPr>
                <p:txBody>
                  <a:bodyPr wrap="none" lIns="0" tIns="0" rIns="0" bIns="0" rtlCol="0">
                    <a:spAutoFit/>
                  </a:bodyPr>
                  <a:lstStyle/>
                  <a:p>
                    <a:pPr defTabSz="685800">
                      <a:defRPr/>
                    </a:pPr>
                    <a:r>
                      <a:rPr lang="en-US" sz="675" b="1" dirty="0">
                        <a:solidFill>
                          <a:srgbClr val="000000"/>
                        </a:solidFill>
                        <a:latin typeface="Arial" panose="020B0604020202020204"/>
                      </a:rPr>
                      <a:t>Fax - </a:t>
                    </a:r>
                    <a:r>
                      <a:rPr lang="en-US" sz="675" dirty="0" err="1">
                        <a:solidFill>
                          <a:srgbClr val="000000"/>
                        </a:solidFill>
                        <a:latin typeface="Arial" panose="020B0604020202020204"/>
                      </a:rPr>
                      <a:t>EasyFax</a:t>
                    </a:r>
                    <a:endParaRPr lang="en-US" sz="675" dirty="0">
                      <a:solidFill>
                        <a:srgbClr val="000000"/>
                      </a:solidFill>
                      <a:latin typeface="Arial" panose="020B0604020202020204"/>
                    </a:endParaRPr>
                  </a:p>
                </p:txBody>
              </p:sp>
            </p:grpSp>
            <p:grpSp>
              <p:nvGrpSpPr>
                <p:cNvPr id="99" name="Group 98"/>
                <p:cNvGrpSpPr/>
                <p:nvPr/>
              </p:nvGrpSpPr>
              <p:grpSpPr>
                <a:xfrm>
                  <a:off x="7833267" y="1952961"/>
                  <a:ext cx="1422558" cy="271031"/>
                  <a:chOff x="1965711" y="2597775"/>
                  <a:chExt cx="1422558" cy="271031"/>
                </a:xfrm>
              </p:grpSpPr>
              <p:pic>
                <p:nvPicPr>
                  <p:cNvPr id="112" name="Picture 111"/>
                  <p:cNvPicPr>
                    <a:picLocks noChangeAspect="1"/>
                  </p:cNvPicPr>
                  <p:nvPr/>
                </p:nvPicPr>
                <p:blipFill>
                  <a:blip r:embed="rId4"/>
                  <a:stretch>
                    <a:fillRect/>
                  </a:stretch>
                </p:blipFill>
                <p:spPr>
                  <a:xfrm>
                    <a:off x="1965711" y="2597775"/>
                    <a:ext cx="274320" cy="271031"/>
                  </a:xfrm>
                  <a:prstGeom prst="rect">
                    <a:avLst/>
                  </a:prstGeom>
                </p:spPr>
              </p:pic>
              <p:sp>
                <p:nvSpPr>
                  <p:cNvPr id="113" name="TextBox 112"/>
                  <p:cNvSpPr txBox="1"/>
                  <p:nvPr/>
                </p:nvSpPr>
                <p:spPr>
                  <a:xfrm>
                    <a:off x="2426467" y="2664040"/>
                    <a:ext cx="961802" cy="138500"/>
                  </a:xfrm>
                  <a:prstGeom prst="rect">
                    <a:avLst/>
                  </a:prstGeom>
                </p:spPr>
                <p:txBody>
                  <a:bodyPr wrap="none" lIns="0" tIns="0" rIns="0" bIns="0" rtlCol="0">
                    <a:spAutoFit/>
                  </a:bodyPr>
                  <a:lstStyle>
                    <a:defPPr>
                      <a:defRPr lang="en-US"/>
                    </a:defPPr>
                    <a:lvl1pPr>
                      <a:defRPr sz="900" b="1">
                        <a:solidFill>
                          <a:schemeClr val="tx2"/>
                        </a:solidFill>
                      </a:defRPr>
                    </a:lvl1pPr>
                  </a:lstStyle>
                  <a:p>
                    <a:pPr defTabSz="685800">
                      <a:defRPr/>
                    </a:pPr>
                    <a:r>
                      <a:rPr lang="en-US" sz="675" dirty="0">
                        <a:solidFill>
                          <a:srgbClr val="000000"/>
                        </a:solidFill>
                        <a:latin typeface="Arial" panose="020B0604020202020204"/>
                      </a:rPr>
                      <a:t>Email – </a:t>
                    </a:r>
                    <a:r>
                      <a:rPr lang="en-US" sz="675" b="0" dirty="0">
                        <a:solidFill>
                          <a:srgbClr val="000000"/>
                        </a:solidFill>
                        <a:latin typeface="Arial" panose="020B0604020202020204"/>
                      </a:rPr>
                      <a:t>Office 365</a:t>
                    </a:r>
                  </a:p>
                </p:txBody>
              </p:sp>
            </p:grpSp>
            <p:grpSp>
              <p:nvGrpSpPr>
                <p:cNvPr id="100" name="Group 99"/>
                <p:cNvGrpSpPr/>
                <p:nvPr/>
              </p:nvGrpSpPr>
              <p:grpSpPr>
                <a:xfrm>
                  <a:off x="7833267" y="2283501"/>
                  <a:ext cx="2314517" cy="274320"/>
                  <a:chOff x="1965022" y="2889982"/>
                  <a:chExt cx="2314517" cy="274320"/>
                </a:xfrm>
              </p:grpSpPr>
              <p:pic>
                <p:nvPicPr>
                  <p:cNvPr id="110" name="Picture 6" descr="Image result for skyp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022" y="2889982"/>
                    <a:ext cx="275009" cy="274320"/>
                  </a:xfrm>
                  <a:prstGeom prst="rect">
                    <a:avLst/>
                  </a:prstGeom>
                  <a:noFill/>
                  <a:extLst>
                    <a:ext uri="{909E8E84-426E-40DD-AFC4-6F175D3DCCD1}">
                      <a14:hiddenFill xmlns:a14="http://schemas.microsoft.com/office/drawing/2010/main">
                        <a:solidFill>
                          <a:srgbClr val="FFFFFF"/>
                        </a:solidFill>
                      </a14:hiddenFill>
                    </a:ext>
                  </a:extLst>
                </p:spPr>
              </p:pic>
              <p:sp>
                <p:nvSpPr>
                  <p:cNvPr id="111" name="TextBox 110"/>
                  <p:cNvSpPr txBox="1"/>
                  <p:nvPr/>
                </p:nvSpPr>
                <p:spPr>
                  <a:xfrm>
                    <a:off x="2426467" y="2957893"/>
                    <a:ext cx="1853072" cy="138500"/>
                  </a:xfrm>
                  <a:prstGeom prst="rect">
                    <a:avLst/>
                  </a:prstGeom>
                </p:spPr>
                <p:txBody>
                  <a:bodyPr wrap="none" lIns="0" tIns="0" rIns="0" bIns="0" rtlCol="0">
                    <a:spAutoFit/>
                  </a:bodyPr>
                  <a:lstStyle/>
                  <a:p>
                    <a:pPr defTabSz="685800">
                      <a:defRPr/>
                    </a:pPr>
                    <a:r>
                      <a:rPr lang="en-US" sz="675" b="1" dirty="0">
                        <a:solidFill>
                          <a:srgbClr val="000000"/>
                        </a:solidFill>
                        <a:latin typeface="Arial" panose="020B0604020202020204"/>
                      </a:rPr>
                      <a:t>Collaboration - </a:t>
                    </a:r>
                    <a:r>
                      <a:rPr lang="en-US" sz="675" dirty="0">
                        <a:solidFill>
                          <a:srgbClr val="000000"/>
                        </a:solidFill>
                        <a:latin typeface="Arial" panose="020B0604020202020204"/>
                      </a:rPr>
                      <a:t>Skype for business </a:t>
                    </a:r>
                  </a:p>
                </p:txBody>
              </p:sp>
            </p:grpSp>
            <p:grpSp>
              <p:nvGrpSpPr>
                <p:cNvPr id="101" name="Group 100"/>
                <p:cNvGrpSpPr/>
                <p:nvPr/>
              </p:nvGrpSpPr>
              <p:grpSpPr>
                <a:xfrm>
                  <a:off x="7833267" y="2617330"/>
                  <a:ext cx="1198138" cy="274320"/>
                  <a:chOff x="1965711" y="3185478"/>
                  <a:chExt cx="1198138" cy="274320"/>
                </a:xfrm>
              </p:grpSpPr>
              <p:pic>
                <p:nvPicPr>
                  <p:cNvPr id="108" name="Picture 8" descr="Image result for intun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65711" y="3185478"/>
                    <a:ext cx="274320" cy="274320"/>
                  </a:xfrm>
                  <a:prstGeom prst="rect">
                    <a:avLst/>
                  </a:prstGeom>
                  <a:noFill/>
                  <a:extLst>
                    <a:ext uri="{909E8E84-426E-40DD-AFC4-6F175D3DCCD1}">
                      <a14:hiddenFill xmlns:a14="http://schemas.microsoft.com/office/drawing/2010/main">
                        <a:solidFill>
                          <a:srgbClr val="FFFFFF"/>
                        </a:solidFill>
                      </a14:hiddenFill>
                    </a:ext>
                  </a:extLst>
                </p:spPr>
              </p:pic>
              <p:sp>
                <p:nvSpPr>
                  <p:cNvPr id="109" name="TextBox 108"/>
                  <p:cNvSpPr txBox="1"/>
                  <p:nvPr/>
                </p:nvSpPr>
                <p:spPr>
                  <a:xfrm>
                    <a:off x="2426467" y="3253389"/>
                    <a:ext cx="737382" cy="138500"/>
                  </a:xfrm>
                  <a:prstGeom prst="rect">
                    <a:avLst/>
                  </a:prstGeom>
                </p:spPr>
                <p:txBody>
                  <a:bodyPr wrap="none" lIns="0" tIns="0" rIns="0" bIns="0" rtlCol="0">
                    <a:spAutoFit/>
                  </a:bodyPr>
                  <a:lstStyle>
                    <a:defPPr>
                      <a:defRPr lang="en-US"/>
                    </a:defPPr>
                    <a:lvl1pPr>
                      <a:defRPr sz="900" b="1">
                        <a:solidFill>
                          <a:schemeClr val="tx2"/>
                        </a:solidFill>
                      </a:defRPr>
                    </a:lvl1pPr>
                  </a:lstStyle>
                  <a:p>
                    <a:pPr defTabSz="685800">
                      <a:defRPr/>
                    </a:pPr>
                    <a:r>
                      <a:rPr lang="en-US" sz="675" dirty="0">
                        <a:solidFill>
                          <a:srgbClr val="000000"/>
                        </a:solidFill>
                        <a:latin typeface="Arial" panose="020B0604020202020204"/>
                      </a:rPr>
                      <a:t>MDM - </a:t>
                    </a:r>
                    <a:r>
                      <a:rPr lang="en-US" sz="675" b="0" dirty="0">
                        <a:solidFill>
                          <a:srgbClr val="000000"/>
                        </a:solidFill>
                        <a:latin typeface="Arial" panose="020B0604020202020204"/>
                      </a:rPr>
                      <a:t>InTune</a:t>
                    </a:r>
                  </a:p>
                </p:txBody>
              </p:sp>
            </p:grpSp>
            <p:grpSp>
              <p:nvGrpSpPr>
                <p:cNvPr id="102" name="Group 101"/>
                <p:cNvGrpSpPr/>
                <p:nvPr/>
              </p:nvGrpSpPr>
              <p:grpSpPr>
                <a:xfrm>
                  <a:off x="7833267" y="2951159"/>
                  <a:ext cx="1268670" cy="274320"/>
                  <a:chOff x="1965711" y="3480974"/>
                  <a:chExt cx="1268670" cy="274320"/>
                </a:xfrm>
              </p:grpSpPr>
              <p:pic>
                <p:nvPicPr>
                  <p:cNvPr id="106" name="Picture 105"/>
                  <p:cNvPicPr>
                    <a:picLocks noChangeAspect="1"/>
                  </p:cNvPicPr>
                  <p:nvPr/>
                </p:nvPicPr>
                <p:blipFill>
                  <a:blip r:embed="rId7"/>
                  <a:stretch>
                    <a:fillRect/>
                  </a:stretch>
                </p:blipFill>
                <p:spPr>
                  <a:xfrm>
                    <a:off x="1965711" y="3480974"/>
                    <a:ext cx="274320" cy="274320"/>
                  </a:xfrm>
                  <a:prstGeom prst="rect">
                    <a:avLst/>
                  </a:prstGeom>
                </p:spPr>
              </p:pic>
              <p:sp>
                <p:nvSpPr>
                  <p:cNvPr id="107" name="TextBox 106"/>
                  <p:cNvSpPr txBox="1"/>
                  <p:nvPr/>
                </p:nvSpPr>
                <p:spPr>
                  <a:xfrm>
                    <a:off x="2426467" y="3548885"/>
                    <a:ext cx="807914" cy="138500"/>
                  </a:xfrm>
                  <a:prstGeom prst="rect">
                    <a:avLst/>
                  </a:prstGeom>
                </p:spPr>
                <p:txBody>
                  <a:bodyPr wrap="none" lIns="0" tIns="0" rIns="0" bIns="0" rtlCol="0">
                    <a:spAutoFit/>
                  </a:bodyPr>
                  <a:lstStyle>
                    <a:defPPr>
                      <a:defRPr lang="en-US"/>
                    </a:defPPr>
                    <a:lvl1pPr>
                      <a:defRPr sz="900" b="1">
                        <a:solidFill>
                          <a:schemeClr val="tx2"/>
                        </a:solidFill>
                      </a:defRPr>
                    </a:lvl1pPr>
                  </a:lstStyle>
                  <a:p>
                    <a:pPr defTabSz="685800">
                      <a:defRPr/>
                    </a:pPr>
                    <a:r>
                      <a:rPr lang="en-US" sz="675" dirty="0">
                        <a:solidFill>
                          <a:srgbClr val="000000"/>
                        </a:solidFill>
                        <a:latin typeface="Arial" panose="020B0604020202020204"/>
                      </a:rPr>
                      <a:t>Email - </a:t>
                    </a:r>
                    <a:r>
                      <a:rPr lang="en-US" sz="675" b="0" dirty="0">
                        <a:solidFill>
                          <a:srgbClr val="000000"/>
                        </a:solidFill>
                        <a:latin typeface="Arial" panose="020B0604020202020204"/>
                      </a:rPr>
                      <a:t>Outlook</a:t>
                    </a:r>
                  </a:p>
                </p:txBody>
              </p:sp>
            </p:grpSp>
            <p:grpSp>
              <p:nvGrpSpPr>
                <p:cNvPr id="103" name="Group 102"/>
                <p:cNvGrpSpPr/>
                <p:nvPr/>
              </p:nvGrpSpPr>
              <p:grpSpPr>
                <a:xfrm>
                  <a:off x="7833267" y="3284990"/>
                  <a:ext cx="2168139" cy="276999"/>
                  <a:chOff x="1912612" y="3773773"/>
                  <a:chExt cx="2168139" cy="276999"/>
                </a:xfrm>
              </p:grpSpPr>
              <p:pic>
                <p:nvPicPr>
                  <p:cNvPr id="104" name="Picture 12" descr="Image result for sharepoint icon"/>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12612" y="3773773"/>
                    <a:ext cx="379828" cy="274320"/>
                  </a:xfrm>
                  <a:prstGeom prst="rect">
                    <a:avLst/>
                  </a:prstGeom>
                  <a:noFill/>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2373368" y="3773773"/>
                    <a:ext cx="1707383" cy="276999"/>
                  </a:xfrm>
                  <a:prstGeom prst="rect">
                    <a:avLst/>
                  </a:prstGeom>
                </p:spPr>
                <p:txBody>
                  <a:bodyPr wrap="square" lIns="0" tIns="0" rIns="0" bIns="0" rtlCol="0">
                    <a:spAutoFit/>
                  </a:bodyPr>
                  <a:lstStyle/>
                  <a:p>
                    <a:pPr defTabSz="685800">
                      <a:defRPr/>
                    </a:pPr>
                    <a:r>
                      <a:rPr lang="en-US" sz="675" b="1" dirty="0">
                        <a:solidFill>
                          <a:srgbClr val="000000"/>
                        </a:solidFill>
                        <a:latin typeface="Arial" panose="020B0604020202020204"/>
                      </a:rPr>
                      <a:t>Collaboration - </a:t>
                    </a:r>
                    <a:r>
                      <a:rPr lang="en-US" sz="675" dirty="0">
                        <a:solidFill>
                          <a:srgbClr val="000000"/>
                        </a:solidFill>
                        <a:latin typeface="Arial" panose="020B0604020202020204"/>
                      </a:rPr>
                      <a:t> SharePoint, One Drive, </a:t>
                    </a:r>
                    <a:r>
                      <a:rPr lang="en-US" sz="675" dirty="0" err="1">
                        <a:solidFill>
                          <a:srgbClr val="000000"/>
                        </a:solidFill>
                        <a:latin typeface="Arial" panose="020B0604020202020204"/>
                      </a:rPr>
                      <a:t>FileShare</a:t>
                    </a:r>
                    <a:endParaRPr lang="en-US" sz="675" dirty="0">
                      <a:solidFill>
                        <a:srgbClr val="000000"/>
                      </a:solidFill>
                      <a:latin typeface="Arial" panose="020B0604020202020204"/>
                    </a:endParaRPr>
                  </a:p>
                </p:txBody>
              </p:sp>
            </p:grpSp>
          </p:grpSp>
        </p:grpSp>
        <p:sp>
          <p:nvSpPr>
            <p:cNvPr id="71" name="Rectangle 70"/>
            <p:cNvSpPr/>
            <p:nvPr/>
          </p:nvSpPr>
          <p:spPr>
            <a:xfrm>
              <a:off x="7435613" y="1280745"/>
              <a:ext cx="4121624" cy="4895678"/>
            </a:xfrm>
            <a:prstGeom prst="rect">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750">
                <a:solidFill>
                  <a:prstClr val="white"/>
                </a:solidFill>
                <a:latin typeface="Arial" panose="020B0604020202020204"/>
              </a:endParaRPr>
            </a:p>
          </p:txBody>
        </p:sp>
        <p:sp>
          <p:nvSpPr>
            <p:cNvPr id="72" name="Rounded Rectangle 71"/>
            <p:cNvSpPr/>
            <p:nvPr/>
          </p:nvSpPr>
          <p:spPr>
            <a:xfrm>
              <a:off x="7546933" y="1139505"/>
              <a:ext cx="1829486" cy="258452"/>
            </a:xfrm>
            <a:prstGeom prst="roundRect">
              <a:avLst/>
            </a:prstGeom>
            <a:solidFill>
              <a:srgbClr val="0033A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750" b="1" dirty="0">
                  <a:solidFill>
                    <a:prstClr val="white"/>
                  </a:solidFill>
                  <a:latin typeface="Arial" panose="020B0604020202020204"/>
                  <a:cs typeface="Arial" panose="020B0604020202020204" pitchFamily="34" charset="0"/>
                </a:rPr>
                <a:t>End User Computing</a:t>
              </a:r>
            </a:p>
          </p:txBody>
        </p:sp>
        <p:grpSp>
          <p:nvGrpSpPr>
            <p:cNvPr id="73" name="Group 72"/>
            <p:cNvGrpSpPr/>
            <p:nvPr/>
          </p:nvGrpSpPr>
          <p:grpSpPr>
            <a:xfrm>
              <a:off x="7623497" y="3680719"/>
              <a:ext cx="3745856" cy="2438967"/>
              <a:chOff x="7113820" y="3680719"/>
              <a:chExt cx="3745856" cy="2438967"/>
            </a:xfrm>
          </p:grpSpPr>
          <p:sp>
            <p:nvSpPr>
              <p:cNvPr id="74" name="Rounded Rectangle 73"/>
              <p:cNvSpPr/>
              <p:nvPr/>
            </p:nvSpPr>
            <p:spPr>
              <a:xfrm>
                <a:off x="7113820" y="3680719"/>
                <a:ext cx="3745856" cy="2438967"/>
              </a:xfrm>
              <a:prstGeom prst="roundRect">
                <a:avLst/>
              </a:prstGeom>
              <a:noFill/>
              <a:ln w="19050">
                <a:solidFill>
                  <a:srgbClr val="0034A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Arial" panose="020B0604020202020204"/>
                </a:endParaRPr>
              </a:p>
            </p:txBody>
          </p:sp>
          <p:pic>
            <p:nvPicPr>
              <p:cNvPr id="75" name="Picture 74">
                <a:extLst>
                  <a:ext uri="{FF2B5EF4-FFF2-40B4-BE49-F238E27FC236}">
                    <a16:creationId xmlns:a16="http://schemas.microsoft.com/office/drawing/2014/main" id="{0E5CE040-C0D3-40BD-8063-A2DF101E8B8B}"/>
                  </a:ext>
                </a:extLst>
              </p:cNvPr>
              <p:cNvPicPr>
                <a:picLocks noChangeAspect="1"/>
              </p:cNvPicPr>
              <p:nvPr/>
            </p:nvPicPr>
            <p:blipFill>
              <a:blip r:embed="rId15"/>
              <a:stretch>
                <a:fillRect/>
              </a:stretch>
            </p:blipFill>
            <p:spPr bwMode="black">
              <a:xfrm>
                <a:off x="7162873" y="4820253"/>
                <a:ext cx="597318" cy="159899"/>
              </a:xfrm>
              <a:prstGeom prst="rect">
                <a:avLst/>
              </a:prstGeom>
            </p:spPr>
          </p:pic>
          <p:grpSp>
            <p:nvGrpSpPr>
              <p:cNvPr id="76" name="Group 75"/>
              <p:cNvGrpSpPr/>
              <p:nvPr/>
            </p:nvGrpSpPr>
            <p:grpSpPr>
              <a:xfrm>
                <a:off x="7799719" y="3727078"/>
                <a:ext cx="2750031" cy="2346249"/>
                <a:chOff x="7799719" y="3727078"/>
                <a:chExt cx="2750031" cy="2346249"/>
              </a:xfrm>
            </p:grpSpPr>
            <p:grpSp>
              <p:nvGrpSpPr>
                <p:cNvPr id="77" name="Group 76"/>
                <p:cNvGrpSpPr/>
                <p:nvPr/>
              </p:nvGrpSpPr>
              <p:grpSpPr>
                <a:xfrm>
                  <a:off x="7837819" y="4058440"/>
                  <a:ext cx="2490738" cy="276999"/>
                  <a:chOff x="1965022" y="4339504"/>
                  <a:chExt cx="2490738" cy="304699"/>
                </a:xfrm>
              </p:grpSpPr>
              <p:pic>
                <p:nvPicPr>
                  <p:cNvPr id="93" name="Picture 92"/>
                  <p:cNvPicPr>
                    <a:picLocks noChangeAspect="1"/>
                  </p:cNvPicPr>
                  <p:nvPr/>
                </p:nvPicPr>
                <p:blipFill>
                  <a:blip r:embed="rId10"/>
                  <a:stretch>
                    <a:fillRect/>
                  </a:stretch>
                </p:blipFill>
                <p:spPr>
                  <a:xfrm>
                    <a:off x="1965022" y="4340844"/>
                    <a:ext cx="235779" cy="274320"/>
                  </a:xfrm>
                  <a:prstGeom prst="rect">
                    <a:avLst/>
                  </a:prstGeom>
                </p:spPr>
              </p:pic>
              <p:sp>
                <p:nvSpPr>
                  <p:cNvPr id="94" name="TextBox 93"/>
                  <p:cNvSpPr txBox="1"/>
                  <p:nvPr/>
                </p:nvSpPr>
                <p:spPr>
                  <a:xfrm>
                    <a:off x="2403849" y="4339504"/>
                    <a:ext cx="2051911" cy="304699"/>
                  </a:xfrm>
                  <a:prstGeom prst="rect">
                    <a:avLst/>
                  </a:prstGeom>
                </p:spPr>
                <p:txBody>
                  <a:bodyPr wrap="square" lIns="0" tIns="0" rIns="0" bIns="0" rtlCol="0">
                    <a:spAutoFit/>
                  </a:bodyPr>
                  <a:lstStyle>
                    <a:defPPr>
                      <a:defRPr lang="en-US"/>
                    </a:defPPr>
                    <a:lvl1pPr>
                      <a:defRPr sz="900" b="1">
                        <a:solidFill>
                          <a:schemeClr val="tx2"/>
                        </a:solidFill>
                      </a:defRPr>
                    </a:lvl1pPr>
                  </a:lstStyle>
                  <a:p>
                    <a:pPr defTabSz="685800">
                      <a:defRPr/>
                    </a:pPr>
                    <a:r>
                      <a:rPr lang="en-US" sz="675" dirty="0">
                        <a:solidFill>
                          <a:srgbClr val="000000"/>
                        </a:solidFill>
                        <a:latin typeface="Arial" panose="020B0604020202020204"/>
                      </a:rPr>
                      <a:t>Conference/desk phones - </a:t>
                    </a:r>
                    <a:r>
                      <a:rPr lang="en-US" sz="675" b="0" dirty="0">
                        <a:solidFill>
                          <a:srgbClr val="000000"/>
                        </a:solidFill>
                        <a:latin typeface="Arial" panose="020B0604020202020204"/>
                      </a:rPr>
                      <a:t>Polycom conference, desk phones</a:t>
                    </a:r>
                  </a:p>
                </p:txBody>
              </p:sp>
            </p:grpSp>
            <p:grpSp>
              <p:nvGrpSpPr>
                <p:cNvPr id="78" name="Group 77"/>
                <p:cNvGrpSpPr/>
                <p:nvPr/>
              </p:nvGrpSpPr>
              <p:grpSpPr>
                <a:xfrm>
                  <a:off x="7837819" y="4392919"/>
                  <a:ext cx="1952312" cy="187365"/>
                  <a:chOff x="1937939" y="4744392"/>
                  <a:chExt cx="1952312" cy="206101"/>
                </a:xfrm>
              </p:grpSpPr>
              <p:pic>
                <p:nvPicPr>
                  <p:cNvPr id="91" name="Picture 16" descr="Image result for vdi icon"/>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937939" y="4744392"/>
                    <a:ext cx="251844" cy="206101"/>
                  </a:xfrm>
                  <a:prstGeom prst="rect">
                    <a:avLst/>
                  </a:prstGeom>
                  <a:noFill/>
                  <a:extLst>
                    <a:ext uri="{909E8E84-426E-40DD-AFC4-6F175D3DCCD1}">
                      <a14:hiddenFill xmlns:a14="http://schemas.microsoft.com/office/drawing/2010/main">
                        <a:solidFill>
                          <a:srgbClr val="FFFFFF"/>
                        </a:solidFill>
                      </a14:hiddenFill>
                    </a:ext>
                  </a:extLst>
                </p:spPr>
              </p:pic>
              <p:sp>
                <p:nvSpPr>
                  <p:cNvPr id="92" name="TextBox 91"/>
                  <p:cNvSpPr txBox="1"/>
                  <p:nvPr/>
                </p:nvSpPr>
                <p:spPr>
                  <a:xfrm>
                    <a:off x="2373368" y="4778193"/>
                    <a:ext cx="1516883" cy="152349"/>
                  </a:xfrm>
                  <a:prstGeom prst="rect">
                    <a:avLst/>
                  </a:prstGeom>
                </p:spPr>
                <p:txBody>
                  <a:bodyPr wrap="square" lIns="0" tIns="0" rIns="0" bIns="0" rtlCol="0">
                    <a:spAutoFit/>
                  </a:bodyPr>
                  <a:lstStyle>
                    <a:defPPr>
                      <a:defRPr lang="en-US"/>
                    </a:defPPr>
                    <a:lvl1pPr>
                      <a:defRPr sz="900" b="1">
                        <a:solidFill>
                          <a:schemeClr val="tx2"/>
                        </a:solidFill>
                      </a:defRPr>
                    </a:lvl1pPr>
                  </a:lstStyle>
                  <a:p>
                    <a:pPr defTabSz="685800">
                      <a:defRPr/>
                    </a:pPr>
                    <a:r>
                      <a:rPr lang="en-US" sz="675" dirty="0">
                        <a:solidFill>
                          <a:srgbClr val="000000"/>
                        </a:solidFill>
                        <a:latin typeface="Arial" panose="020B0604020202020204"/>
                      </a:rPr>
                      <a:t>VDI – </a:t>
                    </a:r>
                    <a:r>
                      <a:rPr lang="en-US" sz="675" b="0" dirty="0">
                        <a:solidFill>
                          <a:srgbClr val="000000"/>
                        </a:solidFill>
                        <a:latin typeface="Arial" panose="020B0604020202020204"/>
                      </a:rPr>
                      <a:t>Azure WVD</a:t>
                    </a:r>
                  </a:p>
                </p:txBody>
              </p:sp>
            </p:grpSp>
            <p:grpSp>
              <p:nvGrpSpPr>
                <p:cNvPr id="79" name="Group 78"/>
                <p:cNvGrpSpPr/>
                <p:nvPr/>
              </p:nvGrpSpPr>
              <p:grpSpPr>
                <a:xfrm>
                  <a:off x="7837819" y="4662952"/>
                  <a:ext cx="2629381" cy="276999"/>
                  <a:chOff x="1669569" y="4772244"/>
                  <a:chExt cx="2629381" cy="304699"/>
                </a:xfrm>
              </p:grpSpPr>
              <p:pic>
                <p:nvPicPr>
                  <p:cNvPr id="89" name="Picture 88"/>
                  <p:cNvPicPr>
                    <a:picLocks noChangeAspect="1"/>
                  </p:cNvPicPr>
                  <p:nvPr/>
                </p:nvPicPr>
                <p:blipFill>
                  <a:blip r:embed="rId12"/>
                  <a:stretch>
                    <a:fillRect/>
                  </a:stretch>
                </p:blipFill>
                <p:spPr>
                  <a:xfrm>
                    <a:off x="1669569" y="4807693"/>
                    <a:ext cx="206896" cy="206101"/>
                  </a:xfrm>
                  <a:prstGeom prst="rect">
                    <a:avLst/>
                  </a:prstGeom>
                </p:spPr>
              </p:pic>
              <p:sp>
                <p:nvSpPr>
                  <p:cNvPr id="90" name="TextBox 89"/>
                  <p:cNvSpPr txBox="1"/>
                  <p:nvPr/>
                </p:nvSpPr>
                <p:spPr>
                  <a:xfrm>
                    <a:off x="2094446" y="4772244"/>
                    <a:ext cx="2204504" cy="304699"/>
                  </a:xfrm>
                  <a:prstGeom prst="rect">
                    <a:avLst/>
                  </a:prstGeom>
                </p:spPr>
                <p:txBody>
                  <a:bodyPr wrap="square" lIns="0" tIns="0" rIns="0" bIns="0" rtlCol="0">
                    <a:spAutoFit/>
                  </a:bodyPr>
                  <a:lstStyle>
                    <a:defPPr>
                      <a:defRPr lang="en-US"/>
                    </a:defPPr>
                    <a:lvl1pPr>
                      <a:defRPr sz="900" b="1">
                        <a:solidFill>
                          <a:schemeClr val="tx2"/>
                        </a:solidFill>
                      </a:defRPr>
                    </a:lvl1pPr>
                  </a:lstStyle>
                  <a:p>
                    <a:pPr defTabSz="685800">
                      <a:defRPr/>
                    </a:pPr>
                    <a:r>
                      <a:rPr lang="en-US" sz="675" dirty="0">
                        <a:solidFill>
                          <a:srgbClr val="000000"/>
                        </a:solidFill>
                        <a:latin typeface="Arial" panose="020B0604020202020204"/>
                      </a:rPr>
                      <a:t>Polycom Headsets Portal - </a:t>
                    </a:r>
                    <a:r>
                      <a:rPr lang="en-US" sz="675" b="0" dirty="0" err="1">
                        <a:solidFill>
                          <a:srgbClr val="000000"/>
                        </a:solidFill>
                        <a:latin typeface="Arial" panose="020B0604020202020204"/>
                      </a:rPr>
                      <a:t>Plantronic</a:t>
                    </a:r>
                    <a:r>
                      <a:rPr lang="en-US" sz="675" b="0" dirty="0">
                        <a:solidFill>
                          <a:srgbClr val="000000"/>
                        </a:solidFill>
                        <a:latin typeface="Arial" panose="020B0604020202020204"/>
                      </a:rPr>
                      <a:t>/Polycom Hub</a:t>
                    </a:r>
                  </a:p>
                </p:txBody>
              </p:sp>
            </p:grpSp>
            <p:grpSp>
              <p:nvGrpSpPr>
                <p:cNvPr id="80" name="Group 79"/>
                <p:cNvGrpSpPr/>
                <p:nvPr/>
              </p:nvGrpSpPr>
              <p:grpSpPr>
                <a:xfrm>
                  <a:off x="7837819" y="4997435"/>
                  <a:ext cx="2711931" cy="276999"/>
                  <a:chOff x="1669569" y="5113874"/>
                  <a:chExt cx="2711931" cy="304699"/>
                </a:xfrm>
              </p:grpSpPr>
              <p:pic>
                <p:nvPicPr>
                  <p:cNvPr id="87" name="Picture 86"/>
                  <p:cNvPicPr>
                    <a:picLocks noChangeAspect="1"/>
                  </p:cNvPicPr>
                  <p:nvPr/>
                </p:nvPicPr>
                <p:blipFill>
                  <a:blip r:embed="rId12"/>
                  <a:stretch>
                    <a:fillRect/>
                  </a:stretch>
                </p:blipFill>
                <p:spPr>
                  <a:xfrm>
                    <a:off x="1669569" y="5149323"/>
                    <a:ext cx="206896" cy="206101"/>
                  </a:xfrm>
                  <a:prstGeom prst="rect">
                    <a:avLst/>
                  </a:prstGeom>
                </p:spPr>
              </p:pic>
              <p:sp>
                <p:nvSpPr>
                  <p:cNvPr id="88" name="TextBox 87"/>
                  <p:cNvSpPr txBox="1"/>
                  <p:nvPr/>
                </p:nvSpPr>
                <p:spPr>
                  <a:xfrm>
                    <a:off x="2069490" y="5113874"/>
                    <a:ext cx="2312010" cy="304699"/>
                  </a:xfrm>
                  <a:prstGeom prst="rect">
                    <a:avLst/>
                  </a:prstGeom>
                </p:spPr>
                <p:txBody>
                  <a:bodyPr wrap="square" lIns="0" tIns="0" rIns="0" bIns="0" rtlCol="0">
                    <a:spAutoFit/>
                  </a:bodyPr>
                  <a:lstStyle>
                    <a:defPPr>
                      <a:defRPr lang="en-US"/>
                    </a:defPPr>
                    <a:lvl1pPr>
                      <a:defRPr sz="900" b="1">
                        <a:solidFill>
                          <a:schemeClr val="tx2"/>
                        </a:solidFill>
                      </a:defRPr>
                    </a:lvl1pPr>
                  </a:lstStyle>
                  <a:p>
                    <a:pPr defTabSz="685800">
                      <a:defRPr/>
                    </a:pPr>
                    <a:r>
                      <a:rPr lang="en-US" sz="675" dirty="0">
                        <a:solidFill>
                          <a:srgbClr val="000000"/>
                        </a:solidFill>
                        <a:latin typeface="Arial" panose="020B0604020202020204"/>
                      </a:rPr>
                      <a:t>Polycom Device </a:t>
                    </a:r>
                    <a:r>
                      <a:rPr lang="en-US" sz="675" dirty="0" smtClean="0">
                        <a:solidFill>
                          <a:srgbClr val="000000"/>
                        </a:solidFill>
                        <a:latin typeface="Arial" panose="020B0604020202020204"/>
                      </a:rPr>
                      <a:t>Management </a:t>
                    </a:r>
                    <a:r>
                      <a:rPr lang="en-US" sz="675" dirty="0">
                        <a:solidFill>
                          <a:srgbClr val="000000"/>
                        </a:solidFill>
                        <a:latin typeface="Arial" panose="020B0604020202020204"/>
                      </a:rPr>
                      <a:t>Software - </a:t>
                    </a:r>
                    <a:r>
                      <a:rPr lang="en-US" sz="675" b="0" dirty="0">
                        <a:solidFill>
                          <a:srgbClr val="000000"/>
                        </a:solidFill>
                        <a:latin typeface="Arial" panose="020B0604020202020204"/>
                      </a:rPr>
                      <a:t>Polycom Resource Manager</a:t>
                    </a:r>
                  </a:p>
                </p:txBody>
              </p:sp>
            </p:grpSp>
            <p:grpSp>
              <p:nvGrpSpPr>
                <p:cNvPr id="81" name="Group 80"/>
                <p:cNvGrpSpPr/>
                <p:nvPr/>
              </p:nvGrpSpPr>
              <p:grpSpPr>
                <a:xfrm>
                  <a:off x="7837819" y="5871974"/>
                  <a:ext cx="1912395" cy="201353"/>
                  <a:chOff x="1608093" y="5816023"/>
                  <a:chExt cx="1912395" cy="221488"/>
                </a:xfrm>
              </p:grpSpPr>
              <p:sp>
                <p:nvSpPr>
                  <p:cNvPr id="85" name="TextBox 84"/>
                  <p:cNvSpPr txBox="1"/>
                  <p:nvPr/>
                </p:nvSpPr>
                <p:spPr>
                  <a:xfrm>
                    <a:off x="2003605" y="5857518"/>
                    <a:ext cx="1516883" cy="152350"/>
                  </a:xfrm>
                  <a:prstGeom prst="rect">
                    <a:avLst/>
                  </a:prstGeom>
                </p:spPr>
                <p:txBody>
                  <a:bodyPr wrap="square" lIns="0" tIns="0" rIns="0" bIns="0" rtlCol="0">
                    <a:spAutoFit/>
                  </a:bodyPr>
                  <a:lstStyle>
                    <a:defPPr>
                      <a:defRPr lang="en-US"/>
                    </a:defPPr>
                    <a:lvl1pPr>
                      <a:defRPr sz="900" b="1">
                        <a:solidFill>
                          <a:schemeClr val="tx2"/>
                        </a:solidFill>
                      </a:defRPr>
                    </a:lvl1pPr>
                  </a:lstStyle>
                  <a:p>
                    <a:pPr defTabSz="685800">
                      <a:defRPr/>
                    </a:pPr>
                    <a:r>
                      <a:rPr lang="en-US" sz="675" dirty="0">
                        <a:solidFill>
                          <a:srgbClr val="000000"/>
                        </a:solidFill>
                        <a:latin typeface="Arial" panose="020B0604020202020204"/>
                      </a:rPr>
                      <a:t>Printer support - </a:t>
                    </a:r>
                    <a:r>
                      <a:rPr lang="en-US" sz="675" b="0" dirty="0">
                        <a:solidFill>
                          <a:srgbClr val="000000"/>
                        </a:solidFill>
                        <a:latin typeface="Arial" panose="020B0604020202020204"/>
                      </a:rPr>
                      <a:t>Ricoh</a:t>
                    </a:r>
                  </a:p>
                </p:txBody>
              </p:sp>
              <p:pic>
                <p:nvPicPr>
                  <p:cNvPr id="86" name="Picture 18" descr="Image result for contract"/>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608093" y="5816023"/>
                    <a:ext cx="245727" cy="22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2" name="Group 81"/>
                <p:cNvGrpSpPr/>
                <p:nvPr/>
              </p:nvGrpSpPr>
              <p:grpSpPr>
                <a:xfrm>
                  <a:off x="7799719" y="3727078"/>
                  <a:ext cx="2263136" cy="248694"/>
                  <a:chOff x="1503043" y="3728584"/>
                  <a:chExt cx="2263136" cy="248694"/>
                </a:xfrm>
              </p:grpSpPr>
              <p:pic>
                <p:nvPicPr>
                  <p:cNvPr id="83" name="Picture 20" descr="Image result for backup"/>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03043" y="3728584"/>
                    <a:ext cx="317852" cy="248694"/>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p:cNvSpPr txBox="1"/>
                  <p:nvPr/>
                </p:nvSpPr>
                <p:spPr>
                  <a:xfrm>
                    <a:off x="1985842" y="3785528"/>
                    <a:ext cx="1780337" cy="138500"/>
                  </a:xfrm>
                  <a:prstGeom prst="rect">
                    <a:avLst/>
                  </a:prstGeom>
                </p:spPr>
                <p:txBody>
                  <a:bodyPr wrap="square" lIns="0" tIns="0" rIns="0" bIns="0" rtlCol="0">
                    <a:spAutoFit/>
                  </a:bodyPr>
                  <a:lstStyle>
                    <a:defPPr>
                      <a:defRPr lang="en-US"/>
                    </a:defPPr>
                    <a:lvl1pPr>
                      <a:defRPr sz="900" b="1">
                        <a:solidFill>
                          <a:schemeClr val="tx2"/>
                        </a:solidFill>
                      </a:defRPr>
                    </a:lvl1pPr>
                  </a:lstStyle>
                  <a:p>
                    <a:pPr defTabSz="685800">
                      <a:defRPr/>
                    </a:pPr>
                    <a:r>
                      <a:rPr lang="en-US" sz="675" dirty="0">
                        <a:solidFill>
                          <a:srgbClr val="000000"/>
                        </a:solidFill>
                        <a:latin typeface="Arial" panose="020B0604020202020204"/>
                      </a:rPr>
                      <a:t>Backup Software </a:t>
                    </a:r>
                    <a:r>
                      <a:rPr lang="en-US" sz="675" dirty="0" smtClean="0">
                        <a:solidFill>
                          <a:srgbClr val="000000"/>
                        </a:solidFill>
                        <a:latin typeface="Arial" panose="020B0604020202020204"/>
                      </a:rPr>
                      <a:t>– </a:t>
                    </a:r>
                    <a:r>
                      <a:rPr lang="en-US" sz="675" b="0" dirty="0" smtClean="0">
                        <a:solidFill>
                          <a:srgbClr val="000000"/>
                        </a:solidFill>
                        <a:latin typeface="Arial" panose="020B0604020202020204"/>
                      </a:rPr>
                      <a:t>One Drive</a:t>
                    </a:r>
                    <a:endParaRPr lang="en-US" sz="675" b="0" dirty="0">
                      <a:solidFill>
                        <a:srgbClr val="000000"/>
                      </a:solidFill>
                      <a:latin typeface="Arial" panose="020B0604020202020204"/>
                    </a:endParaRPr>
                  </a:p>
                </p:txBody>
              </p:sp>
            </p:grpSp>
          </p:grpSp>
        </p:grpSp>
      </p:grpSp>
      <p:sp>
        <p:nvSpPr>
          <p:cNvPr id="116" name="Rounded Rectangle 115"/>
          <p:cNvSpPr/>
          <p:nvPr/>
        </p:nvSpPr>
        <p:spPr>
          <a:xfrm>
            <a:off x="3727165" y="4885800"/>
            <a:ext cx="1689670" cy="205740"/>
          </a:xfrm>
          <a:prstGeom prst="roundRect">
            <a:avLst/>
          </a:prstGeom>
          <a:solidFill>
            <a:srgbClr val="FF8F1C"/>
          </a:solidFill>
          <a:ln w="3175">
            <a:solidFill>
              <a:schemeClr val="tx2">
                <a:alpha val="3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900" dirty="0">
                <a:solidFill>
                  <a:prstClr val="black"/>
                </a:solidFill>
                <a:latin typeface="Arial" panose="020B0604020202020204" pitchFamily="34" charset="0"/>
                <a:cs typeface="Arial" panose="020B0604020202020204" pitchFamily="34" charset="0"/>
              </a:rPr>
              <a:t>Decommission in progress</a:t>
            </a:r>
          </a:p>
        </p:txBody>
      </p:sp>
    </p:spTree>
    <p:extLst>
      <p:ext uri="{BB962C8B-B14F-4D97-AF65-F5344CB8AC3E}">
        <p14:creationId xmlns:p14="http://schemas.microsoft.com/office/powerpoint/2010/main" val="714885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750"/>
                                        <p:tgtEl>
                                          <p:spTgt spid="8"/>
                                        </p:tgtEl>
                                      </p:cBhvr>
                                    </p:animEffect>
                                  </p:childTnLst>
                                </p:cTn>
                              </p:par>
                            </p:childTnLst>
                          </p:cTn>
                        </p:par>
                        <p:par>
                          <p:cTn id="17" fill="hold">
                            <p:stCondLst>
                              <p:cond delay="750"/>
                            </p:stCondLst>
                            <p:childTnLst>
                              <p:par>
                                <p:cTn id="18" presetID="10" presetClass="entr" presetSubtype="0" fill="hold" grpId="0"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1500"/>
                                        <p:tgtEl>
                                          <p:spTgt spid="7"/>
                                        </p:tgtEl>
                                      </p:cBhvr>
                                    </p:animEffect>
                                  </p:childTnLst>
                                </p:cTn>
                              </p:par>
                              <p:par>
                                <p:cTn id="21" presetID="10" presetClass="entr" presetSubtype="0" fill="hold" nodeType="withEffect">
                                  <p:stCondLst>
                                    <p:cond delay="0"/>
                                  </p:stCondLst>
                                  <p:childTnLst>
                                    <p:set>
                                      <p:cBhvr>
                                        <p:cTn id="22" dur="1" fill="hold">
                                          <p:stCondLst>
                                            <p:cond delay="0"/>
                                          </p:stCondLst>
                                        </p:cTn>
                                        <p:tgtEl>
                                          <p:spTgt spid="63"/>
                                        </p:tgtEl>
                                        <p:attrNameLst>
                                          <p:attrName>style.visibility</p:attrName>
                                        </p:attrNameLst>
                                      </p:cBhvr>
                                      <p:to>
                                        <p:strVal val="visible"/>
                                      </p:to>
                                    </p:set>
                                    <p:animEffect transition="in" filter="fade">
                                      <p:cBhvr>
                                        <p:cTn id="23" dur="500"/>
                                        <p:tgtEl>
                                          <p:spTgt spid="63"/>
                                        </p:tgtEl>
                                      </p:cBhvr>
                                    </p:animEffect>
                                  </p:childTnLst>
                                </p:cTn>
                              </p:par>
                              <p:par>
                                <p:cTn id="24" presetID="10" presetClass="entr" presetSubtype="0" fill="hold" nodeType="withEffect">
                                  <p:stCondLst>
                                    <p:cond delay="0"/>
                                  </p:stCondLst>
                                  <p:childTnLst>
                                    <p:set>
                                      <p:cBhvr>
                                        <p:cTn id="25" dur="1" fill="hold">
                                          <p:stCondLst>
                                            <p:cond delay="0"/>
                                          </p:stCondLst>
                                        </p:cTn>
                                        <p:tgtEl>
                                          <p:spTgt spid="66"/>
                                        </p:tgtEl>
                                        <p:attrNameLst>
                                          <p:attrName>style.visibility</p:attrName>
                                        </p:attrNameLst>
                                      </p:cBhvr>
                                      <p:to>
                                        <p:strVal val="visible"/>
                                      </p:to>
                                    </p:set>
                                    <p:animEffect transition="in" filter="fade">
                                      <p:cBhvr>
                                        <p:cTn id="26" dur="500"/>
                                        <p:tgtEl>
                                          <p:spTgt spid="66"/>
                                        </p:tgtEl>
                                      </p:cBhvr>
                                    </p:animEffect>
                                  </p:childTnLst>
                                </p:cTn>
                              </p:par>
                              <p:par>
                                <p:cTn id="27" presetID="10" presetClass="entr" presetSubtype="0" fill="hold" nodeType="withEffect">
                                  <p:stCondLst>
                                    <p:cond delay="0"/>
                                  </p:stCondLst>
                                  <p:childTnLst>
                                    <p:set>
                                      <p:cBhvr>
                                        <p:cTn id="28" dur="1" fill="hold">
                                          <p:stCondLst>
                                            <p:cond delay="0"/>
                                          </p:stCondLst>
                                        </p:cTn>
                                        <p:tgtEl>
                                          <p:spTgt spid="69"/>
                                        </p:tgtEl>
                                        <p:attrNameLst>
                                          <p:attrName>style.visibility</p:attrName>
                                        </p:attrNameLst>
                                      </p:cBhvr>
                                      <p:to>
                                        <p:strVal val="visible"/>
                                      </p:to>
                                    </p:set>
                                    <p:animEffect transition="in" filter="fade">
                                      <p:cBhvr>
                                        <p:cTn id="29" dur="500"/>
                                        <p:tgtEl>
                                          <p:spTgt spid="69"/>
                                        </p:tgtEl>
                                      </p:cBhvr>
                                    </p:animEffect>
                                  </p:childTnLst>
                                </p:cTn>
                              </p:par>
                            </p:childTnLst>
                          </p:cTn>
                        </p:par>
                        <p:par>
                          <p:cTn id="30" fill="hold">
                            <p:stCondLst>
                              <p:cond delay="2250"/>
                            </p:stCondLst>
                            <p:childTnLst>
                              <p:par>
                                <p:cTn id="31" presetID="10" presetClass="exit" presetSubtype="0" fill="hold" nodeType="afterEffect">
                                  <p:stCondLst>
                                    <p:cond delay="0"/>
                                  </p:stCondLst>
                                  <p:childTnLst>
                                    <p:animEffect transition="out" filter="fade">
                                      <p:cBhvr>
                                        <p:cTn id="32" dur="2500"/>
                                        <p:tgtEl>
                                          <p:spTgt spid="63"/>
                                        </p:tgtEl>
                                      </p:cBhvr>
                                    </p:animEffect>
                                    <p:set>
                                      <p:cBhvr>
                                        <p:cTn id="33" dur="1" fill="hold">
                                          <p:stCondLst>
                                            <p:cond delay="2499"/>
                                          </p:stCondLst>
                                        </p:cTn>
                                        <p:tgtEl>
                                          <p:spTgt spid="63"/>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2500"/>
                                        <p:tgtEl>
                                          <p:spTgt spid="66"/>
                                        </p:tgtEl>
                                      </p:cBhvr>
                                    </p:animEffect>
                                    <p:set>
                                      <p:cBhvr>
                                        <p:cTn id="36" dur="1" fill="hold">
                                          <p:stCondLst>
                                            <p:cond delay="2499"/>
                                          </p:stCondLst>
                                        </p:cTn>
                                        <p:tgtEl>
                                          <p:spTgt spid="6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821799" y="1709543"/>
            <a:ext cx="6731000" cy="1828193"/>
          </a:xfrm>
        </p:spPr>
        <p:txBody>
          <a:bodyPr/>
          <a:lstStyle/>
          <a:p>
            <a:r>
              <a:rPr lang="en-US" dirty="0" smtClean="0"/>
              <a:t>Delivery Locations</a:t>
            </a:r>
            <a:r>
              <a:rPr lang="en-US" dirty="0"/>
              <a:t/>
            </a:r>
            <a:br>
              <a:rPr lang="en-US" dirty="0"/>
            </a:br>
            <a:r>
              <a:rPr lang="en-US" dirty="0"/>
              <a:t/>
            </a:r>
            <a:br>
              <a:rPr lang="en-US" dirty="0"/>
            </a:br>
            <a:endParaRPr lang="en-US" dirty="0"/>
          </a:p>
        </p:txBody>
      </p:sp>
      <p:sp>
        <p:nvSpPr>
          <p:cNvPr id="4" name="Slide Number"/>
          <p:cNvSpPr txBox="1"/>
          <p:nvPr/>
        </p:nvSpPr>
        <p:spPr>
          <a:xfrm>
            <a:off x="285750" y="4886325"/>
            <a:ext cx="170117" cy="196208"/>
          </a:xfrm>
          <a:prstGeom prst="rect">
            <a:avLst/>
          </a:prstGeom>
          <a:noFill/>
        </p:spPr>
        <p:txBody>
          <a:bodyPr vert="horz" rtlCol="0">
            <a:spAutoFit/>
          </a:bodyPr>
          <a:lstStyle/>
          <a:p>
            <a:pPr algn="ctr"/>
            <a:r>
              <a:rPr lang="en-US" sz="675">
                <a:solidFill>
                  <a:srgbClr val="000000"/>
                </a:solidFill>
              </a:rPr>
              <a:t>7</a:t>
            </a:r>
          </a:p>
        </p:txBody>
      </p:sp>
    </p:spTree>
    <p:extLst>
      <p:ext uri="{BB962C8B-B14F-4D97-AF65-F5344CB8AC3E}">
        <p14:creationId xmlns:p14="http://schemas.microsoft.com/office/powerpoint/2010/main" val="75231104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5364" y="137442"/>
            <a:ext cx="8385048" cy="795528"/>
          </a:xfrm>
        </p:spPr>
        <p:txBody>
          <a:bodyPr>
            <a:normAutofit/>
          </a:bodyPr>
          <a:lstStyle/>
          <a:p>
            <a:r>
              <a:rPr lang="en-US" kern="0" dirty="0">
                <a:solidFill>
                  <a:srgbClr val="0033A0"/>
                </a:solidFill>
              </a:rPr>
              <a:t>Delivery Location &amp; Roles</a:t>
            </a:r>
          </a:p>
        </p:txBody>
      </p:sp>
      <p:sp>
        <p:nvSpPr>
          <p:cNvPr id="554" name="Slide Number Placeholder 553"/>
          <p:cNvSpPr>
            <a:spLocks noGrp="1"/>
          </p:cNvSpPr>
          <p:nvPr>
            <p:ph type="sldNum" sz="quarter" idx="12"/>
          </p:nvPr>
        </p:nvSpPr>
        <p:spPr>
          <a:xfrm>
            <a:off x="288825" y="3523490"/>
            <a:ext cx="171450" cy="138499"/>
          </a:xfrm>
        </p:spPr>
        <p:txBody>
          <a:bodyPr/>
          <a:lstStyle/>
          <a:p>
            <a:pPr defTabSz="685800">
              <a:defRPr/>
            </a:pPr>
            <a:fld id="{F2BF22CA-A36B-4105-B3F0-7964EB763159}" type="slidenum">
              <a:rPr lang="en-US" sz="900">
                <a:solidFill>
                  <a:srgbClr val="00B140"/>
                </a:solidFill>
                <a:latin typeface="Arial" panose="020B0604020202020204"/>
                <a:cs typeface="+mn-cs"/>
              </a:rPr>
              <a:pPr defTabSz="685800">
                <a:defRPr/>
              </a:pPr>
              <a:t>26</a:t>
            </a:fld>
            <a:endParaRPr lang="en-US" sz="900">
              <a:solidFill>
                <a:srgbClr val="00B140"/>
              </a:solidFill>
              <a:latin typeface="Arial" panose="020B0604020202020204"/>
              <a:cs typeface="+mn-cs"/>
            </a:endParaRPr>
          </a:p>
        </p:txBody>
      </p:sp>
      <p:grpSp>
        <p:nvGrpSpPr>
          <p:cNvPr id="5" name="Group 4"/>
          <p:cNvGrpSpPr/>
          <p:nvPr/>
        </p:nvGrpSpPr>
        <p:grpSpPr>
          <a:xfrm>
            <a:off x="467065" y="553297"/>
            <a:ext cx="8207069" cy="3568047"/>
            <a:chOff x="367648" y="1236907"/>
            <a:chExt cx="11055108" cy="4401893"/>
          </a:xfrm>
          <a:solidFill>
            <a:schemeClr val="bg1">
              <a:lumMod val="75000"/>
            </a:schemeClr>
          </a:solidFill>
        </p:grpSpPr>
        <p:sp>
          <p:nvSpPr>
            <p:cNvPr id="6" name="Freeform 4"/>
            <p:cNvSpPr>
              <a:spLocks/>
            </p:cNvSpPr>
            <p:nvPr>
              <p:custDataLst>
                <p:tags r:id="rId1"/>
              </p:custDataLst>
            </p:nvPr>
          </p:nvSpPr>
          <p:spPr bwMode="auto">
            <a:xfrm>
              <a:off x="3081667" y="4936700"/>
              <a:ext cx="49132" cy="59463"/>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7" name="Freeform 5"/>
            <p:cNvSpPr>
              <a:spLocks/>
            </p:cNvSpPr>
            <p:nvPr>
              <p:custDataLst>
                <p:tags r:id="rId2"/>
              </p:custDataLst>
            </p:nvPr>
          </p:nvSpPr>
          <p:spPr bwMode="auto">
            <a:xfrm>
              <a:off x="367648" y="1547428"/>
              <a:ext cx="1155799" cy="464141"/>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8" name="Freeform 6"/>
            <p:cNvSpPr>
              <a:spLocks/>
            </p:cNvSpPr>
            <p:nvPr>
              <p:custDataLst>
                <p:tags r:id="rId3"/>
              </p:custDataLst>
            </p:nvPr>
          </p:nvSpPr>
          <p:spPr bwMode="auto">
            <a:xfrm>
              <a:off x="1046150" y="2188301"/>
              <a:ext cx="2035516" cy="801096"/>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9" name="Freeform 7"/>
            <p:cNvSpPr>
              <a:spLocks/>
            </p:cNvSpPr>
            <p:nvPr>
              <p:custDataLst>
                <p:tags r:id="rId4"/>
              </p:custDataLst>
            </p:nvPr>
          </p:nvSpPr>
          <p:spPr bwMode="auto">
            <a:xfrm>
              <a:off x="2274480" y="3802063"/>
              <a:ext cx="500689" cy="614449"/>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0" name="Freeform 8"/>
            <p:cNvSpPr>
              <a:spLocks/>
            </p:cNvSpPr>
            <p:nvPr>
              <p:custDataLst>
                <p:tags r:id="rId5"/>
              </p:custDataLst>
            </p:nvPr>
          </p:nvSpPr>
          <p:spPr bwMode="auto">
            <a:xfrm>
              <a:off x="2716681" y="4388428"/>
              <a:ext cx="386044" cy="1176042"/>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1" name="Freeform 9"/>
            <p:cNvSpPr>
              <a:spLocks/>
            </p:cNvSpPr>
            <p:nvPr>
              <p:custDataLst>
                <p:tags r:id="rId6"/>
              </p:custDataLst>
            </p:nvPr>
          </p:nvSpPr>
          <p:spPr bwMode="auto">
            <a:xfrm>
              <a:off x="2576297" y="3641841"/>
              <a:ext cx="1424861" cy="1252022"/>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2" name="Freeform 10"/>
            <p:cNvSpPr>
              <a:spLocks/>
            </p:cNvSpPr>
            <p:nvPr>
              <p:custDataLst>
                <p:tags r:id="rId7"/>
              </p:custDataLst>
            </p:nvPr>
          </p:nvSpPr>
          <p:spPr bwMode="auto">
            <a:xfrm>
              <a:off x="5690402" y="2545080"/>
              <a:ext cx="102945" cy="51205"/>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3" name="Freeform 11"/>
            <p:cNvSpPr>
              <a:spLocks/>
            </p:cNvSpPr>
            <p:nvPr>
              <p:custDataLst>
                <p:tags r:id="rId8"/>
              </p:custDataLst>
            </p:nvPr>
          </p:nvSpPr>
          <p:spPr bwMode="auto">
            <a:xfrm>
              <a:off x="4951065" y="2414597"/>
              <a:ext cx="121663" cy="166825"/>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4" name="Freeform 12"/>
            <p:cNvSpPr>
              <a:spLocks/>
            </p:cNvSpPr>
            <p:nvPr>
              <p:custDataLst>
                <p:tags r:id="rId9"/>
              </p:custDataLst>
            </p:nvPr>
          </p:nvSpPr>
          <p:spPr bwMode="auto">
            <a:xfrm>
              <a:off x="5070392" y="1879430"/>
              <a:ext cx="252684" cy="280797"/>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5" name="Freeform 13"/>
            <p:cNvSpPr>
              <a:spLocks/>
            </p:cNvSpPr>
            <p:nvPr>
              <p:custDataLst>
                <p:tags r:id="rId10"/>
              </p:custDataLst>
            </p:nvPr>
          </p:nvSpPr>
          <p:spPr bwMode="auto">
            <a:xfrm>
              <a:off x="5599159" y="2194910"/>
              <a:ext cx="250345" cy="79284"/>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6" name="Freeform 14"/>
            <p:cNvSpPr>
              <a:spLocks/>
            </p:cNvSpPr>
            <p:nvPr>
              <p:custDataLst>
                <p:tags r:id="rId11"/>
              </p:custDataLst>
            </p:nvPr>
          </p:nvSpPr>
          <p:spPr bwMode="auto">
            <a:xfrm>
              <a:off x="7798449" y="2037996"/>
              <a:ext cx="1888115" cy="1080241"/>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7" name="Freeform 15"/>
            <p:cNvSpPr>
              <a:spLocks/>
            </p:cNvSpPr>
            <p:nvPr>
              <p:custDataLst>
                <p:tags r:id="rId12"/>
              </p:custDataLst>
            </p:nvPr>
          </p:nvSpPr>
          <p:spPr bwMode="auto">
            <a:xfrm>
              <a:off x="5870558" y="1560638"/>
              <a:ext cx="325214" cy="284102"/>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8" name="Freeform 16"/>
            <p:cNvSpPr>
              <a:spLocks/>
            </p:cNvSpPr>
            <p:nvPr>
              <p:custDataLst>
                <p:tags r:id="rId13"/>
              </p:custDataLst>
            </p:nvPr>
          </p:nvSpPr>
          <p:spPr bwMode="auto">
            <a:xfrm>
              <a:off x="5482177" y="1995051"/>
              <a:ext cx="269062" cy="247761"/>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9" name="Freeform 17"/>
            <p:cNvSpPr>
              <a:spLocks/>
            </p:cNvSpPr>
            <p:nvPr>
              <p:custDataLst>
                <p:tags r:id="rId14"/>
              </p:custDataLst>
            </p:nvPr>
          </p:nvSpPr>
          <p:spPr bwMode="auto">
            <a:xfrm>
              <a:off x="5519611" y="2262637"/>
              <a:ext cx="369668" cy="285752"/>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0" name="Freeform 18"/>
            <p:cNvSpPr>
              <a:spLocks/>
            </p:cNvSpPr>
            <p:nvPr>
              <p:custDataLst>
                <p:tags r:id="rId15"/>
              </p:custDataLst>
            </p:nvPr>
          </p:nvSpPr>
          <p:spPr bwMode="auto">
            <a:xfrm>
              <a:off x="5545343" y="2437718"/>
              <a:ext cx="49134" cy="85893"/>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nvGrpSpPr>
            <p:cNvPr id="21" name="Group 19"/>
            <p:cNvGrpSpPr>
              <a:grpSpLocks/>
            </p:cNvGrpSpPr>
            <p:nvPr>
              <p:custDataLst>
                <p:tags r:id="rId16"/>
              </p:custDataLst>
            </p:nvPr>
          </p:nvGrpSpPr>
          <p:grpSpPr bwMode="auto">
            <a:xfrm>
              <a:off x="8963608" y="3541085"/>
              <a:ext cx="697223" cy="221335"/>
              <a:chOff x="4488" y="2394"/>
              <a:chExt cx="358" cy="124"/>
            </a:xfrm>
            <a:grpFill/>
          </p:grpSpPr>
          <p:sp>
            <p:nvSpPr>
              <p:cNvPr id="550"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51"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sp>
          <p:nvSpPr>
            <p:cNvPr id="22" name="Freeform 22"/>
            <p:cNvSpPr>
              <a:spLocks/>
            </p:cNvSpPr>
            <p:nvPr>
              <p:custDataLst>
                <p:tags r:id="rId17"/>
              </p:custDataLst>
            </p:nvPr>
          </p:nvSpPr>
          <p:spPr bwMode="auto">
            <a:xfrm>
              <a:off x="6048372" y="1331048"/>
              <a:ext cx="4517908" cy="1118233"/>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r>
                <a:rPr lang="en-US" sz="2400" kern="0" dirty="0">
                  <a:solidFill>
                    <a:sysClr val="windowText" lastClr="000000"/>
                  </a:solidFill>
                  <a:latin typeface="Arial" panose="020B0604020202020204" pitchFamily="34" charset="0"/>
                  <a:cs typeface="Arial" panose="020B0604020202020204" pitchFamily="34" charset="0"/>
                </a:rPr>
                <a:t> </a:t>
              </a:r>
            </a:p>
          </p:txBody>
        </p:sp>
        <p:sp>
          <p:nvSpPr>
            <p:cNvPr id="23" name="Freeform 23"/>
            <p:cNvSpPr>
              <a:spLocks/>
            </p:cNvSpPr>
            <p:nvPr>
              <p:custDataLst>
                <p:tags r:id="rId18"/>
              </p:custDataLst>
            </p:nvPr>
          </p:nvSpPr>
          <p:spPr bwMode="auto">
            <a:xfrm>
              <a:off x="4962766" y="2358431"/>
              <a:ext cx="414122" cy="257673"/>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4" name="Freeform 24"/>
            <p:cNvSpPr>
              <a:spLocks/>
            </p:cNvSpPr>
            <p:nvPr>
              <p:custDataLst>
                <p:tags r:id="rId19"/>
              </p:custDataLst>
            </p:nvPr>
          </p:nvSpPr>
          <p:spPr bwMode="auto">
            <a:xfrm>
              <a:off x="8841944" y="3126495"/>
              <a:ext cx="306496" cy="474052"/>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5" name="Freeform 25"/>
            <p:cNvSpPr>
              <a:spLocks/>
            </p:cNvSpPr>
            <p:nvPr>
              <p:custDataLst>
                <p:tags r:id="rId20"/>
              </p:custDataLst>
            </p:nvPr>
          </p:nvSpPr>
          <p:spPr bwMode="auto">
            <a:xfrm>
              <a:off x="3107404" y="4943306"/>
              <a:ext cx="35095" cy="59463"/>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6" name="Line 26" descr="Horizontal dunkel"/>
            <p:cNvSpPr>
              <a:spLocks noChangeShapeType="1"/>
            </p:cNvSpPr>
            <p:nvPr>
              <p:custDataLst>
                <p:tags r:id="rId21"/>
              </p:custDataLst>
            </p:nvPr>
          </p:nvSpPr>
          <p:spPr bwMode="auto">
            <a:xfrm>
              <a:off x="840261" y="2407985"/>
              <a:ext cx="4679" cy="9911"/>
            </a:xfrm>
            <a:prstGeom prst="line">
              <a:avLst/>
            </a:prstGeom>
            <a:grpFill/>
            <a:ln w="9525">
              <a:solidFill>
                <a:srgbClr val="FFFFFF"/>
              </a:solidFill>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7" name="Freeform 27"/>
            <p:cNvSpPr>
              <a:spLocks/>
            </p:cNvSpPr>
            <p:nvPr>
              <p:custDataLst>
                <p:tags r:id="rId22"/>
              </p:custDataLst>
            </p:nvPr>
          </p:nvSpPr>
          <p:spPr bwMode="auto">
            <a:xfrm>
              <a:off x="844942" y="2404683"/>
              <a:ext cx="4679" cy="57811"/>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8" name="Freeform 28"/>
            <p:cNvSpPr>
              <a:spLocks/>
            </p:cNvSpPr>
            <p:nvPr>
              <p:custDataLst>
                <p:tags r:id="rId23"/>
              </p:custDataLst>
            </p:nvPr>
          </p:nvSpPr>
          <p:spPr bwMode="auto">
            <a:xfrm>
              <a:off x="809847" y="2460847"/>
              <a:ext cx="35095" cy="59463"/>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9" name="Freeform 29"/>
            <p:cNvSpPr>
              <a:spLocks/>
            </p:cNvSpPr>
            <p:nvPr>
              <p:custDataLst>
                <p:tags r:id="rId24"/>
              </p:custDataLst>
            </p:nvPr>
          </p:nvSpPr>
          <p:spPr bwMode="auto">
            <a:xfrm>
              <a:off x="2763469" y="2455891"/>
              <a:ext cx="72529" cy="59463"/>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0" name="Freeform 30"/>
            <p:cNvSpPr>
              <a:spLocks/>
            </p:cNvSpPr>
            <p:nvPr>
              <p:custDataLst>
                <p:tags r:id="rId25"/>
              </p:custDataLst>
            </p:nvPr>
          </p:nvSpPr>
          <p:spPr bwMode="auto">
            <a:xfrm>
              <a:off x="6799406" y="1995053"/>
              <a:ext cx="1289160" cy="470745"/>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1" name="Freeform 31"/>
            <p:cNvSpPr>
              <a:spLocks/>
            </p:cNvSpPr>
            <p:nvPr>
              <p:custDataLst>
                <p:tags r:id="rId26"/>
              </p:custDataLst>
            </p:nvPr>
          </p:nvSpPr>
          <p:spPr bwMode="auto">
            <a:xfrm>
              <a:off x="7138661" y="2310532"/>
              <a:ext cx="603635" cy="259325"/>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2" name="Freeform 32"/>
            <p:cNvSpPr>
              <a:spLocks/>
            </p:cNvSpPr>
            <p:nvPr>
              <p:custDataLst>
                <p:tags r:id="rId27"/>
              </p:custDataLst>
            </p:nvPr>
          </p:nvSpPr>
          <p:spPr bwMode="auto">
            <a:xfrm>
              <a:off x="5381570" y="3354438"/>
              <a:ext cx="437520" cy="300617"/>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3" name="Freeform 33"/>
            <p:cNvSpPr>
              <a:spLocks/>
            </p:cNvSpPr>
            <p:nvPr>
              <p:custDataLst>
                <p:tags r:id="rId28"/>
              </p:custDataLst>
            </p:nvPr>
          </p:nvSpPr>
          <p:spPr bwMode="auto">
            <a:xfrm>
              <a:off x="6623936" y="3214036"/>
              <a:ext cx="224608" cy="176737"/>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4" name="Freeform 34"/>
            <p:cNvSpPr>
              <a:spLocks/>
            </p:cNvSpPr>
            <p:nvPr>
              <p:custDataLst>
                <p:tags r:id="rId29"/>
              </p:custDataLst>
            </p:nvPr>
          </p:nvSpPr>
          <p:spPr bwMode="auto">
            <a:xfrm>
              <a:off x="5830782" y="2178397"/>
              <a:ext cx="184836" cy="59463"/>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5" name="Freeform 35"/>
            <p:cNvSpPr>
              <a:spLocks/>
            </p:cNvSpPr>
            <p:nvPr>
              <p:custDataLst>
                <p:tags r:id="rId30"/>
              </p:custDataLst>
            </p:nvPr>
          </p:nvSpPr>
          <p:spPr bwMode="auto">
            <a:xfrm>
              <a:off x="7103565" y="2928290"/>
              <a:ext cx="28075" cy="59463"/>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6" name="Freeform 36"/>
            <p:cNvSpPr>
              <a:spLocks/>
            </p:cNvSpPr>
            <p:nvPr>
              <p:custDataLst>
                <p:tags r:id="rId31"/>
              </p:custDataLst>
            </p:nvPr>
          </p:nvSpPr>
          <p:spPr bwMode="auto">
            <a:xfrm>
              <a:off x="7279041" y="2933245"/>
              <a:ext cx="21057" cy="59463"/>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7" name="Freeform 37"/>
            <p:cNvSpPr>
              <a:spLocks/>
            </p:cNvSpPr>
            <p:nvPr>
              <p:custDataLst>
                <p:tags r:id="rId32"/>
              </p:custDataLst>
            </p:nvPr>
          </p:nvSpPr>
          <p:spPr bwMode="auto">
            <a:xfrm>
              <a:off x="9471315" y="3620369"/>
              <a:ext cx="65510" cy="59463"/>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nvGrpSpPr>
            <p:cNvPr id="38" name="Group 38"/>
            <p:cNvGrpSpPr>
              <a:grpSpLocks/>
            </p:cNvGrpSpPr>
            <p:nvPr>
              <p:custDataLst>
                <p:tags r:id="rId33"/>
              </p:custDataLst>
            </p:nvPr>
          </p:nvGrpSpPr>
          <p:grpSpPr bwMode="auto">
            <a:xfrm>
              <a:off x="3357745" y="5501702"/>
              <a:ext cx="95926" cy="57811"/>
              <a:chOff x="1654" y="3671"/>
              <a:chExt cx="49" cy="17"/>
            </a:xfrm>
            <a:grpFill/>
          </p:grpSpPr>
          <p:sp>
            <p:nvSpPr>
              <p:cNvPr id="548"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49"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sp>
          <p:nvSpPr>
            <p:cNvPr id="39" name="Freeform 41"/>
            <p:cNvSpPr>
              <a:spLocks/>
            </p:cNvSpPr>
            <p:nvPr>
              <p:custDataLst>
                <p:tags r:id="rId34"/>
              </p:custDataLst>
            </p:nvPr>
          </p:nvSpPr>
          <p:spPr bwMode="auto">
            <a:xfrm>
              <a:off x="2838340" y="3207430"/>
              <a:ext cx="46793" cy="61113"/>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0" name="Freeform 42"/>
            <p:cNvSpPr>
              <a:spLocks/>
            </p:cNvSpPr>
            <p:nvPr>
              <p:custDataLst>
                <p:tags r:id="rId35"/>
              </p:custDataLst>
            </p:nvPr>
          </p:nvSpPr>
          <p:spPr bwMode="auto">
            <a:xfrm>
              <a:off x="2920227" y="3214038"/>
              <a:ext cx="2341" cy="61113"/>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1" name="Freeform 43"/>
            <p:cNvSpPr>
              <a:spLocks/>
            </p:cNvSpPr>
            <p:nvPr>
              <p:custDataLst>
                <p:tags r:id="rId36"/>
              </p:custDataLst>
            </p:nvPr>
          </p:nvSpPr>
          <p:spPr bwMode="auto">
            <a:xfrm>
              <a:off x="2938950" y="3215687"/>
              <a:ext cx="9357" cy="61116"/>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2" name="Freeform 44"/>
            <p:cNvSpPr>
              <a:spLocks/>
            </p:cNvSpPr>
            <p:nvPr>
              <p:custDataLst>
                <p:tags r:id="rId37"/>
              </p:custDataLst>
            </p:nvPr>
          </p:nvSpPr>
          <p:spPr bwMode="auto">
            <a:xfrm>
              <a:off x="2960002" y="3205783"/>
              <a:ext cx="11697" cy="59463"/>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3" name="Freeform 45"/>
            <p:cNvSpPr>
              <a:spLocks/>
            </p:cNvSpPr>
            <p:nvPr>
              <p:custDataLst>
                <p:tags r:id="rId38"/>
              </p:custDataLst>
            </p:nvPr>
          </p:nvSpPr>
          <p:spPr bwMode="auto">
            <a:xfrm>
              <a:off x="2929587" y="3197519"/>
              <a:ext cx="16378" cy="61113"/>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4" name="Freeform 46"/>
            <p:cNvSpPr>
              <a:spLocks/>
            </p:cNvSpPr>
            <p:nvPr>
              <p:custDataLst>
                <p:tags r:id="rId39"/>
              </p:custDataLst>
            </p:nvPr>
          </p:nvSpPr>
          <p:spPr bwMode="auto">
            <a:xfrm>
              <a:off x="3002120" y="3227251"/>
              <a:ext cx="21057" cy="62766"/>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5" name="Line 47"/>
            <p:cNvSpPr>
              <a:spLocks noChangeShapeType="1"/>
            </p:cNvSpPr>
            <p:nvPr>
              <p:custDataLst>
                <p:tags r:id="rId40"/>
              </p:custDataLst>
            </p:nvPr>
          </p:nvSpPr>
          <p:spPr bwMode="auto">
            <a:xfrm flipH="1" flipV="1">
              <a:off x="3013820" y="3223947"/>
              <a:ext cx="9357" cy="9911"/>
            </a:xfrm>
            <a:prstGeom prst="line">
              <a:avLst/>
            </a:prstGeom>
            <a:grpFill/>
            <a:ln w="9525">
              <a:solidFill>
                <a:srgbClr val="FFFFFF"/>
              </a:solidFill>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6" name="Line 48"/>
            <p:cNvSpPr>
              <a:spLocks noChangeShapeType="1"/>
            </p:cNvSpPr>
            <p:nvPr>
              <p:custDataLst>
                <p:tags r:id="rId41"/>
              </p:custDataLst>
            </p:nvPr>
          </p:nvSpPr>
          <p:spPr bwMode="auto">
            <a:xfrm flipH="1">
              <a:off x="3013820" y="3250378"/>
              <a:ext cx="9357" cy="11562"/>
            </a:xfrm>
            <a:prstGeom prst="line">
              <a:avLst/>
            </a:prstGeom>
            <a:grpFill/>
            <a:ln w="9525">
              <a:solidFill>
                <a:srgbClr val="FFFFFF"/>
              </a:solidFill>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7" name="Freeform 49"/>
            <p:cNvSpPr>
              <a:spLocks/>
            </p:cNvSpPr>
            <p:nvPr>
              <p:custDataLst>
                <p:tags r:id="rId42"/>
              </p:custDataLst>
            </p:nvPr>
          </p:nvSpPr>
          <p:spPr bwMode="auto">
            <a:xfrm>
              <a:off x="3013813" y="3245419"/>
              <a:ext cx="16378" cy="61116"/>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8" name="Freeform 50"/>
            <p:cNvSpPr>
              <a:spLocks/>
            </p:cNvSpPr>
            <p:nvPr>
              <p:custDataLst>
                <p:tags r:id="rId43"/>
              </p:custDataLst>
            </p:nvPr>
          </p:nvSpPr>
          <p:spPr bwMode="auto">
            <a:xfrm>
              <a:off x="3023175" y="3275153"/>
              <a:ext cx="25738" cy="57811"/>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9" name="Freeform 51"/>
            <p:cNvSpPr>
              <a:spLocks/>
            </p:cNvSpPr>
            <p:nvPr>
              <p:custDataLst>
                <p:tags r:id="rId44"/>
              </p:custDataLst>
            </p:nvPr>
          </p:nvSpPr>
          <p:spPr bwMode="auto">
            <a:xfrm>
              <a:off x="3032530" y="3324709"/>
              <a:ext cx="23397" cy="59463"/>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0" name="Freeform 52"/>
            <p:cNvSpPr>
              <a:spLocks/>
            </p:cNvSpPr>
            <p:nvPr>
              <p:custDataLst>
                <p:tags r:id="rId45"/>
              </p:custDataLst>
            </p:nvPr>
          </p:nvSpPr>
          <p:spPr bwMode="auto">
            <a:xfrm>
              <a:off x="3046574" y="3351136"/>
              <a:ext cx="4679" cy="59463"/>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1" name="Freeform 53"/>
            <p:cNvSpPr>
              <a:spLocks/>
            </p:cNvSpPr>
            <p:nvPr>
              <p:custDataLst>
                <p:tags r:id="rId46"/>
              </p:custDataLst>
            </p:nvPr>
          </p:nvSpPr>
          <p:spPr bwMode="auto">
            <a:xfrm>
              <a:off x="3079325" y="3382515"/>
              <a:ext cx="2341" cy="57811"/>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2" name="Freeform 54"/>
            <p:cNvSpPr>
              <a:spLocks/>
            </p:cNvSpPr>
            <p:nvPr>
              <p:custDataLst>
                <p:tags r:id="rId47"/>
              </p:custDataLst>
            </p:nvPr>
          </p:nvSpPr>
          <p:spPr bwMode="auto">
            <a:xfrm>
              <a:off x="3023174" y="3395729"/>
              <a:ext cx="23397" cy="61113"/>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3" name="Freeform 55"/>
            <p:cNvSpPr>
              <a:spLocks/>
            </p:cNvSpPr>
            <p:nvPr>
              <p:custDataLst>
                <p:tags r:id="rId48"/>
              </p:custDataLst>
            </p:nvPr>
          </p:nvSpPr>
          <p:spPr bwMode="auto">
            <a:xfrm>
              <a:off x="3002120" y="3463453"/>
              <a:ext cx="35094" cy="59463"/>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4" name="Freeform 56"/>
            <p:cNvSpPr>
              <a:spLocks/>
            </p:cNvSpPr>
            <p:nvPr>
              <p:custDataLst>
                <p:tags r:id="rId49"/>
              </p:custDataLst>
            </p:nvPr>
          </p:nvSpPr>
          <p:spPr bwMode="auto">
            <a:xfrm>
              <a:off x="3030194" y="3438679"/>
              <a:ext cx="18718" cy="59463"/>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5" name="Freeform 57"/>
            <p:cNvSpPr>
              <a:spLocks/>
            </p:cNvSpPr>
            <p:nvPr>
              <p:custDataLst>
                <p:tags r:id="rId50"/>
              </p:custDataLst>
            </p:nvPr>
          </p:nvSpPr>
          <p:spPr bwMode="auto">
            <a:xfrm>
              <a:off x="2267459" y="3096768"/>
              <a:ext cx="23397" cy="59463"/>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nvGrpSpPr>
            <p:cNvPr id="56" name="Group 58"/>
            <p:cNvGrpSpPr>
              <a:grpSpLocks/>
            </p:cNvGrpSpPr>
            <p:nvPr>
              <p:custDataLst>
                <p:tags r:id="rId51"/>
              </p:custDataLst>
            </p:nvPr>
          </p:nvGrpSpPr>
          <p:grpSpPr bwMode="auto">
            <a:xfrm>
              <a:off x="2452277" y="2923348"/>
              <a:ext cx="194192" cy="203166"/>
              <a:chOff x="1199" y="2121"/>
              <a:chExt cx="97" cy="123"/>
            </a:xfrm>
            <a:grpFill/>
          </p:grpSpPr>
          <p:sp>
            <p:nvSpPr>
              <p:cNvPr id="538"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39"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40"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41"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42"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43"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44"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45"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46"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47"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sp>
          <p:nvSpPr>
            <p:cNvPr id="57" name="Freeform 69"/>
            <p:cNvSpPr>
              <a:spLocks/>
            </p:cNvSpPr>
            <p:nvPr>
              <p:custDataLst>
                <p:tags r:id="rId52"/>
              </p:custDataLst>
            </p:nvPr>
          </p:nvSpPr>
          <p:spPr bwMode="auto">
            <a:xfrm>
              <a:off x="11020176" y="4408253"/>
              <a:ext cx="18718" cy="59463"/>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8" name="Freeform 70"/>
            <p:cNvSpPr>
              <a:spLocks/>
            </p:cNvSpPr>
            <p:nvPr>
              <p:custDataLst>
                <p:tags r:id="rId53"/>
              </p:custDataLst>
            </p:nvPr>
          </p:nvSpPr>
          <p:spPr bwMode="auto">
            <a:xfrm>
              <a:off x="11034214" y="4502397"/>
              <a:ext cx="14038" cy="61113"/>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9" name="Freeform 71"/>
            <p:cNvSpPr>
              <a:spLocks/>
            </p:cNvSpPr>
            <p:nvPr>
              <p:custDataLst>
                <p:tags r:id="rId54"/>
              </p:custDataLst>
            </p:nvPr>
          </p:nvSpPr>
          <p:spPr bwMode="auto">
            <a:xfrm>
              <a:off x="11202670" y="4408247"/>
              <a:ext cx="114645" cy="135444"/>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60" name="Freeform 72"/>
            <p:cNvSpPr>
              <a:spLocks/>
            </p:cNvSpPr>
            <p:nvPr>
              <p:custDataLst>
                <p:tags r:id="rId55"/>
              </p:custDataLst>
            </p:nvPr>
          </p:nvSpPr>
          <p:spPr bwMode="auto">
            <a:xfrm>
              <a:off x="11202671" y="4380175"/>
              <a:ext cx="21059" cy="59463"/>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nvGrpSpPr>
            <p:cNvPr id="61" name="Group 73"/>
            <p:cNvGrpSpPr>
              <a:grpSpLocks/>
            </p:cNvGrpSpPr>
            <p:nvPr>
              <p:custDataLst>
                <p:tags r:id="rId56"/>
              </p:custDataLst>
            </p:nvPr>
          </p:nvGrpSpPr>
          <p:grpSpPr bwMode="auto">
            <a:xfrm>
              <a:off x="10746581" y="4922090"/>
              <a:ext cx="676175" cy="421205"/>
              <a:chOff x="5372" y="3323"/>
              <a:chExt cx="341" cy="253"/>
            </a:xfrm>
            <a:grpFill/>
          </p:grpSpPr>
          <p:sp>
            <p:nvSpPr>
              <p:cNvPr id="535"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36"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37"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sp>
          <p:nvSpPr>
            <p:cNvPr id="62" name="Freeform 77"/>
            <p:cNvSpPr>
              <a:spLocks/>
            </p:cNvSpPr>
            <p:nvPr>
              <p:custDataLst>
                <p:tags r:id="rId57"/>
              </p:custDataLst>
            </p:nvPr>
          </p:nvSpPr>
          <p:spPr bwMode="auto">
            <a:xfrm>
              <a:off x="10220008" y="3524571"/>
              <a:ext cx="14038" cy="59463"/>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63" name="Freeform 78"/>
            <p:cNvSpPr>
              <a:spLocks/>
            </p:cNvSpPr>
            <p:nvPr>
              <p:custDataLst>
                <p:tags r:id="rId58"/>
              </p:custDataLst>
            </p:nvPr>
          </p:nvSpPr>
          <p:spPr bwMode="auto">
            <a:xfrm>
              <a:off x="11291580" y="4462762"/>
              <a:ext cx="21059" cy="59463"/>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64" name="Freeform 79"/>
            <p:cNvSpPr>
              <a:spLocks/>
            </p:cNvSpPr>
            <p:nvPr>
              <p:custDataLst>
                <p:tags r:id="rId59"/>
              </p:custDataLst>
            </p:nvPr>
          </p:nvSpPr>
          <p:spPr bwMode="auto">
            <a:xfrm>
              <a:off x="11324333" y="4472665"/>
              <a:ext cx="25738" cy="61113"/>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65" name="Freeform 80"/>
            <p:cNvSpPr>
              <a:spLocks/>
            </p:cNvSpPr>
            <p:nvPr>
              <p:custDataLst>
                <p:tags r:id="rId60"/>
              </p:custDataLst>
            </p:nvPr>
          </p:nvSpPr>
          <p:spPr bwMode="auto">
            <a:xfrm>
              <a:off x="10313594" y="3513004"/>
              <a:ext cx="2341" cy="57811"/>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66" name="Freeform 81"/>
            <p:cNvSpPr>
              <a:spLocks/>
            </p:cNvSpPr>
            <p:nvPr>
              <p:custDataLst>
                <p:tags r:id="rId61"/>
              </p:custDataLst>
            </p:nvPr>
          </p:nvSpPr>
          <p:spPr bwMode="auto">
            <a:xfrm>
              <a:off x="10400168" y="3455196"/>
              <a:ext cx="9357" cy="59463"/>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67" name="Freeform 82"/>
            <p:cNvSpPr>
              <a:spLocks/>
            </p:cNvSpPr>
            <p:nvPr>
              <p:custDataLst>
                <p:tags r:id="rId62"/>
              </p:custDataLst>
            </p:nvPr>
          </p:nvSpPr>
          <p:spPr bwMode="auto">
            <a:xfrm>
              <a:off x="10566279" y="3339575"/>
              <a:ext cx="7020" cy="59463"/>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68" name="Freeform 83"/>
            <p:cNvSpPr>
              <a:spLocks/>
            </p:cNvSpPr>
            <p:nvPr>
              <p:custDataLst>
                <p:tags r:id="rId63"/>
              </p:custDataLst>
            </p:nvPr>
          </p:nvSpPr>
          <p:spPr bwMode="auto">
            <a:xfrm>
              <a:off x="10790890" y="4066338"/>
              <a:ext cx="39775" cy="61113"/>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69" name="Freeform 84"/>
            <p:cNvSpPr>
              <a:spLocks/>
            </p:cNvSpPr>
            <p:nvPr>
              <p:custDataLst>
                <p:tags r:id="rId64"/>
              </p:custDataLst>
            </p:nvPr>
          </p:nvSpPr>
          <p:spPr bwMode="auto">
            <a:xfrm>
              <a:off x="10884474" y="4081208"/>
              <a:ext cx="18718" cy="59463"/>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70" name="Freeform 85"/>
            <p:cNvSpPr>
              <a:spLocks/>
            </p:cNvSpPr>
            <p:nvPr>
              <p:custDataLst>
                <p:tags r:id="rId65"/>
              </p:custDataLst>
            </p:nvPr>
          </p:nvSpPr>
          <p:spPr bwMode="auto">
            <a:xfrm>
              <a:off x="10673902" y="3848305"/>
              <a:ext cx="37435" cy="57811"/>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71" name="Freeform 86"/>
            <p:cNvSpPr>
              <a:spLocks/>
            </p:cNvSpPr>
            <p:nvPr>
              <p:custDataLst>
                <p:tags r:id="rId66"/>
              </p:custDataLst>
            </p:nvPr>
          </p:nvSpPr>
          <p:spPr bwMode="auto">
            <a:xfrm>
              <a:off x="10589676" y="3821884"/>
              <a:ext cx="16378" cy="59463"/>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72" name="Freeform 87"/>
            <p:cNvSpPr>
              <a:spLocks/>
            </p:cNvSpPr>
            <p:nvPr>
              <p:custDataLst>
                <p:tags r:id="rId67"/>
              </p:custDataLst>
            </p:nvPr>
          </p:nvSpPr>
          <p:spPr bwMode="auto">
            <a:xfrm>
              <a:off x="10884475" y="4167098"/>
              <a:ext cx="46793" cy="59463"/>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73" name="Freeform 88"/>
            <p:cNvSpPr>
              <a:spLocks/>
            </p:cNvSpPr>
            <p:nvPr>
              <p:custDataLst>
                <p:tags r:id="rId68"/>
              </p:custDataLst>
            </p:nvPr>
          </p:nvSpPr>
          <p:spPr bwMode="auto">
            <a:xfrm>
              <a:off x="10818963" y="4155537"/>
              <a:ext cx="32756" cy="59463"/>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74" name="Line 89"/>
            <p:cNvSpPr>
              <a:spLocks noChangeShapeType="1"/>
            </p:cNvSpPr>
            <p:nvPr>
              <p:custDataLst>
                <p:tags r:id="rId69"/>
              </p:custDataLst>
            </p:nvPr>
          </p:nvSpPr>
          <p:spPr bwMode="auto">
            <a:xfrm>
              <a:off x="10868099" y="4140665"/>
              <a:ext cx="30415" cy="6606"/>
            </a:xfrm>
            <a:prstGeom prst="line">
              <a:avLst/>
            </a:prstGeom>
            <a:grpFill/>
            <a:ln w="9525">
              <a:solidFill>
                <a:srgbClr val="FFFFFF"/>
              </a:solidFill>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75" name="Freeform 90"/>
            <p:cNvSpPr>
              <a:spLocks/>
            </p:cNvSpPr>
            <p:nvPr>
              <p:custDataLst>
                <p:tags r:id="rId70"/>
              </p:custDataLst>
            </p:nvPr>
          </p:nvSpPr>
          <p:spPr bwMode="auto">
            <a:xfrm>
              <a:off x="10898513" y="4147276"/>
              <a:ext cx="2341" cy="59463"/>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76" name="Freeform 91"/>
            <p:cNvSpPr>
              <a:spLocks/>
            </p:cNvSpPr>
            <p:nvPr>
              <p:custDataLst>
                <p:tags r:id="rId71"/>
              </p:custDataLst>
            </p:nvPr>
          </p:nvSpPr>
          <p:spPr bwMode="auto">
            <a:xfrm>
              <a:off x="10830665" y="4140665"/>
              <a:ext cx="21057" cy="61116"/>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77" name="Freeform 92"/>
            <p:cNvSpPr>
              <a:spLocks/>
            </p:cNvSpPr>
            <p:nvPr>
              <p:custDataLst>
                <p:tags r:id="rId72"/>
              </p:custDataLst>
            </p:nvPr>
          </p:nvSpPr>
          <p:spPr bwMode="auto">
            <a:xfrm>
              <a:off x="10821310" y="4120845"/>
              <a:ext cx="9357" cy="62766"/>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78" name="Freeform 93"/>
            <p:cNvSpPr>
              <a:spLocks/>
            </p:cNvSpPr>
            <p:nvPr>
              <p:custDataLst>
                <p:tags r:id="rId73"/>
              </p:custDataLst>
            </p:nvPr>
          </p:nvSpPr>
          <p:spPr bwMode="auto">
            <a:xfrm>
              <a:off x="10940626" y="3836748"/>
              <a:ext cx="2341" cy="59463"/>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nvGrpSpPr>
            <p:cNvPr id="79" name="Group 94"/>
            <p:cNvGrpSpPr>
              <a:grpSpLocks/>
            </p:cNvGrpSpPr>
            <p:nvPr>
              <p:custDataLst>
                <p:tags r:id="rId74"/>
              </p:custDataLst>
            </p:nvPr>
          </p:nvGrpSpPr>
          <p:grpSpPr bwMode="auto">
            <a:xfrm>
              <a:off x="10756314" y="3494909"/>
              <a:ext cx="240997" cy="118929"/>
              <a:chOff x="5379" y="2466"/>
              <a:chExt cx="122" cy="71"/>
            </a:xfrm>
            <a:grpFill/>
          </p:grpSpPr>
          <p:sp>
            <p:nvSpPr>
              <p:cNvPr id="526"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27"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28"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29"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30"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31" name="Line 100"/>
              <p:cNvSpPr>
                <a:spLocks noChangeShapeType="1"/>
              </p:cNvSpPr>
              <p:nvPr/>
            </p:nvSpPr>
            <p:spPr bwMode="auto">
              <a:xfrm flipH="1">
                <a:off x="5495" y="2490"/>
                <a:ext cx="6" cy="1"/>
              </a:xfrm>
              <a:prstGeom prst="line">
                <a:avLst/>
              </a:prstGeom>
              <a:grpFill/>
              <a:ln w="9525">
                <a:solidFill>
                  <a:srgbClr val="FFFFFF"/>
                </a:solidFill>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32"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33" name="Line 102"/>
              <p:cNvSpPr>
                <a:spLocks noChangeShapeType="1"/>
              </p:cNvSpPr>
              <p:nvPr/>
            </p:nvSpPr>
            <p:spPr bwMode="auto">
              <a:xfrm>
                <a:off x="5464" y="2530"/>
                <a:ext cx="6" cy="1"/>
              </a:xfrm>
              <a:prstGeom prst="line">
                <a:avLst/>
              </a:prstGeom>
              <a:grpFill/>
              <a:ln w="9525">
                <a:solidFill>
                  <a:srgbClr val="FFFFFF"/>
                </a:solidFill>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34"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sp>
          <p:nvSpPr>
            <p:cNvPr id="80" name="Freeform 104"/>
            <p:cNvSpPr>
              <a:spLocks/>
            </p:cNvSpPr>
            <p:nvPr>
              <p:custDataLst>
                <p:tags r:id="rId75"/>
              </p:custDataLst>
            </p:nvPr>
          </p:nvSpPr>
          <p:spPr bwMode="auto">
            <a:xfrm>
              <a:off x="8668808" y="3351136"/>
              <a:ext cx="9357" cy="59463"/>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81" name="Freeform 105"/>
            <p:cNvSpPr>
              <a:spLocks/>
            </p:cNvSpPr>
            <p:nvPr>
              <p:custDataLst>
                <p:tags r:id="rId76"/>
              </p:custDataLst>
            </p:nvPr>
          </p:nvSpPr>
          <p:spPr bwMode="auto">
            <a:xfrm>
              <a:off x="4099424" y="5577684"/>
              <a:ext cx="79550" cy="61116"/>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82" name="Freeform 107"/>
            <p:cNvSpPr>
              <a:spLocks/>
            </p:cNvSpPr>
            <p:nvPr>
              <p:custDataLst>
                <p:tags r:id="rId77"/>
              </p:custDataLst>
            </p:nvPr>
          </p:nvSpPr>
          <p:spPr bwMode="auto">
            <a:xfrm>
              <a:off x="10666885" y="2049560"/>
              <a:ext cx="30415" cy="59463"/>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83" name="Freeform 108"/>
            <p:cNvSpPr>
              <a:spLocks/>
            </p:cNvSpPr>
            <p:nvPr>
              <p:custDataLst>
                <p:tags r:id="rId78"/>
              </p:custDataLst>
            </p:nvPr>
          </p:nvSpPr>
          <p:spPr bwMode="auto">
            <a:xfrm>
              <a:off x="10926587" y="2084248"/>
              <a:ext cx="23397" cy="59463"/>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84" name="Freeform 109"/>
            <p:cNvSpPr>
              <a:spLocks/>
            </p:cNvSpPr>
            <p:nvPr>
              <p:custDataLst>
                <p:tags r:id="rId79"/>
              </p:custDataLst>
            </p:nvPr>
          </p:nvSpPr>
          <p:spPr bwMode="auto">
            <a:xfrm>
              <a:off x="10114727" y="2323745"/>
              <a:ext cx="7019" cy="61116"/>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85" name="Freeform 110"/>
            <p:cNvSpPr>
              <a:spLocks/>
            </p:cNvSpPr>
            <p:nvPr>
              <p:custDataLst>
                <p:tags r:id="rId80"/>
              </p:custDataLst>
            </p:nvPr>
          </p:nvSpPr>
          <p:spPr bwMode="auto">
            <a:xfrm>
              <a:off x="9840985" y="2908463"/>
              <a:ext cx="21059" cy="61116"/>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86" name="Freeform 111"/>
            <p:cNvSpPr>
              <a:spLocks/>
            </p:cNvSpPr>
            <p:nvPr>
              <p:custDataLst>
                <p:tags r:id="rId81"/>
              </p:custDataLst>
            </p:nvPr>
          </p:nvSpPr>
          <p:spPr bwMode="auto">
            <a:xfrm>
              <a:off x="9866716" y="2840747"/>
              <a:ext cx="23397" cy="59463"/>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87" name="Freeform 112"/>
            <p:cNvSpPr>
              <a:spLocks/>
            </p:cNvSpPr>
            <p:nvPr>
              <p:custDataLst>
                <p:tags r:id="rId82"/>
              </p:custDataLst>
            </p:nvPr>
          </p:nvSpPr>
          <p:spPr bwMode="auto">
            <a:xfrm>
              <a:off x="9702942" y="2683826"/>
              <a:ext cx="2340" cy="62766"/>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88" name="Freeform 113"/>
            <p:cNvSpPr>
              <a:spLocks/>
            </p:cNvSpPr>
            <p:nvPr>
              <p:custDataLst>
                <p:tags r:id="rId83"/>
              </p:custDataLst>
            </p:nvPr>
          </p:nvSpPr>
          <p:spPr bwMode="auto">
            <a:xfrm>
              <a:off x="5063366" y="1775372"/>
              <a:ext cx="14038" cy="59463"/>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89" name="Freeform 114"/>
            <p:cNvSpPr>
              <a:spLocks/>
            </p:cNvSpPr>
            <p:nvPr>
              <p:custDataLst>
                <p:tags r:id="rId84"/>
              </p:custDataLst>
            </p:nvPr>
          </p:nvSpPr>
          <p:spPr bwMode="auto">
            <a:xfrm>
              <a:off x="5042315" y="1534217"/>
              <a:ext cx="4679" cy="59463"/>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90" name="Freeform 115"/>
            <p:cNvSpPr>
              <a:spLocks/>
            </p:cNvSpPr>
            <p:nvPr>
              <p:custDataLst>
                <p:tags r:id="rId85"/>
              </p:custDataLst>
            </p:nvPr>
          </p:nvSpPr>
          <p:spPr bwMode="auto">
            <a:xfrm>
              <a:off x="7225227" y="3384169"/>
              <a:ext cx="37435" cy="57811"/>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91" name="Freeform 116"/>
            <p:cNvSpPr>
              <a:spLocks/>
            </p:cNvSpPr>
            <p:nvPr>
              <p:custDataLst>
                <p:tags r:id="rId86"/>
              </p:custDataLst>
            </p:nvPr>
          </p:nvSpPr>
          <p:spPr bwMode="auto">
            <a:xfrm>
              <a:off x="6787708" y="3240465"/>
              <a:ext cx="28075" cy="61113"/>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nvGrpSpPr>
            <p:cNvPr id="92" name="Group 117"/>
            <p:cNvGrpSpPr>
              <a:grpSpLocks/>
            </p:cNvGrpSpPr>
            <p:nvPr>
              <p:custDataLst>
                <p:tags r:id="rId87"/>
              </p:custDataLst>
            </p:nvPr>
          </p:nvGrpSpPr>
          <p:grpSpPr bwMode="auto">
            <a:xfrm>
              <a:off x="7925927" y="3435198"/>
              <a:ext cx="67860" cy="389795"/>
              <a:chOff x="3950" y="2430"/>
              <a:chExt cx="36" cy="234"/>
            </a:xfrm>
            <a:grpFill/>
          </p:grpSpPr>
          <p:sp>
            <p:nvSpPr>
              <p:cNvPr id="495"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96"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97"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98" name="Rectangle 121"/>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99" name="Line 122"/>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00"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01"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02" name="Line 125"/>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03"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04"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05" name="Line 128"/>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06"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07"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08"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09"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10"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11"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12"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13" name="Rectangle 136"/>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14" name="Line 137"/>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15"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16"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17" name="Line 140"/>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18"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19"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20" name="Line 143"/>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21"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22"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23"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24"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525"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grpSp>
          <p:nvGrpSpPr>
            <p:cNvPr id="93" name="Group 149"/>
            <p:cNvGrpSpPr>
              <a:grpSpLocks/>
            </p:cNvGrpSpPr>
            <p:nvPr>
              <p:custDataLst>
                <p:tags r:id="rId88"/>
              </p:custDataLst>
            </p:nvPr>
          </p:nvGrpSpPr>
          <p:grpSpPr bwMode="auto">
            <a:xfrm>
              <a:off x="10968939" y="3955627"/>
              <a:ext cx="273748" cy="222983"/>
              <a:chOff x="5486" y="2743"/>
              <a:chExt cx="137" cy="132"/>
            </a:xfrm>
            <a:grpFill/>
          </p:grpSpPr>
          <p:sp>
            <p:nvSpPr>
              <p:cNvPr id="486"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87"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88"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89"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90"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91"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92"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93"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94"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sp>
          <p:nvSpPr>
            <p:cNvPr id="94" name="Freeform 159"/>
            <p:cNvSpPr>
              <a:spLocks/>
            </p:cNvSpPr>
            <p:nvPr>
              <p:custDataLst>
                <p:tags r:id="rId89"/>
              </p:custDataLst>
            </p:nvPr>
          </p:nvSpPr>
          <p:spPr bwMode="auto">
            <a:xfrm>
              <a:off x="5582779" y="3683131"/>
              <a:ext cx="16378" cy="57811"/>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95" name="Freeform 160"/>
            <p:cNvSpPr>
              <a:spLocks/>
            </p:cNvSpPr>
            <p:nvPr>
              <p:custDataLst>
                <p:tags r:id="rId90"/>
              </p:custDataLst>
            </p:nvPr>
          </p:nvSpPr>
          <p:spPr bwMode="auto">
            <a:xfrm>
              <a:off x="5470471" y="3828491"/>
              <a:ext cx="21059" cy="59463"/>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96" name="Freeform 161"/>
            <p:cNvSpPr>
              <a:spLocks/>
            </p:cNvSpPr>
            <p:nvPr>
              <p:custDataLst>
                <p:tags r:id="rId91"/>
              </p:custDataLst>
            </p:nvPr>
          </p:nvSpPr>
          <p:spPr bwMode="auto">
            <a:xfrm>
              <a:off x="8121328" y="2087547"/>
              <a:ext cx="1073909" cy="345214"/>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97" name="Freeform 162"/>
            <p:cNvSpPr>
              <a:spLocks/>
            </p:cNvSpPr>
            <p:nvPr>
              <p:custDataLst>
                <p:tags r:id="rId92"/>
              </p:custDataLst>
            </p:nvPr>
          </p:nvSpPr>
          <p:spPr bwMode="auto">
            <a:xfrm>
              <a:off x="2707325" y="4134058"/>
              <a:ext cx="484312" cy="432757"/>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98" name="Freeform 163"/>
            <p:cNvSpPr>
              <a:spLocks/>
            </p:cNvSpPr>
            <p:nvPr>
              <p:custDataLst>
                <p:tags r:id="rId93"/>
              </p:custDataLst>
            </p:nvPr>
          </p:nvSpPr>
          <p:spPr bwMode="auto">
            <a:xfrm>
              <a:off x="3023177" y="3541083"/>
              <a:ext cx="175476" cy="224637"/>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nvGrpSpPr>
            <p:cNvPr id="99" name="Group 164"/>
            <p:cNvGrpSpPr>
              <a:grpSpLocks/>
            </p:cNvGrpSpPr>
            <p:nvPr>
              <p:custDataLst>
                <p:tags r:id="rId94"/>
              </p:custDataLst>
            </p:nvPr>
          </p:nvGrpSpPr>
          <p:grpSpPr bwMode="auto">
            <a:xfrm>
              <a:off x="2602083" y="3369229"/>
              <a:ext cx="477301" cy="417884"/>
              <a:chOff x="1486" y="2412"/>
              <a:chExt cx="244" cy="256"/>
            </a:xfrm>
            <a:grpFill/>
          </p:grpSpPr>
          <p:sp>
            <p:nvSpPr>
              <p:cNvPr id="482"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83"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84"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85"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sp>
          <p:nvSpPr>
            <p:cNvPr id="100" name="Freeform 169"/>
            <p:cNvSpPr>
              <a:spLocks/>
            </p:cNvSpPr>
            <p:nvPr>
              <p:custDataLst>
                <p:tags r:id="rId95"/>
              </p:custDataLst>
            </p:nvPr>
          </p:nvSpPr>
          <p:spPr bwMode="auto">
            <a:xfrm>
              <a:off x="10002420" y="4971492"/>
              <a:ext cx="46793" cy="11562"/>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01" name="Freeform 170"/>
            <p:cNvSpPr>
              <a:spLocks/>
            </p:cNvSpPr>
            <p:nvPr>
              <p:custDataLst>
                <p:tags r:id="rId96"/>
              </p:custDataLst>
            </p:nvPr>
          </p:nvSpPr>
          <p:spPr bwMode="auto">
            <a:xfrm>
              <a:off x="10173214" y="5110245"/>
              <a:ext cx="2341" cy="4955"/>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02" name="Line 171"/>
            <p:cNvSpPr>
              <a:spLocks noChangeShapeType="1"/>
            </p:cNvSpPr>
            <p:nvPr>
              <p:custDataLst>
                <p:tags r:id="rId97"/>
              </p:custDataLst>
            </p:nvPr>
          </p:nvSpPr>
          <p:spPr bwMode="auto">
            <a:xfrm flipV="1">
              <a:off x="10306577" y="5108587"/>
              <a:ext cx="2340" cy="13214"/>
            </a:xfrm>
            <a:prstGeom prst="line">
              <a:avLst/>
            </a:prstGeom>
            <a:grpFill/>
            <a:ln w="9525">
              <a:solidFill>
                <a:srgbClr val="FFFFFF"/>
              </a:solidFill>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03" name="Freeform 172"/>
            <p:cNvSpPr>
              <a:spLocks/>
            </p:cNvSpPr>
            <p:nvPr>
              <p:custDataLst>
                <p:tags r:id="rId98"/>
              </p:custDataLst>
            </p:nvPr>
          </p:nvSpPr>
          <p:spPr bwMode="auto">
            <a:xfrm>
              <a:off x="10306576" y="5108585"/>
              <a:ext cx="4679" cy="16518"/>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04" name="Freeform 173"/>
            <p:cNvSpPr>
              <a:spLocks/>
            </p:cNvSpPr>
            <p:nvPr>
              <p:custDataLst>
                <p:tags r:id="rId99"/>
              </p:custDataLst>
            </p:nvPr>
          </p:nvSpPr>
          <p:spPr bwMode="auto">
            <a:xfrm>
              <a:off x="10746435" y="4556907"/>
              <a:ext cx="32756" cy="29731"/>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05" name="Freeform 174"/>
            <p:cNvSpPr>
              <a:spLocks/>
            </p:cNvSpPr>
            <p:nvPr>
              <p:custDataLst>
                <p:tags r:id="rId100"/>
              </p:custDataLst>
            </p:nvPr>
          </p:nvSpPr>
          <p:spPr bwMode="auto">
            <a:xfrm>
              <a:off x="10755794" y="4480923"/>
              <a:ext cx="39773" cy="41295"/>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06" name="Freeform 175"/>
            <p:cNvSpPr>
              <a:spLocks/>
            </p:cNvSpPr>
            <p:nvPr>
              <p:custDataLst>
                <p:tags r:id="rId101"/>
              </p:custDataLst>
            </p:nvPr>
          </p:nvSpPr>
          <p:spPr bwMode="auto">
            <a:xfrm>
              <a:off x="10720700" y="4456149"/>
              <a:ext cx="25738" cy="31383"/>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07" name="Freeform 176"/>
            <p:cNvSpPr>
              <a:spLocks/>
            </p:cNvSpPr>
            <p:nvPr>
              <p:custDataLst>
                <p:tags r:id="rId102"/>
              </p:custDataLst>
            </p:nvPr>
          </p:nvSpPr>
          <p:spPr bwMode="auto">
            <a:xfrm>
              <a:off x="10601380" y="4328966"/>
              <a:ext cx="100604" cy="143701"/>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08" name="Line 177"/>
            <p:cNvSpPr>
              <a:spLocks noChangeShapeType="1"/>
            </p:cNvSpPr>
            <p:nvPr>
              <p:custDataLst>
                <p:tags r:id="rId103"/>
              </p:custDataLst>
            </p:nvPr>
          </p:nvSpPr>
          <p:spPr bwMode="auto">
            <a:xfrm flipH="1" flipV="1">
              <a:off x="10592020" y="4294282"/>
              <a:ext cx="9357" cy="34686"/>
            </a:xfrm>
            <a:prstGeom prst="line">
              <a:avLst/>
            </a:prstGeom>
            <a:grpFill/>
            <a:ln w="9525">
              <a:solidFill>
                <a:srgbClr val="FFFFFF"/>
              </a:solidFill>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09" name="Freeform 178"/>
            <p:cNvSpPr>
              <a:spLocks/>
            </p:cNvSpPr>
            <p:nvPr>
              <p:custDataLst>
                <p:tags r:id="rId104"/>
              </p:custDataLst>
            </p:nvPr>
          </p:nvSpPr>
          <p:spPr bwMode="auto">
            <a:xfrm>
              <a:off x="10592020" y="4277757"/>
              <a:ext cx="9357" cy="16518"/>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10" name="Line 179"/>
            <p:cNvSpPr>
              <a:spLocks noChangeShapeType="1"/>
            </p:cNvSpPr>
            <p:nvPr>
              <p:custDataLst>
                <p:tags r:id="rId105"/>
              </p:custDataLst>
            </p:nvPr>
          </p:nvSpPr>
          <p:spPr bwMode="auto">
            <a:xfrm flipV="1">
              <a:off x="10601374" y="4264547"/>
              <a:ext cx="0" cy="13214"/>
            </a:xfrm>
            <a:prstGeom prst="line">
              <a:avLst/>
            </a:prstGeom>
            <a:grpFill/>
            <a:ln w="9525">
              <a:solidFill>
                <a:srgbClr val="FFFFFF"/>
              </a:solidFill>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11" name="Freeform 180"/>
            <p:cNvSpPr>
              <a:spLocks/>
            </p:cNvSpPr>
            <p:nvPr>
              <p:custDataLst>
                <p:tags r:id="rId106"/>
              </p:custDataLst>
            </p:nvPr>
          </p:nvSpPr>
          <p:spPr bwMode="auto">
            <a:xfrm>
              <a:off x="10533523" y="4195174"/>
              <a:ext cx="67851" cy="69375"/>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12" name="Freeform 181"/>
            <p:cNvSpPr>
              <a:spLocks/>
            </p:cNvSpPr>
            <p:nvPr>
              <p:custDataLst>
                <p:tags r:id="rId107"/>
              </p:custDataLst>
            </p:nvPr>
          </p:nvSpPr>
          <p:spPr bwMode="auto">
            <a:xfrm>
              <a:off x="10554584" y="4135711"/>
              <a:ext cx="2340" cy="52857"/>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13" name="Freeform 182"/>
            <p:cNvSpPr>
              <a:spLocks/>
            </p:cNvSpPr>
            <p:nvPr>
              <p:custDataLst>
                <p:tags r:id="rId108"/>
              </p:custDataLst>
            </p:nvPr>
          </p:nvSpPr>
          <p:spPr bwMode="auto">
            <a:xfrm>
              <a:off x="10563939" y="4129104"/>
              <a:ext cx="11697" cy="37988"/>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14" name="Freeform 183"/>
            <p:cNvSpPr>
              <a:spLocks/>
            </p:cNvSpPr>
            <p:nvPr>
              <p:custDataLst>
                <p:tags r:id="rId109"/>
              </p:custDataLst>
            </p:nvPr>
          </p:nvSpPr>
          <p:spPr bwMode="auto">
            <a:xfrm>
              <a:off x="10587340" y="4109283"/>
              <a:ext cx="2340" cy="23125"/>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15" name="Line 184"/>
            <p:cNvSpPr>
              <a:spLocks noChangeShapeType="1"/>
            </p:cNvSpPr>
            <p:nvPr>
              <p:custDataLst>
                <p:tags r:id="rId110"/>
              </p:custDataLst>
            </p:nvPr>
          </p:nvSpPr>
          <p:spPr bwMode="auto">
            <a:xfrm flipV="1">
              <a:off x="10587340" y="4129107"/>
              <a:ext cx="2340" cy="3304"/>
            </a:xfrm>
            <a:prstGeom prst="line">
              <a:avLst/>
            </a:prstGeom>
            <a:grpFill/>
            <a:ln w="9525">
              <a:solidFill>
                <a:srgbClr val="FFFFFF"/>
              </a:solidFill>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16" name="Freeform 185"/>
            <p:cNvSpPr>
              <a:spLocks/>
            </p:cNvSpPr>
            <p:nvPr>
              <p:custDataLst>
                <p:tags r:id="rId111"/>
              </p:custDataLst>
            </p:nvPr>
          </p:nvSpPr>
          <p:spPr bwMode="auto">
            <a:xfrm>
              <a:off x="10563939" y="4112584"/>
              <a:ext cx="2340" cy="16518"/>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17" name="Freeform 186"/>
            <p:cNvSpPr>
              <a:spLocks/>
            </p:cNvSpPr>
            <p:nvPr>
              <p:custDataLst>
                <p:tags r:id="rId112"/>
              </p:custDataLst>
            </p:nvPr>
          </p:nvSpPr>
          <p:spPr bwMode="auto">
            <a:xfrm>
              <a:off x="10152164" y="5141624"/>
              <a:ext cx="142719" cy="90847"/>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18" name="Freeform 187"/>
            <p:cNvSpPr>
              <a:spLocks/>
            </p:cNvSpPr>
            <p:nvPr>
              <p:custDataLst>
                <p:tags r:id="rId113"/>
              </p:custDataLst>
            </p:nvPr>
          </p:nvSpPr>
          <p:spPr bwMode="auto">
            <a:xfrm>
              <a:off x="10355713" y="4328963"/>
              <a:ext cx="4679" cy="18170"/>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19" name="Freeform 188"/>
            <p:cNvSpPr>
              <a:spLocks/>
            </p:cNvSpPr>
            <p:nvPr>
              <p:custDataLst>
                <p:tags r:id="rId114"/>
              </p:custDataLst>
            </p:nvPr>
          </p:nvSpPr>
          <p:spPr bwMode="auto">
            <a:xfrm>
              <a:off x="10257443" y="4248027"/>
              <a:ext cx="23397" cy="16518"/>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20" name="Freeform 189"/>
            <p:cNvSpPr>
              <a:spLocks/>
            </p:cNvSpPr>
            <p:nvPr>
              <p:custDataLst>
                <p:tags r:id="rId115"/>
              </p:custDataLst>
            </p:nvPr>
          </p:nvSpPr>
          <p:spPr bwMode="auto">
            <a:xfrm>
              <a:off x="10280840" y="4157182"/>
              <a:ext cx="4679" cy="9911"/>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21" name="Freeform 190"/>
            <p:cNvSpPr>
              <a:spLocks/>
            </p:cNvSpPr>
            <p:nvPr>
              <p:custDataLst>
                <p:tags r:id="rId116"/>
              </p:custDataLst>
            </p:nvPr>
          </p:nvSpPr>
          <p:spPr bwMode="auto">
            <a:xfrm>
              <a:off x="10044533" y="4160489"/>
              <a:ext cx="53812" cy="23125"/>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22" name="Freeform 191"/>
            <p:cNvSpPr>
              <a:spLocks/>
            </p:cNvSpPr>
            <p:nvPr>
              <p:custDataLst>
                <p:tags r:id="rId117"/>
              </p:custDataLst>
            </p:nvPr>
          </p:nvSpPr>
          <p:spPr bwMode="auto">
            <a:xfrm>
              <a:off x="10404844" y="4642801"/>
              <a:ext cx="2340" cy="14867"/>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23" name="Freeform 192"/>
            <p:cNvSpPr>
              <a:spLocks/>
            </p:cNvSpPr>
            <p:nvPr>
              <p:custDataLst>
                <p:tags r:id="rId118"/>
              </p:custDataLst>
            </p:nvPr>
          </p:nvSpPr>
          <p:spPr bwMode="auto">
            <a:xfrm>
              <a:off x="9279461" y="4129103"/>
              <a:ext cx="1502070" cy="944797"/>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24" name="Freeform 193"/>
            <p:cNvSpPr>
              <a:spLocks/>
            </p:cNvSpPr>
            <p:nvPr>
              <p:custDataLst>
                <p:tags r:id="rId119"/>
              </p:custDataLst>
            </p:nvPr>
          </p:nvSpPr>
          <p:spPr bwMode="auto">
            <a:xfrm>
              <a:off x="1153781" y="2741636"/>
              <a:ext cx="985001" cy="604540"/>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25" name="Freeform 194"/>
            <p:cNvSpPr>
              <a:spLocks/>
            </p:cNvSpPr>
            <p:nvPr>
              <p:custDataLst>
                <p:tags r:id="rId120"/>
              </p:custDataLst>
            </p:nvPr>
          </p:nvSpPr>
          <p:spPr bwMode="auto">
            <a:xfrm>
              <a:off x="3032536" y="4447889"/>
              <a:ext cx="311178" cy="275843"/>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26" name="Freeform 195"/>
            <p:cNvSpPr>
              <a:spLocks/>
            </p:cNvSpPr>
            <p:nvPr>
              <p:custDataLst>
                <p:tags r:id="rId121"/>
              </p:custDataLst>
            </p:nvPr>
          </p:nvSpPr>
          <p:spPr bwMode="auto">
            <a:xfrm>
              <a:off x="3282878" y="3620365"/>
              <a:ext cx="107625" cy="113970"/>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27" name="Freeform 196"/>
            <p:cNvSpPr>
              <a:spLocks/>
            </p:cNvSpPr>
            <p:nvPr>
              <p:custDataLst>
                <p:tags r:id="rId122"/>
              </p:custDataLst>
            </p:nvPr>
          </p:nvSpPr>
          <p:spPr bwMode="auto">
            <a:xfrm>
              <a:off x="2566941" y="3161181"/>
              <a:ext cx="102945" cy="61113"/>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28" name="Freeform 197"/>
            <p:cNvSpPr>
              <a:spLocks/>
            </p:cNvSpPr>
            <p:nvPr>
              <p:custDataLst>
                <p:tags r:id="rId123"/>
              </p:custDataLst>
            </p:nvPr>
          </p:nvSpPr>
          <p:spPr bwMode="auto">
            <a:xfrm>
              <a:off x="3107404" y="4943306"/>
              <a:ext cx="35095" cy="59463"/>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29" name="Freeform 198"/>
            <p:cNvSpPr>
              <a:spLocks/>
            </p:cNvSpPr>
            <p:nvPr>
              <p:custDataLst>
                <p:tags r:id="rId124"/>
              </p:custDataLst>
            </p:nvPr>
          </p:nvSpPr>
          <p:spPr bwMode="auto">
            <a:xfrm>
              <a:off x="3055930" y="4921830"/>
              <a:ext cx="51472" cy="61113"/>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30" name="Freeform 199"/>
            <p:cNvSpPr>
              <a:spLocks/>
            </p:cNvSpPr>
            <p:nvPr>
              <p:custDataLst>
                <p:tags r:id="rId125"/>
              </p:custDataLst>
            </p:nvPr>
          </p:nvSpPr>
          <p:spPr bwMode="auto">
            <a:xfrm>
              <a:off x="3055930" y="5567772"/>
              <a:ext cx="32756" cy="62766"/>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31" name="Freeform 200"/>
            <p:cNvSpPr>
              <a:spLocks/>
            </p:cNvSpPr>
            <p:nvPr>
              <p:custDataLst>
                <p:tags r:id="rId126"/>
              </p:custDataLst>
            </p:nvPr>
          </p:nvSpPr>
          <p:spPr bwMode="auto">
            <a:xfrm>
              <a:off x="3011476" y="5561170"/>
              <a:ext cx="37435" cy="62766"/>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32" name="Freeform 201"/>
            <p:cNvSpPr>
              <a:spLocks/>
            </p:cNvSpPr>
            <p:nvPr>
              <p:custDataLst>
                <p:tags r:id="rId127"/>
              </p:custDataLst>
            </p:nvPr>
          </p:nvSpPr>
          <p:spPr bwMode="auto">
            <a:xfrm>
              <a:off x="2974044" y="5551254"/>
              <a:ext cx="42115" cy="61116"/>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33" name="Freeform 202"/>
            <p:cNvSpPr>
              <a:spLocks/>
            </p:cNvSpPr>
            <p:nvPr>
              <p:custDataLst>
                <p:tags r:id="rId128"/>
              </p:custDataLst>
            </p:nvPr>
          </p:nvSpPr>
          <p:spPr bwMode="auto">
            <a:xfrm>
              <a:off x="2938945" y="5538046"/>
              <a:ext cx="49134" cy="59463"/>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34" name="Freeform 203"/>
            <p:cNvSpPr>
              <a:spLocks/>
            </p:cNvSpPr>
            <p:nvPr>
              <p:custDataLst>
                <p:tags r:id="rId129"/>
              </p:custDataLst>
            </p:nvPr>
          </p:nvSpPr>
          <p:spPr bwMode="auto">
            <a:xfrm>
              <a:off x="2929587" y="5518223"/>
              <a:ext cx="44456" cy="59463"/>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35" name="Freeform 204"/>
            <p:cNvSpPr>
              <a:spLocks/>
            </p:cNvSpPr>
            <p:nvPr>
              <p:custDataLst>
                <p:tags r:id="rId130"/>
              </p:custDataLst>
            </p:nvPr>
          </p:nvSpPr>
          <p:spPr bwMode="auto">
            <a:xfrm>
              <a:off x="2782187" y="5196132"/>
              <a:ext cx="37435" cy="62766"/>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36" name="Freeform 205"/>
            <p:cNvSpPr>
              <a:spLocks/>
            </p:cNvSpPr>
            <p:nvPr>
              <p:custDataLst>
                <p:tags r:id="rId131"/>
              </p:custDataLst>
            </p:nvPr>
          </p:nvSpPr>
          <p:spPr bwMode="auto">
            <a:xfrm>
              <a:off x="2826641" y="5295234"/>
              <a:ext cx="25738" cy="56161"/>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37" name="Freeform 206"/>
            <p:cNvSpPr>
              <a:spLocks/>
            </p:cNvSpPr>
            <p:nvPr>
              <p:custDataLst>
                <p:tags r:id="rId132"/>
              </p:custDataLst>
            </p:nvPr>
          </p:nvSpPr>
          <p:spPr bwMode="auto">
            <a:xfrm>
              <a:off x="2833659" y="5318359"/>
              <a:ext cx="11697" cy="61113"/>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38" name="Freeform 207"/>
            <p:cNvSpPr>
              <a:spLocks/>
            </p:cNvSpPr>
            <p:nvPr>
              <p:custDataLst>
                <p:tags r:id="rId133"/>
              </p:custDataLst>
            </p:nvPr>
          </p:nvSpPr>
          <p:spPr bwMode="auto">
            <a:xfrm>
              <a:off x="2854716" y="5382776"/>
              <a:ext cx="25738" cy="62766"/>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39" name="Freeform 208"/>
            <p:cNvSpPr>
              <a:spLocks/>
            </p:cNvSpPr>
            <p:nvPr>
              <p:custDataLst>
                <p:tags r:id="rId134"/>
              </p:custDataLst>
            </p:nvPr>
          </p:nvSpPr>
          <p:spPr bwMode="auto">
            <a:xfrm>
              <a:off x="2836002" y="5395991"/>
              <a:ext cx="39775" cy="61116"/>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40" name="Freeform 209"/>
            <p:cNvSpPr>
              <a:spLocks/>
            </p:cNvSpPr>
            <p:nvPr>
              <p:custDataLst>
                <p:tags r:id="rId135"/>
              </p:custDataLst>
            </p:nvPr>
          </p:nvSpPr>
          <p:spPr bwMode="auto">
            <a:xfrm>
              <a:off x="2880454" y="5430680"/>
              <a:ext cx="16377" cy="61113"/>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41" name="Freeform 210"/>
            <p:cNvSpPr>
              <a:spLocks/>
            </p:cNvSpPr>
            <p:nvPr>
              <p:custDataLst>
                <p:tags r:id="rId136"/>
              </p:custDataLst>
            </p:nvPr>
          </p:nvSpPr>
          <p:spPr bwMode="auto">
            <a:xfrm>
              <a:off x="2875774" y="5465367"/>
              <a:ext cx="30415" cy="57811"/>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42" name="Freeform 211"/>
            <p:cNvSpPr>
              <a:spLocks/>
            </p:cNvSpPr>
            <p:nvPr>
              <p:custDataLst>
                <p:tags r:id="rId137"/>
              </p:custDataLst>
            </p:nvPr>
          </p:nvSpPr>
          <p:spPr bwMode="auto">
            <a:xfrm>
              <a:off x="2910869" y="5480234"/>
              <a:ext cx="25738" cy="59463"/>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43" name="Freeform 212"/>
            <p:cNvSpPr>
              <a:spLocks/>
            </p:cNvSpPr>
            <p:nvPr>
              <p:custDataLst>
                <p:tags r:id="rId138"/>
              </p:custDataLst>
            </p:nvPr>
          </p:nvSpPr>
          <p:spPr bwMode="auto">
            <a:xfrm>
              <a:off x="2913213" y="5509966"/>
              <a:ext cx="9357" cy="59463"/>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44" name="Freeform 213"/>
            <p:cNvSpPr>
              <a:spLocks/>
            </p:cNvSpPr>
            <p:nvPr>
              <p:custDataLst>
                <p:tags r:id="rId139"/>
              </p:custDataLst>
            </p:nvPr>
          </p:nvSpPr>
          <p:spPr bwMode="auto">
            <a:xfrm>
              <a:off x="3023175" y="4915227"/>
              <a:ext cx="51472" cy="59463"/>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45" name="Freeform 214"/>
            <p:cNvSpPr>
              <a:spLocks/>
            </p:cNvSpPr>
            <p:nvPr>
              <p:custDataLst>
                <p:tags r:id="rId140"/>
              </p:custDataLst>
            </p:nvPr>
          </p:nvSpPr>
          <p:spPr bwMode="auto">
            <a:xfrm>
              <a:off x="3079329" y="5521525"/>
              <a:ext cx="182495" cy="104061"/>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46" name="Freeform 215"/>
            <p:cNvSpPr>
              <a:spLocks/>
            </p:cNvSpPr>
            <p:nvPr>
              <p:custDataLst>
                <p:tags r:id="rId141"/>
              </p:custDataLst>
            </p:nvPr>
          </p:nvSpPr>
          <p:spPr bwMode="auto">
            <a:xfrm>
              <a:off x="2419537" y="3197519"/>
              <a:ext cx="77210" cy="61113"/>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47" name="Freeform 216"/>
            <p:cNvSpPr>
              <a:spLocks/>
            </p:cNvSpPr>
            <p:nvPr>
              <p:custDataLst>
                <p:tags r:id="rId142"/>
              </p:custDataLst>
            </p:nvPr>
          </p:nvSpPr>
          <p:spPr bwMode="auto">
            <a:xfrm>
              <a:off x="2208973" y="3053818"/>
              <a:ext cx="369668" cy="113970"/>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48" name="Freeform 217"/>
            <p:cNvSpPr>
              <a:spLocks/>
            </p:cNvSpPr>
            <p:nvPr>
              <p:custDataLst>
                <p:tags r:id="rId143"/>
              </p:custDataLst>
            </p:nvPr>
          </p:nvSpPr>
          <p:spPr bwMode="auto">
            <a:xfrm>
              <a:off x="2658183" y="3161184"/>
              <a:ext cx="131022" cy="72677"/>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49" name="Freeform 218"/>
            <p:cNvSpPr>
              <a:spLocks/>
            </p:cNvSpPr>
            <p:nvPr>
              <p:custDataLst>
                <p:tags r:id="rId144"/>
              </p:custDataLst>
            </p:nvPr>
          </p:nvSpPr>
          <p:spPr bwMode="auto">
            <a:xfrm>
              <a:off x="2021796" y="3223946"/>
              <a:ext cx="49134" cy="87543"/>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50" name="Freeform 219"/>
            <p:cNvSpPr>
              <a:spLocks/>
            </p:cNvSpPr>
            <p:nvPr>
              <p:custDataLst>
                <p:tags r:id="rId145"/>
              </p:custDataLst>
            </p:nvPr>
          </p:nvSpPr>
          <p:spPr bwMode="auto">
            <a:xfrm>
              <a:off x="1904810" y="3223950"/>
              <a:ext cx="138041" cy="151960"/>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51" name="Freeform 220"/>
            <p:cNvSpPr>
              <a:spLocks/>
            </p:cNvSpPr>
            <p:nvPr>
              <p:custDataLst>
                <p:tags r:id="rId146"/>
              </p:custDataLst>
            </p:nvPr>
          </p:nvSpPr>
          <p:spPr bwMode="auto">
            <a:xfrm>
              <a:off x="1975002" y="3339575"/>
              <a:ext cx="105286" cy="59463"/>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52" name="Freeform 221"/>
            <p:cNvSpPr>
              <a:spLocks/>
            </p:cNvSpPr>
            <p:nvPr>
              <p:custDataLst>
                <p:tags r:id="rId147"/>
              </p:custDataLst>
            </p:nvPr>
          </p:nvSpPr>
          <p:spPr bwMode="auto">
            <a:xfrm>
              <a:off x="2021795" y="3299927"/>
              <a:ext cx="210570" cy="90847"/>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53" name="Freeform 222"/>
            <p:cNvSpPr>
              <a:spLocks/>
            </p:cNvSpPr>
            <p:nvPr>
              <p:custDataLst>
                <p:tags r:id="rId148"/>
              </p:custDataLst>
            </p:nvPr>
          </p:nvSpPr>
          <p:spPr bwMode="auto">
            <a:xfrm>
              <a:off x="2047535" y="3331315"/>
              <a:ext cx="184833" cy="127187"/>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54" name="Freeform 223"/>
            <p:cNvSpPr>
              <a:spLocks/>
            </p:cNvSpPr>
            <p:nvPr>
              <p:custDataLst>
                <p:tags r:id="rId149"/>
              </p:custDataLst>
            </p:nvPr>
          </p:nvSpPr>
          <p:spPr bwMode="auto">
            <a:xfrm>
              <a:off x="2122399" y="3448586"/>
              <a:ext cx="124003" cy="104060"/>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55" name="Freeform 224"/>
            <p:cNvSpPr>
              <a:spLocks/>
            </p:cNvSpPr>
            <p:nvPr>
              <p:custDataLst>
                <p:tags r:id="rId150"/>
              </p:custDataLst>
            </p:nvPr>
          </p:nvSpPr>
          <p:spPr bwMode="auto">
            <a:xfrm>
              <a:off x="2241726" y="3504745"/>
              <a:ext cx="210570" cy="82588"/>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56" name="Freeform 225"/>
            <p:cNvSpPr>
              <a:spLocks/>
            </p:cNvSpPr>
            <p:nvPr>
              <p:custDataLst>
                <p:tags r:id="rId151"/>
              </p:custDataLst>
            </p:nvPr>
          </p:nvSpPr>
          <p:spPr bwMode="auto">
            <a:xfrm>
              <a:off x="3245447" y="4809626"/>
              <a:ext cx="196533" cy="161871"/>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57" name="Freeform 226"/>
            <p:cNvSpPr>
              <a:spLocks/>
            </p:cNvSpPr>
            <p:nvPr>
              <p:custDataLst>
                <p:tags r:id="rId152"/>
              </p:custDataLst>
            </p:nvPr>
          </p:nvSpPr>
          <p:spPr bwMode="auto">
            <a:xfrm>
              <a:off x="5524283" y="1289756"/>
              <a:ext cx="348611" cy="95801"/>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58" name="Freeform 227"/>
            <p:cNvSpPr>
              <a:spLocks/>
            </p:cNvSpPr>
            <p:nvPr>
              <p:custDataLst>
                <p:tags r:id="rId153"/>
              </p:custDataLst>
            </p:nvPr>
          </p:nvSpPr>
          <p:spPr bwMode="auto">
            <a:xfrm>
              <a:off x="5416660" y="1529256"/>
              <a:ext cx="662127" cy="376598"/>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59" name="Freeform 228"/>
            <p:cNvSpPr>
              <a:spLocks/>
            </p:cNvSpPr>
            <p:nvPr>
              <p:custDataLst>
                <p:tags r:id="rId154"/>
              </p:custDataLst>
            </p:nvPr>
          </p:nvSpPr>
          <p:spPr bwMode="auto">
            <a:xfrm>
              <a:off x="5917348" y="2404682"/>
              <a:ext cx="72529" cy="94149"/>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60" name="Freeform 229"/>
            <p:cNvSpPr>
              <a:spLocks/>
            </p:cNvSpPr>
            <p:nvPr>
              <p:custDataLst>
                <p:tags r:id="rId155"/>
              </p:custDataLst>
            </p:nvPr>
          </p:nvSpPr>
          <p:spPr bwMode="auto">
            <a:xfrm>
              <a:off x="5486850" y="2237854"/>
              <a:ext cx="124003" cy="61116"/>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61" name="Freeform 230"/>
            <p:cNvSpPr>
              <a:spLocks/>
            </p:cNvSpPr>
            <p:nvPr>
              <p:custDataLst>
                <p:tags r:id="rId156"/>
              </p:custDataLst>
            </p:nvPr>
          </p:nvSpPr>
          <p:spPr bwMode="auto">
            <a:xfrm>
              <a:off x="5395603" y="2049560"/>
              <a:ext cx="124004" cy="75981"/>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62" name="Freeform 231"/>
            <p:cNvSpPr>
              <a:spLocks/>
            </p:cNvSpPr>
            <p:nvPr>
              <p:custDataLst>
                <p:tags r:id="rId157"/>
              </p:custDataLst>
            </p:nvPr>
          </p:nvSpPr>
          <p:spPr bwMode="auto">
            <a:xfrm>
              <a:off x="5367527" y="2115632"/>
              <a:ext cx="124004" cy="59463"/>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63" name="Freeform 232"/>
            <p:cNvSpPr>
              <a:spLocks/>
            </p:cNvSpPr>
            <p:nvPr>
              <p:custDataLst>
                <p:tags r:id="rId158"/>
              </p:custDataLst>
            </p:nvPr>
          </p:nvSpPr>
          <p:spPr bwMode="auto">
            <a:xfrm>
              <a:off x="6488230" y="2692091"/>
              <a:ext cx="49132" cy="137093"/>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64" name="Freeform 233"/>
            <p:cNvSpPr>
              <a:spLocks/>
            </p:cNvSpPr>
            <p:nvPr>
              <p:custDataLst>
                <p:tags r:id="rId159"/>
              </p:custDataLst>
            </p:nvPr>
          </p:nvSpPr>
          <p:spPr bwMode="auto">
            <a:xfrm>
              <a:off x="6413364" y="2746591"/>
              <a:ext cx="102945" cy="135444"/>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65" name="Freeform 234"/>
            <p:cNvSpPr>
              <a:spLocks/>
            </p:cNvSpPr>
            <p:nvPr>
              <p:custDataLst>
                <p:tags r:id="rId160"/>
              </p:custDataLst>
            </p:nvPr>
          </p:nvSpPr>
          <p:spPr bwMode="auto">
            <a:xfrm>
              <a:off x="4941707" y="1970277"/>
              <a:ext cx="142720" cy="150310"/>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66" name="Freeform 235"/>
            <p:cNvSpPr>
              <a:spLocks/>
            </p:cNvSpPr>
            <p:nvPr>
              <p:custDataLst>
                <p:tags r:id="rId161"/>
              </p:custDataLst>
            </p:nvPr>
          </p:nvSpPr>
          <p:spPr bwMode="auto">
            <a:xfrm>
              <a:off x="4665626" y="2918375"/>
              <a:ext cx="451557" cy="406331"/>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67" name="Freeform 236"/>
            <p:cNvSpPr>
              <a:spLocks/>
            </p:cNvSpPr>
            <p:nvPr>
              <p:custDataLst>
                <p:tags r:id="rId162"/>
              </p:custDataLst>
            </p:nvPr>
          </p:nvSpPr>
          <p:spPr bwMode="auto">
            <a:xfrm>
              <a:off x="4836422" y="2981144"/>
              <a:ext cx="610654" cy="487266"/>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68" name="Freeform 237"/>
            <p:cNvSpPr>
              <a:spLocks/>
            </p:cNvSpPr>
            <p:nvPr>
              <p:custDataLst>
                <p:tags r:id="rId163"/>
              </p:custDataLst>
            </p:nvPr>
          </p:nvSpPr>
          <p:spPr bwMode="auto">
            <a:xfrm>
              <a:off x="4981484" y="2571508"/>
              <a:ext cx="727637" cy="602887"/>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69" name="Freeform 238"/>
            <p:cNvSpPr>
              <a:spLocks/>
            </p:cNvSpPr>
            <p:nvPr>
              <p:custDataLst>
                <p:tags r:id="rId164"/>
              </p:custDataLst>
            </p:nvPr>
          </p:nvSpPr>
          <p:spPr bwMode="auto">
            <a:xfrm>
              <a:off x="5624891" y="2711905"/>
              <a:ext cx="566201" cy="454229"/>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70" name="Freeform 239"/>
            <p:cNvSpPr>
              <a:spLocks/>
            </p:cNvSpPr>
            <p:nvPr>
              <p:custDataLst>
                <p:tags r:id="rId165"/>
              </p:custDataLst>
            </p:nvPr>
          </p:nvSpPr>
          <p:spPr bwMode="auto">
            <a:xfrm>
              <a:off x="5554699" y="2571506"/>
              <a:ext cx="138041" cy="246112"/>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71" name="Freeform 240"/>
            <p:cNvSpPr>
              <a:spLocks/>
            </p:cNvSpPr>
            <p:nvPr>
              <p:custDataLst>
                <p:tags r:id="rId166"/>
              </p:custDataLst>
            </p:nvPr>
          </p:nvSpPr>
          <p:spPr bwMode="auto">
            <a:xfrm>
              <a:off x="4644571" y="2895248"/>
              <a:ext cx="341593" cy="224637"/>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72" name="Freeform 241"/>
            <p:cNvSpPr>
              <a:spLocks/>
            </p:cNvSpPr>
            <p:nvPr>
              <p:custDataLst>
                <p:tags r:id="rId167"/>
              </p:custDataLst>
            </p:nvPr>
          </p:nvSpPr>
          <p:spPr bwMode="auto">
            <a:xfrm>
              <a:off x="4597773" y="1654793"/>
              <a:ext cx="280761" cy="97453"/>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73" name="Freeform 242"/>
            <p:cNvSpPr>
              <a:spLocks/>
            </p:cNvSpPr>
            <p:nvPr>
              <p:custDataLst>
                <p:tags r:id="rId168"/>
              </p:custDataLst>
            </p:nvPr>
          </p:nvSpPr>
          <p:spPr bwMode="auto">
            <a:xfrm>
              <a:off x="5765274" y="1928985"/>
              <a:ext cx="21059" cy="59463"/>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74" name="Freeform 243"/>
            <p:cNvSpPr>
              <a:spLocks/>
            </p:cNvSpPr>
            <p:nvPr>
              <p:custDataLst>
                <p:tags r:id="rId169"/>
              </p:custDataLst>
            </p:nvPr>
          </p:nvSpPr>
          <p:spPr bwMode="auto">
            <a:xfrm>
              <a:off x="5599159" y="1578813"/>
              <a:ext cx="346272" cy="411285"/>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75" name="Freeform 244"/>
            <p:cNvSpPr>
              <a:spLocks/>
            </p:cNvSpPr>
            <p:nvPr>
              <p:custDataLst>
                <p:tags r:id="rId170"/>
              </p:custDataLst>
            </p:nvPr>
          </p:nvSpPr>
          <p:spPr bwMode="auto">
            <a:xfrm>
              <a:off x="5802706" y="1905859"/>
              <a:ext cx="39775" cy="59463"/>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76" name="Freeform 245"/>
            <p:cNvSpPr>
              <a:spLocks/>
            </p:cNvSpPr>
            <p:nvPr>
              <p:custDataLst>
                <p:tags r:id="rId171"/>
              </p:custDataLst>
            </p:nvPr>
          </p:nvSpPr>
          <p:spPr bwMode="auto">
            <a:xfrm>
              <a:off x="4983821" y="2074340"/>
              <a:ext cx="42115" cy="59463"/>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77" name="Freeform 246"/>
            <p:cNvSpPr>
              <a:spLocks/>
            </p:cNvSpPr>
            <p:nvPr>
              <p:custDataLst>
                <p:tags r:id="rId172"/>
              </p:custDataLst>
            </p:nvPr>
          </p:nvSpPr>
          <p:spPr bwMode="auto">
            <a:xfrm>
              <a:off x="6387623" y="2624365"/>
              <a:ext cx="74870" cy="59463"/>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78" name="Freeform 247"/>
            <p:cNvSpPr>
              <a:spLocks/>
            </p:cNvSpPr>
            <p:nvPr>
              <p:custDataLst>
                <p:tags r:id="rId173"/>
              </p:custDataLst>
            </p:nvPr>
          </p:nvSpPr>
          <p:spPr bwMode="auto">
            <a:xfrm>
              <a:off x="5809725" y="3448586"/>
              <a:ext cx="479632" cy="254371"/>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79" name="Freeform 248"/>
            <p:cNvSpPr>
              <a:spLocks/>
            </p:cNvSpPr>
            <p:nvPr>
              <p:custDataLst>
                <p:tags r:id="rId174"/>
              </p:custDataLst>
            </p:nvPr>
          </p:nvSpPr>
          <p:spPr bwMode="auto">
            <a:xfrm>
              <a:off x="5716139" y="3623670"/>
              <a:ext cx="736996" cy="574806"/>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80" name="Freeform 249"/>
            <p:cNvSpPr>
              <a:spLocks/>
            </p:cNvSpPr>
            <p:nvPr>
              <p:custDataLst>
                <p:tags r:id="rId175"/>
              </p:custDataLst>
            </p:nvPr>
          </p:nvSpPr>
          <p:spPr bwMode="auto">
            <a:xfrm>
              <a:off x="5622557" y="3727731"/>
              <a:ext cx="81887" cy="57811"/>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81" name="Freeform 250"/>
            <p:cNvSpPr>
              <a:spLocks/>
            </p:cNvSpPr>
            <p:nvPr>
              <p:custDataLst>
                <p:tags r:id="rId176"/>
              </p:custDataLst>
            </p:nvPr>
          </p:nvSpPr>
          <p:spPr bwMode="auto">
            <a:xfrm>
              <a:off x="5596816" y="3727734"/>
              <a:ext cx="224608" cy="209771"/>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82" name="Freeform 251"/>
            <p:cNvSpPr>
              <a:spLocks/>
            </p:cNvSpPr>
            <p:nvPr>
              <p:custDataLst>
                <p:tags r:id="rId177"/>
              </p:custDataLst>
            </p:nvPr>
          </p:nvSpPr>
          <p:spPr bwMode="auto">
            <a:xfrm>
              <a:off x="6382950" y="4148927"/>
              <a:ext cx="383707" cy="541773"/>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83" name="Freeform 252"/>
            <p:cNvSpPr>
              <a:spLocks/>
            </p:cNvSpPr>
            <p:nvPr>
              <p:custDataLst>
                <p:tags r:id="rId178"/>
              </p:custDataLst>
            </p:nvPr>
          </p:nvSpPr>
          <p:spPr bwMode="auto">
            <a:xfrm>
              <a:off x="5992226" y="4398341"/>
              <a:ext cx="350950" cy="298966"/>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84" name="Freeform 253"/>
            <p:cNvSpPr>
              <a:spLocks/>
            </p:cNvSpPr>
            <p:nvPr>
              <p:custDataLst>
                <p:tags r:id="rId179"/>
              </p:custDataLst>
            </p:nvPr>
          </p:nvSpPr>
          <p:spPr bwMode="auto">
            <a:xfrm>
              <a:off x="6836844" y="4191873"/>
              <a:ext cx="290120" cy="452580"/>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85" name="Freeform 254"/>
            <p:cNvSpPr>
              <a:spLocks/>
            </p:cNvSpPr>
            <p:nvPr>
              <p:custDataLst>
                <p:tags r:id="rId180"/>
              </p:custDataLst>
            </p:nvPr>
          </p:nvSpPr>
          <p:spPr bwMode="auto">
            <a:xfrm>
              <a:off x="6359547" y="3878039"/>
              <a:ext cx="53813" cy="69375"/>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86" name="Freeform 255"/>
            <p:cNvSpPr>
              <a:spLocks/>
            </p:cNvSpPr>
            <p:nvPr>
              <p:custDataLst>
                <p:tags r:id="rId181"/>
              </p:custDataLst>
            </p:nvPr>
          </p:nvSpPr>
          <p:spPr bwMode="auto">
            <a:xfrm>
              <a:off x="6343174" y="3836745"/>
              <a:ext cx="81887" cy="62766"/>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87" name="Freeform 256"/>
            <p:cNvSpPr>
              <a:spLocks/>
            </p:cNvSpPr>
            <p:nvPr>
              <p:custDataLst>
                <p:tags r:id="rId182"/>
              </p:custDataLst>
            </p:nvPr>
          </p:nvSpPr>
          <p:spPr bwMode="auto">
            <a:xfrm>
              <a:off x="6799412" y="2483973"/>
              <a:ext cx="741678" cy="492220"/>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88" name="Freeform 257"/>
            <p:cNvSpPr>
              <a:spLocks/>
            </p:cNvSpPr>
            <p:nvPr>
              <p:custDataLst>
                <p:tags r:id="rId183"/>
              </p:custDataLst>
            </p:nvPr>
          </p:nvSpPr>
          <p:spPr bwMode="auto">
            <a:xfrm>
              <a:off x="6834504" y="3167791"/>
              <a:ext cx="364990" cy="237853"/>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89" name="Freeform 258"/>
            <p:cNvSpPr>
              <a:spLocks/>
            </p:cNvSpPr>
            <p:nvPr>
              <p:custDataLst>
                <p:tags r:id="rId184"/>
              </p:custDataLst>
            </p:nvPr>
          </p:nvSpPr>
          <p:spPr bwMode="auto">
            <a:xfrm>
              <a:off x="7122285" y="2933241"/>
              <a:ext cx="177816" cy="125532"/>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90" name="Freeform 259"/>
            <p:cNvSpPr>
              <a:spLocks/>
            </p:cNvSpPr>
            <p:nvPr>
              <p:custDataLst>
                <p:tags r:id="rId185"/>
              </p:custDataLst>
            </p:nvPr>
          </p:nvSpPr>
          <p:spPr bwMode="auto">
            <a:xfrm>
              <a:off x="6661365" y="2571511"/>
              <a:ext cx="327555" cy="274190"/>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91" name="Freeform 260"/>
            <p:cNvSpPr>
              <a:spLocks/>
            </p:cNvSpPr>
            <p:nvPr>
              <p:custDataLst>
                <p:tags r:id="rId186"/>
              </p:custDataLst>
            </p:nvPr>
          </p:nvSpPr>
          <p:spPr bwMode="auto">
            <a:xfrm>
              <a:off x="7398366" y="2530217"/>
              <a:ext cx="488992" cy="302270"/>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92" name="Freeform 261"/>
            <p:cNvSpPr>
              <a:spLocks/>
            </p:cNvSpPr>
            <p:nvPr>
              <p:custDataLst>
                <p:tags r:id="rId187"/>
              </p:custDataLst>
            </p:nvPr>
          </p:nvSpPr>
          <p:spPr bwMode="auto">
            <a:xfrm>
              <a:off x="7445155" y="2581419"/>
              <a:ext cx="538125" cy="441016"/>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93" name="Freeform 262"/>
            <p:cNvSpPr>
              <a:spLocks/>
            </p:cNvSpPr>
            <p:nvPr>
              <p:custDataLst>
                <p:tags r:id="rId188"/>
              </p:custDataLst>
            </p:nvPr>
          </p:nvSpPr>
          <p:spPr bwMode="auto">
            <a:xfrm>
              <a:off x="8610319" y="2860563"/>
              <a:ext cx="325215" cy="609494"/>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94" name="Freeform 263"/>
            <p:cNvSpPr>
              <a:spLocks/>
            </p:cNvSpPr>
            <p:nvPr>
              <p:custDataLst>
                <p:tags r:id="rId189"/>
              </p:custDataLst>
            </p:nvPr>
          </p:nvSpPr>
          <p:spPr bwMode="auto">
            <a:xfrm>
              <a:off x="4665622" y="3390774"/>
              <a:ext cx="119323" cy="61116"/>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95" name="Freeform 264"/>
            <p:cNvSpPr>
              <a:spLocks/>
            </p:cNvSpPr>
            <p:nvPr>
              <p:custDataLst>
                <p:tags r:id="rId190"/>
              </p:custDataLst>
            </p:nvPr>
          </p:nvSpPr>
          <p:spPr bwMode="auto">
            <a:xfrm>
              <a:off x="4789626" y="3476663"/>
              <a:ext cx="109964" cy="104061"/>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96" name="Freeform 265"/>
            <p:cNvSpPr>
              <a:spLocks/>
            </p:cNvSpPr>
            <p:nvPr>
              <p:custDataLst>
                <p:tags r:id="rId191"/>
              </p:custDataLst>
            </p:nvPr>
          </p:nvSpPr>
          <p:spPr bwMode="auto">
            <a:xfrm>
              <a:off x="4852800" y="3529522"/>
              <a:ext cx="154417" cy="137095"/>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97" name="Freeform 266"/>
            <p:cNvSpPr>
              <a:spLocks/>
            </p:cNvSpPr>
            <p:nvPr>
              <p:custDataLst>
                <p:tags r:id="rId192"/>
              </p:custDataLst>
            </p:nvPr>
          </p:nvSpPr>
          <p:spPr bwMode="auto">
            <a:xfrm>
              <a:off x="5168656" y="3445283"/>
              <a:ext cx="154417" cy="209771"/>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98" name="Freeform 267"/>
            <p:cNvSpPr>
              <a:spLocks/>
            </p:cNvSpPr>
            <p:nvPr>
              <p:custDataLst>
                <p:tags r:id="rId193"/>
              </p:custDataLst>
            </p:nvPr>
          </p:nvSpPr>
          <p:spPr bwMode="auto">
            <a:xfrm>
              <a:off x="4656266" y="3357739"/>
              <a:ext cx="128683" cy="61116"/>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199" name="Freeform 268"/>
            <p:cNvSpPr>
              <a:spLocks/>
            </p:cNvSpPr>
            <p:nvPr>
              <p:custDataLst>
                <p:tags r:id="rId194"/>
              </p:custDataLst>
            </p:nvPr>
          </p:nvSpPr>
          <p:spPr bwMode="auto">
            <a:xfrm>
              <a:off x="5283297" y="3438674"/>
              <a:ext cx="63173" cy="161871"/>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00" name="Freeform 269"/>
            <p:cNvSpPr>
              <a:spLocks/>
            </p:cNvSpPr>
            <p:nvPr>
              <p:custDataLst>
                <p:tags r:id="rId195"/>
              </p:custDataLst>
            </p:nvPr>
          </p:nvSpPr>
          <p:spPr bwMode="auto">
            <a:xfrm>
              <a:off x="5320736" y="3399032"/>
              <a:ext cx="112304" cy="196558"/>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01" name="Freeform 270"/>
            <p:cNvSpPr>
              <a:spLocks/>
            </p:cNvSpPr>
            <p:nvPr>
              <p:custDataLst>
                <p:tags r:id="rId196"/>
              </p:custDataLst>
            </p:nvPr>
          </p:nvSpPr>
          <p:spPr bwMode="auto">
            <a:xfrm>
              <a:off x="6394644" y="4652706"/>
              <a:ext cx="37435" cy="62766"/>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02" name="Freeform 271"/>
            <p:cNvSpPr>
              <a:spLocks/>
            </p:cNvSpPr>
            <p:nvPr>
              <p:custDataLst>
                <p:tags r:id="rId197"/>
              </p:custDataLst>
            </p:nvPr>
          </p:nvSpPr>
          <p:spPr bwMode="auto">
            <a:xfrm>
              <a:off x="6240226" y="4753467"/>
              <a:ext cx="91247" cy="59463"/>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03" name="Freeform 272"/>
            <p:cNvSpPr>
              <a:spLocks/>
            </p:cNvSpPr>
            <p:nvPr>
              <p:custDataLst>
                <p:tags r:id="rId198"/>
              </p:custDataLst>
            </p:nvPr>
          </p:nvSpPr>
          <p:spPr bwMode="auto">
            <a:xfrm>
              <a:off x="9508750" y="2374956"/>
              <a:ext cx="177816" cy="178387"/>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04" name="Freeform 273"/>
            <p:cNvSpPr>
              <a:spLocks/>
            </p:cNvSpPr>
            <p:nvPr>
              <p:custDataLst>
                <p:tags r:id="rId199"/>
              </p:custDataLst>
            </p:nvPr>
          </p:nvSpPr>
          <p:spPr bwMode="auto">
            <a:xfrm>
              <a:off x="8140042" y="2806055"/>
              <a:ext cx="304158" cy="128835"/>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05" name="Freeform 274"/>
            <p:cNvSpPr>
              <a:spLocks/>
            </p:cNvSpPr>
            <p:nvPr>
              <p:custDataLst>
                <p:tags r:id="rId200"/>
              </p:custDataLst>
            </p:nvPr>
          </p:nvSpPr>
          <p:spPr bwMode="auto">
            <a:xfrm>
              <a:off x="8458235" y="2863870"/>
              <a:ext cx="107625" cy="67722"/>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06" name="Freeform 275"/>
            <p:cNvSpPr>
              <a:spLocks/>
            </p:cNvSpPr>
            <p:nvPr>
              <p:custDataLst>
                <p:tags r:id="rId201"/>
              </p:custDataLst>
            </p:nvPr>
          </p:nvSpPr>
          <p:spPr bwMode="auto">
            <a:xfrm>
              <a:off x="8444197" y="2938195"/>
              <a:ext cx="196533" cy="173436"/>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07" name="Freeform 276"/>
            <p:cNvSpPr>
              <a:spLocks/>
            </p:cNvSpPr>
            <p:nvPr>
              <p:custDataLst>
                <p:tags r:id="rId202"/>
              </p:custDataLst>
            </p:nvPr>
          </p:nvSpPr>
          <p:spPr bwMode="auto">
            <a:xfrm>
              <a:off x="8912133" y="3058773"/>
              <a:ext cx="297137" cy="280797"/>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08" name="Freeform 277"/>
            <p:cNvSpPr>
              <a:spLocks/>
            </p:cNvSpPr>
            <p:nvPr>
              <p:custDataLst>
                <p:tags r:id="rId203"/>
              </p:custDataLst>
            </p:nvPr>
          </p:nvSpPr>
          <p:spPr bwMode="auto">
            <a:xfrm>
              <a:off x="9033796" y="3319750"/>
              <a:ext cx="196533" cy="135444"/>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09" name="Freeform 278"/>
            <p:cNvSpPr>
              <a:spLocks/>
            </p:cNvSpPr>
            <p:nvPr>
              <p:custDataLst>
                <p:tags r:id="rId204"/>
              </p:custDataLst>
            </p:nvPr>
          </p:nvSpPr>
          <p:spPr bwMode="auto">
            <a:xfrm>
              <a:off x="9625730" y="2525260"/>
              <a:ext cx="126342" cy="135444"/>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10" name="Freeform 279"/>
            <p:cNvSpPr>
              <a:spLocks/>
            </p:cNvSpPr>
            <p:nvPr>
              <p:custDataLst>
                <p:tags r:id="rId205"/>
              </p:custDataLst>
            </p:nvPr>
          </p:nvSpPr>
          <p:spPr bwMode="auto">
            <a:xfrm>
              <a:off x="10463336" y="3874737"/>
              <a:ext cx="341593" cy="264279"/>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11" name="Freeform 280"/>
            <p:cNvSpPr>
              <a:spLocks/>
            </p:cNvSpPr>
            <p:nvPr>
              <p:custDataLst>
                <p:tags r:id="rId206"/>
              </p:custDataLst>
            </p:nvPr>
          </p:nvSpPr>
          <p:spPr bwMode="auto">
            <a:xfrm>
              <a:off x="10746438" y="3858217"/>
              <a:ext cx="156757" cy="133791"/>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12" name="Freeform 281"/>
            <p:cNvSpPr>
              <a:spLocks/>
            </p:cNvSpPr>
            <p:nvPr>
              <p:custDataLst>
                <p:tags r:id="rId207"/>
              </p:custDataLst>
            </p:nvPr>
          </p:nvSpPr>
          <p:spPr bwMode="auto">
            <a:xfrm>
              <a:off x="8205550" y="3476666"/>
              <a:ext cx="93588" cy="123883"/>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13" name="Freeform 283"/>
            <p:cNvSpPr>
              <a:spLocks/>
            </p:cNvSpPr>
            <p:nvPr/>
          </p:nvSpPr>
          <p:spPr bwMode="auto">
            <a:xfrm>
              <a:off x="9769403" y="3428592"/>
              <a:ext cx="36918" cy="6067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14" name="Freeform 284"/>
            <p:cNvSpPr>
              <a:spLocks/>
            </p:cNvSpPr>
            <p:nvPr/>
          </p:nvSpPr>
          <p:spPr bwMode="auto">
            <a:xfrm>
              <a:off x="9837414" y="3384318"/>
              <a:ext cx="46635" cy="40999"/>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15" name="Freeform 285"/>
            <p:cNvSpPr>
              <a:spLocks/>
            </p:cNvSpPr>
            <p:nvPr/>
          </p:nvSpPr>
          <p:spPr bwMode="auto">
            <a:xfrm>
              <a:off x="9781068" y="3330197"/>
              <a:ext cx="9715" cy="26238"/>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16" name="Freeform 286"/>
            <p:cNvSpPr>
              <a:spLocks/>
            </p:cNvSpPr>
            <p:nvPr/>
          </p:nvSpPr>
          <p:spPr bwMode="auto">
            <a:xfrm>
              <a:off x="9740260" y="3326918"/>
              <a:ext cx="29146" cy="21321"/>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17" name="Freeform 287"/>
            <p:cNvSpPr>
              <a:spLocks/>
            </p:cNvSpPr>
            <p:nvPr/>
          </p:nvSpPr>
          <p:spPr bwMode="auto">
            <a:xfrm>
              <a:off x="9827701" y="3454831"/>
              <a:ext cx="25261" cy="16399"/>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18" name="Freeform 288"/>
            <p:cNvSpPr>
              <a:spLocks/>
            </p:cNvSpPr>
            <p:nvPr/>
          </p:nvSpPr>
          <p:spPr bwMode="auto">
            <a:xfrm>
              <a:off x="9804381" y="3364634"/>
              <a:ext cx="19431" cy="9840"/>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19" name="Freeform 289"/>
            <p:cNvSpPr>
              <a:spLocks/>
            </p:cNvSpPr>
            <p:nvPr/>
          </p:nvSpPr>
          <p:spPr bwMode="auto">
            <a:xfrm>
              <a:off x="9819923" y="3464669"/>
              <a:ext cx="11658" cy="6559"/>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20" name="Freeform 290"/>
            <p:cNvSpPr>
              <a:spLocks/>
            </p:cNvSpPr>
            <p:nvPr/>
          </p:nvSpPr>
          <p:spPr bwMode="auto">
            <a:xfrm>
              <a:off x="9590636" y="3425313"/>
              <a:ext cx="81611" cy="9019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21" name="Freeform 291"/>
            <p:cNvSpPr>
              <a:spLocks/>
            </p:cNvSpPr>
            <p:nvPr/>
          </p:nvSpPr>
          <p:spPr bwMode="auto">
            <a:xfrm>
              <a:off x="9769402" y="3454835"/>
              <a:ext cx="165165" cy="141031"/>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22" name="Freeform 292"/>
            <p:cNvSpPr>
              <a:spLocks/>
            </p:cNvSpPr>
            <p:nvPr/>
          </p:nvSpPr>
          <p:spPr bwMode="auto">
            <a:xfrm>
              <a:off x="9672253" y="3340035"/>
              <a:ext cx="44692" cy="50839"/>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23" name="Freeform 293"/>
            <p:cNvSpPr>
              <a:spLocks/>
            </p:cNvSpPr>
            <p:nvPr/>
          </p:nvSpPr>
          <p:spPr bwMode="auto">
            <a:xfrm>
              <a:off x="9748032" y="3407273"/>
              <a:ext cx="31091" cy="34440"/>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24" name="Freeform 294"/>
            <p:cNvSpPr>
              <a:spLocks/>
            </p:cNvSpPr>
            <p:nvPr/>
          </p:nvSpPr>
          <p:spPr bwMode="auto">
            <a:xfrm>
              <a:off x="9643102" y="3176048"/>
              <a:ext cx="97154" cy="160711"/>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25" name="Freeform 295"/>
            <p:cNvSpPr>
              <a:spLocks/>
            </p:cNvSpPr>
            <p:nvPr/>
          </p:nvSpPr>
          <p:spPr bwMode="auto">
            <a:xfrm>
              <a:off x="9837413" y="3417112"/>
              <a:ext cx="15545" cy="21321"/>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26" name="Freeform 296"/>
            <p:cNvSpPr>
              <a:spLocks/>
            </p:cNvSpPr>
            <p:nvPr/>
          </p:nvSpPr>
          <p:spPr bwMode="auto">
            <a:xfrm>
              <a:off x="9790777" y="3381032"/>
              <a:ext cx="19431" cy="16399"/>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27" name="Freeform 297"/>
            <p:cNvSpPr>
              <a:spLocks/>
            </p:cNvSpPr>
            <p:nvPr/>
          </p:nvSpPr>
          <p:spPr bwMode="auto">
            <a:xfrm>
              <a:off x="9740258" y="3377758"/>
              <a:ext cx="11658" cy="19679"/>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28" name="Line 298"/>
            <p:cNvSpPr>
              <a:spLocks noChangeShapeType="1"/>
            </p:cNvSpPr>
            <p:nvPr/>
          </p:nvSpPr>
          <p:spPr bwMode="auto">
            <a:xfrm>
              <a:off x="9819930" y="3428590"/>
              <a:ext cx="1942" cy="16399"/>
            </a:xfrm>
            <a:prstGeom prst="line">
              <a:avLst/>
            </a:prstGeom>
            <a:grpFill/>
            <a:ln w="9525">
              <a:solidFill>
                <a:srgbClr val="FFFFFF"/>
              </a:solidFill>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29" name="Freeform 299"/>
            <p:cNvSpPr>
              <a:spLocks/>
            </p:cNvSpPr>
            <p:nvPr/>
          </p:nvSpPr>
          <p:spPr bwMode="auto">
            <a:xfrm>
              <a:off x="9819922" y="3435149"/>
              <a:ext cx="7772" cy="9840"/>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30" name="Line 300"/>
            <p:cNvSpPr>
              <a:spLocks noChangeShapeType="1"/>
            </p:cNvSpPr>
            <p:nvPr/>
          </p:nvSpPr>
          <p:spPr bwMode="auto">
            <a:xfrm flipH="1" flipV="1">
              <a:off x="9816037" y="3425315"/>
              <a:ext cx="11658" cy="9840"/>
            </a:xfrm>
            <a:prstGeom prst="line">
              <a:avLst/>
            </a:prstGeom>
            <a:grpFill/>
            <a:ln w="9525">
              <a:solidFill>
                <a:srgbClr val="FFFFFF"/>
              </a:solidFill>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31" name="Freeform 301"/>
            <p:cNvSpPr>
              <a:spLocks/>
            </p:cNvSpPr>
            <p:nvPr/>
          </p:nvSpPr>
          <p:spPr bwMode="auto">
            <a:xfrm>
              <a:off x="9695567" y="3617180"/>
              <a:ext cx="17488" cy="16399"/>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32" name="Freeform 302"/>
            <p:cNvSpPr>
              <a:spLocks/>
            </p:cNvSpPr>
            <p:nvPr/>
          </p:nvSpPr>
          <p:spPr bwMode="auto">
            <a:xfrm>
              <a:off x="9701392" y="3623739"/>
              <a:ext cx="11658" cy="1640"/>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33" name="Freeform 303"/>
            <p:cNvSpPr>
              <a:spLocks/>
            </p:cNvSpPr>
            <p:nvPr/>
          </p:nvSpPr>
          <p:spPr bwMode="auto">
            <a:xfrm>
              <a:off x="9716941" y="3605701"/>
              <a:ext cx="23317" cy="8199"/>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34" name="Freeform 304"/>
            <p:cNvSpPr>
              <a:spLocks/>
            </p:cNvSpPr>
            <p:nvPr/>
          </p:nvSpPr>
          <p:spPr bwMode="auto">
            <a:xfrm>
              <a:off x="9716941" y="3589302"/>
              <a:ext cx="23317" cy="9840"/>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35" name="Freeform 305"/>
            <p:cNvSpPr>
              <a:spLocks/>
            </p:cNvSpPr>
            <p:nvPr/>
          </p:nvSpPr>
          <p:spPr bwMode="auto">
            <a:xfrm>
              <a:off x="9744142" y="3569625"/>
              <a:ext cx="38863" cy="13120"/>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36" name="Line 306"/>
            <p:cNvSpPr>
              <a:spLocks noChangeShapeType="1"/>
            </p:cNvSpPr>
            <p:nvPr/>
          </p:nvSpPr>
          <p:spPr bwMode="auto">
            <a:xfrm flipV="1">
              <a:off x="9841298" y="3538466"/>
              <a:ext cx="11658" cy="3281"/>
            </a:xfrm>
            <a:prstGeom prst="line">
              <a:avLst/>
            </a:prstGeom>
            <a:grpFill/>
            <a:ln w="9525">
              <a:solidFill>
                <a:srgbClr val="FFFFFF"/>
              </a:solidFill>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37" name="Freeform 307"/>
            <p:cNvSpPr>
              <a:spLocks/>
            </p:cNvSpPr>
            <p:nvPr>
              <p:custDataLst>
                <p:tags r:id="rId208"/>
              </p:custDataLst>
            </p:nvPr>
          </p:nvSpPr>
          <p:spPr bwMode="auto">
            <a:xfrm>
              <a:off x="10098344" y="4028349"/>
              <a:ext cx="21059" cy="57811"/>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38" name="Freeform 308"/>
            <p:cNvSpPr>
              <a:spLocks/>
            </p:cNvSpPr>
            <p:nvPr>
              <p:custDataLst>
                <p:tags r:id="rId209"/>
              </p:custDataLst>
            </p:nvPr>
          </p:nvSpPr>
          <p:spPr bwMode="auto">
            <a:xfrm>
              <a:off x="10210649" y="3965580"/>
              <a:ext cx="32756" cy="61116"/>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39" name="Freeform 309"/>
            <p:cNvSpPr>
              <a:spLocks/>
            </p:cNvSpPr>
            <p:nvPr>
              <p:custDataLst>
                <p:tags r:id="rId210"/>
              </p:custDataLst>
            </p:nvPr>
          </p:nvSpPr>
          <p:spPr bwMode="auto">
            <a:xfrm>
              <a:off x="10280840" y="3840054"/>
              <a:ext cx="35095" cy="59463"/>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40" name="Freeform 310"/>
            <p:cNvSpPr>
              <a:spLocks/>
            </p:cNvSpPr>
            <p:nvPr>
              <p:custDataLst>
                <p:tags r:id="rId211"/>
              </p:custDataLst>
            </p:nvPr>
          </p:nvSpPr>
          <p:spPr bwMode="auto">
            <a:xfrm>
              <a:off x="10257443" y="3808670"/>
              <a:ext cx="37435" cy="59463"/>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41" name="Freeform 311"/>
            <p:cNvSpPr>
              <a:spLocks/>
            </p:cNvSpPr>
            <p:nvPr>
              <p:custDataLst>
                <p:tags r:id="rId212"/>
              </p:custDataLst>
            </p:nvPr>
          </p:nvSpPr>
          <p:spPr bwMode="auto">
            <a:xfrm>
              <a:off x="10000080" y="3701305"/>
              <a:ext cx="11698" cy="59463"/>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42" name="Freeform 312"/>
            <p:cNvSpPr>
              <a:spLocks/>
            </p:cNvSpPr>
            <p:nvPr>
              <p:custDataLst>
                <p:tags r:id="rId213"/>
              </p:custDataLst>
            </p:nvPr>
          </p:nvSpPr>
          <p:spPr bwMode="auto">
            <a:xfrm>
              <a:off x="9892453" y="3841700"/>
              <a:ext cx="44456" cy="61113"/>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43" name="Freeform 313"/>
            <p:cNvSpPr>
              <a:spLocks/>
            </p:cNvSpPr>
            <p:nvPr>
              <p:custDataLst>
                <p:tags r:id="rId214"/>
              </p:custDataLst>
            </p:nvPr>
          </p:nvSpPr>
          <p:spPr bwMode="auto">
            <a:xfrm>
              <a:off x="9904153" y="4034956"/>
              <a:ext cx="28075" cy="57811"/>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44" name="Freeform 314"/>
            <p:cNvSpPr>
              <a:spLocks/>
            </p:cNvSpPr>
            <p:nvPr>
              <p:custDataLst>
                <p:tags r:id="rId215"/>
              </p:custDataLst>
            </p:nvPr>
          </p:nvSpPr>
          <p:spPr bwMode="auto">
            <a:xfrm>
              <a:off x="10070268" y="3846660"/>
              <a:ext cx="16378" cy="59463"/>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45" name="Freeform 315"/>
            <p:cNvSpPr>
              <a:spLocks/>
            </p:cNvSpPr>
            <p:nvPr>
              <p:custDataLst>
                <p:tags r:id="rId216"/>
              </p:custDataLst>
            </p:nvPr>
          </p:nvSpPr>
          <p:spPr bwMode="auto">
            <a:xfrm>
              <a:off x="9864378" y="3841700"/>
              <a:ext cx="28075" cy="61113"/>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46" name="Freeform 316"/>
            <p:cNvSpPr>
              <a:spLocks/>
            </p:cNvSpPr>
            <p:nvPr>
              <p:custDataLst>
                <p:tags r:id="rId217"/>
              </p:custDataLst>
            </p:nvPr>
          </p:nvSpPr>
          <p:spPr bwMode="auto">
            <a:xfrm>
              <a:off x="9929888" y="3891256"/>
              <a:ext cx="44456" cy="59463"/>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47" name="Freeform 317"/>
            <p:cNvSpPr>
              <a:spLocks/>
            </p:cNvSpPr>
            <p:nvPr>
              <p:custDataLst>
                <p:tags r:id="rId218"/>
              </p:custDataLst>
            </p:nvPr>
          </p:nvSpPr>
          <p:spPr bwMode="auto">
            <a:xfrm>
              <a:off x="9637430" y="4102676"/>
              <a:ext cx="67850" cy="61113"/>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48" name="Freeform 318"/>
            <p:cNvSpPr>
              <a:spLocks/>
            </p:cNvSpPr>
            <p:nvPr>
              <p:custDataLst>
                <p:tags r:id="rId219"/>
              </p:custDataLst>
            </p:nvPr>
          </p:nvSpPr>
          <p:spPr bwMode="auto">
            <a:xfrm>
              <a:off x="9782488" y="4142317"/>
              <a:ext cx="21057" cy="61113"/>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49" name="Freeform 319"/>
            <p:cNvSpPr>
              <a:spLocks/>
            </p:cNvSpPr>
            <p:nvPr>
              <p:custDataLst>
                <p:tags r:id="rId220"/>
              </p:custDataLst>
            </p:nvPr>
          </p:nvSpPr>
          <p:spPr bwMode="auto">
            <a:xfrm>
              <a:off x="9536824" y="4071294"/>
              <a:ext cx="53813" cy="57811"/>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50" name="Freeform 320"/>
            <p:cNvSpPr>
              <a:spLocks/>
            </p:cNvSpPr>
            <p:nvPr>
              <p:custDataLst>
                <p:tags r:id="rId221"/>
              </p:custDataLst>
            </p:nvPr>
          </p:nvSpPr>
          <p:spPr bwMode="auto">
            <a:xfrm>
              <a:off x="9602335" y="4056425"/>
              <a:ext cx="58492" cy="57811"/>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51" name="Freeform 321"/>
            <p:cNvSpPr>
              <a:spLocks/>
            </p:cNvSpPr>
            <p:nvPr>
              <p:custDataLst>
                <p:tags r:id="rId222"/>
              </p:custDataLst>
            </p:nvPr>
          </p:nvSpPr>
          <p:spPr bwMode="auto">
            <a:xfrm>
              <a:off x="9679547" y="4066338"/>
              <a:ext cx="53812" cy="61113"/>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52" name="Freeform 322"/>
            <p:cNvSpPr>
              <a:spLocks/>
            </p:cNvSpPr>
            <p:nvPr>
              <p:custDataLst>
                <p:tags r:id="rId223"/>
              </p:custDataLst>
            </p:nvPr>
          </p:nvSpPr>
          <p:spPr bwMode="auto">
            <a:xfrm>
              <a:off x="9756753" y="4071294"/>
              <a:ext cx="37435" cy="57811"/>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53" name="Freeform 323"/>
            <p:cNvSpPr>
              <a:spLocks/>
            </p:cNvSpPr>
            <p:nvPr>
              <p:custDataLst>
                <p:tags r:id="rId224"/>
              </p:custDataLst>
            </p:nvPr>
          </p:nvSpPr>
          <p:spPr bwMode="auto">
            <a:xfrm>
              <a:off x="9864377" y="4063032"/>
              <a:ext cx="2341" cy="57811"/>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54" name="Freeform 324"/>
            <p:cNvSpPr>
              <a:spLocks/>
            </p:cNvSpPr>
            <p:nvPr>
              <p:custDataLst>
                <p:tags r:id="rId225"/>
              </p:custDataLst>
            </p:nvPr>
          </p:nvSpPr>
          <p:spPr bwMode="auto">
            <a:xfrm>
              <a:off x="9237343" y="3869778"/>
              <a:ext cx="30416" cy="61116"/>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55" name="Freeform 325"/>
            <p:cNvSpPr>
              <a:spLocks/>
            </p:cNvSpPr>
            <p:nvPr>
              <p:custDataLst>
                <p:tags r:id="rId226"/>
              </p:custDataLst>
            </p:nvPr>
          </p:nvSpPr>
          <p:spPr bwMode="auto">
            <a:xfrm>
              <a:off x="9157798" y="3841700"/>
              <a:ext cx="44456" cy="61113"/>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56" name="Freeform 326"/>
            <p:cNvSpPr>
              <a:spLocks/>
            </p:cNvSpPr>
            <p:nvPr>
              <p:custDataLst>
                <p:tags r:id="rId227"/>
              </p:custDataLst>
            </p:nvPr>
          </p:nvSpPr>
          <p:spPr bwMode="auto">
            <a:xfrm>
              <a:off x="8914472" y="3825188"/>
              <a:ext cx="11698" cy="59463"/>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57" name="Line 327" descr="Horizontal dunkel"/>
            <p:cNvSpPr>
              <a:spLocks noChangeShapeType="1"/>
            </p:cNvSpPr>
            <p:nvPr>
              <p:custDataLst>
                <p:tags r:id="rId228"/>
              </p:custDataLst>
            </p:nvPr>
          </p:nvSpPr>
          <p:spPr bwMode="auto">
            <a:xfrm>
              <a:off x="8951905" y="3863175"/>
              <a:ext cx="7020" cy="6606"/>
            </a:xfrm>
            <a:prstGeom prst="line">
              <a:avLst/>
            </a:prstGeom>
            <a:grpFill/>
            <a:ln w="9525">
              <a:solidFill>
                <a:srgbClr val="FFFFFF"/>
              </a:solidFill>
              <a:round/>
              <a:headEnd/>
              <a:tailEn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58" name="Freeform 328"/>
            <p:cNvSpPr>
              <a:spLocks/>
            </p:cNvSpPr>
            <p:nvPr>
              <p:custDataLst>
                <p:tags r:id="rId229"/>
              </p:custDataLst>
            </p:nvPr>
          </p:nvSpPr>
          <p:spPr bwMode="auto">
            <a:xfrm>
              <a:off x="8947227" y="3863176"/>
              <a:ext cx="11698" cy="59463"/>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59" name="Freeform 329"/>
            <p:cNvSpPr>
              <a:spLocks/>
            </p:cNvSpPr>
            <p:nvPr>
              <p:custDataLst>
                <p:tags r:id="rId230"/>
              </p:custDataLst>
            </p:nvPr>
          </p:nvSpPr>
          <p:spPr bwMode="auto">
            <a:xfrm>
              <a:off x="8802165" y="3701305"/>
              <a:ext cx="32756" cy="59463"/>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60" name="Freeform 330"/>
            <p:cNvSpPr>
              <a:spLocks/>
            </p:cNvSpPr>
            <p:nvPr>
              <p:custDataLst>
                <p:tags r:id="rId231"/>
              </p:custDataLst>
            </p:nvPr>
          </p:nvSpPr>
          <p:spPr bwMode="auto">
            <a:xfrm>
              <a:off x="9581277" y="4079555"/>
              <a:ext cx="16377" cy="59463"/>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61" name="Freeform 331"/>
            <p:cNvSpPr>
              <a:spLocks/>
            </p:cNvSpPr>
            <p:nvPr>
              <p:custDataLst>
                <p:tags r:id="rId232"/>
              </p:custDataLst>
            </p:nvPr>
          </p:nvSpPr>
          <p:spPr bwMode="auto">
            <a:xfrm>
              <a:off x="10341671" y="4034956"/>
              <a:ext cx="42115" cy="57811"/>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62" name="Freeform 332"/>
            <p:cNvSpPr>
              <a:spLocks/>
            </p:cNvSpPr>
            <p:nvPr>
              <p:custDataLst>
                <p:tags r:id="rId233"/>
              </p:custDataLst>
            </p:nvPr>
          </p:nvSpPr>
          <p:spPr bwMode="auto">
            <a:xfrm>
              <a:off x="8776432" y="3600549"/>
              <a:ext cx="404762" cy="383205"/>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63" name="Freeform 333"/>
            <p:cNvSpPr>
              <a:spLocks/>
            </p:cNvSpPr>
            <p:nvPr>
              <p:custDataLst>
                <p:tags r:id="rId234"/>
              </p:custDataLst>
            </p:nvPr>
          </p:nvSpPr>
          <p:spPr bwMode="auto">
            <a:xfrm>
              <a:off x="9279463" y="3651747"/>
              <a:ext cx="374347" cy="267584"/>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64" name="Freeform 334"/>
            <p:cNvSpPr>
              <a:spLocks/>
            </p:cNvSpPr>
            <p:nvPr>
              <p:custDataLst>
                <p:tags r:id="rId235"/>
              </p:custDataLst>
            </p:nvPr>
          </p:nvSpPr>
          <p:spPr bwMode="auto">
            <a:xfrm>
              <a:off x="9803546" y="4074602"/>
              <a:ext cx="135701" cy="59463"/>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65" name="Freeform 335"/>
            <p:cNvSpPr>
              <a:spLocks/>
            </p:cNvSpPr>
            <p:nvPr>
              <p:custDataLst>
                <p:tags r:id="rId236"/>
              </p:custDataLst>
            </p:nvPr>
          </p:nvSpPr>
          <p:spPr bwMode="auto">
            <a:xfrm>
              <a:off x="9974342" y="3727732"/>
              <a:ext cx="63170" cy="92497"/>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66" name="Freeform 336"/>
            <p:cNvSpPr>
              <a:spLocks/>
            </p:cNvSpPr>
            <p:nvPr>
              <p:custDataLst>
                <p:tags r:id="rId237"/>
              </p:custDataLst>
            </p:nvPr>
          </p:nvSpPr>
          <p:spPr bwMode="auto">
            <a:xfrm>
              <a:off x="9993060" y="3878036"/>
              <a:ext cx="105285" cy="57811"/>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67" name="Freeform 337"/>
            <p:cNvSpPr>
              <a:spLocks/>
            </p:cNvSpPr>
            <p:nvPr>
              <p:custDataLst>
                <p:tags r:id="rId238"/>
              </p:custDataLst>
            </p:nvPr>
          </p:nvSpPr>
          <p:spPr bwMode="auto">
            <a:xfrm>
              <a:off x="10105363" y="3798758"/>
              <a:ext cx="126342" cy="66070"/>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68" name="Freeform 338"/>
            <p:cNvSpPr>
              <a:spLocks/>
            </p:cNvSpPr>
            <p:nvPr>
              <p:custDataLst>
                <p:tags r:id="rId239"/>
              </p:custDataLst>
            </p:nvPr>
          </p:nvSpPr>
          <p:spPr bwMode="auto">
            <a:xfrm>
              <a:off x="9646793" y="3734341"/>
              <a:ext cx="245664" cy="239503"/>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69" name="Freeform 339"/>
            <p:cNvSpPr>
              <a:spLocks/>
            </p:cNvSpPr>
            <p:nvPr>
              <p:custDataLst>
                <p:tags r:id="rId240"/>
              </p:custDataLst>
            </p:nvPr>
          </p:nvSpPr>
          <p:spPr bwMode="auto">
            <a:xfrm>
              <a:off x="9153122" y="3985403"/>
              <a:ext cx="369668" cy="99106"/>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70" name="Freeform 340"/>
            <p:cNvSpPr>
              <a:spLocks/>
            </p:cNvSpPr>
            <p:nvPr>
              <p:custDataLst>
                <p:tags r:id="rId241"/>
              </p:custDataLst>
            </p:nvPr>
          </p:nvSpPr>
          <p:spPr bwMode="auto">
            <a:xfrm>
              <a:off x="10156840" y="3836744"/>
              <a:ext cx="315855" cy="262630"/>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71" name="Freeform 341"/>
            <p:cNvSpPr>
              <a:spLocks/>
            </p:cNvSpPr>
            <p:nvPr>
              <p:custDataLst>
                <p:tags r:id="rId242"/>
              </p:custDataLst>
            </p:nvPr>
          </p:nvSpPr>
          <p:spPr bwMode="auto">
            <a:xfrm>
              <a:off x="7992640" y="2621062"/>
              <a:ext cx="79550" cy="62766"/>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72" name="Freeform 342"/>
            <p:cNvSpPr>
              <a:spLocks/>
            </p:cNvSpPr>
            <p:nvPr>
              <p:custDataLst>
                <p:tags r:id="rId243"/>
              </p:custDataLst>
            </p:nvPr>
          </p:nvSpPr>
          <p:spPr bwMode="auto">
            <a:xfrm>
              <a:off x="5718484" y="2001656"/>
              <a:ext cx="325215" cy="184996"/>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73" name="Freeform 343"/>
            <p:cNvSpPr>
              <a:spLocks/>
            </p:cNvSpPr>
            <p:nvPr>
              <p:custDataLst>
                <p:tags r:id="rId244"/>
              </p:custDataLst>
            </p:nvPr>
          </p:nvSpPr>
          <p:spPr bwMode="auto">
            <a:xfrm>
              <a:off x="5812066" y="2214734"/>
              <a:ext cx="215249" cy="74330"/>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74" name="Freeform 344"/>
            <p:cNvSpPr>
              <a:spLocks/>
            </p:cNvSpPr>
            <p:nvPr>
              <p:custDataLst>
                <p:tags r:id="rId245"/>
              </p:custDataLst>
            </p:nvPr>
          </p:nvSpPr>
          <p:spPr bwMode="auto">
            <a:xfrm>
              <a:off x="5959463" y="1856309"/>
              <a:ext cx="163777" cy="67722"/>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75" name="Freeform 345"/>
            <p:cNvSpPr>
              <a:spLocks/>
            </p:cNvSpPr>
            <p:nvPr>
              <p:custDataLst>
                <p:tags r:id="rId246"/>
              </p:custDataLst>
            </p:nvPr>
          </p:nvSpPr>
          <p:spPr bwMode="auto">
            <a:xfrm>
              <a:off x="5978184" y="2218037"/>
              <a:ext cx="264382" cy="148657"/>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76" name="Freeform 346"/>
            <p:cNvSpPr>
              <a:spLocks/>
            </p:cNvSpPr>
            <p:nvPr>
              <p:custDataLst>
                <p:tags r:id="rId247"/>
              </p:custDataLst>
            </p:nvPr>
          </p:nvSpPr>
          <p:spPr bwMode="auto">
            <a:xfrm>
              <a:off x="3030197" y="3298277"/>
              <a:ext cx="21057" cy="57811"/>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77" name="Freeform 347"/>
            <p:cNvSpPr>
              <a:spLocks/>
            </p:cNvSpPr>
            <p:nvPr>
              <p:custDataLst>
                <p:tags r:id="rId248"/>
              </p:custDataLst>
            </p:nvPr>
          </p:nvSpPr>
          <p:spPr bwMode="auto">
            <a:xfrm>
              <a:off x="6132601" y="2209778"/>
              <a:ext cx="126342" cy="82588"/>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78" name="Freeform 348"/>
            <p:cNvSpPr>
              <a:spLocks/>
            </p:cNvSpPr>
            <p:nvPr>
              <p:custDataLst>
                <p:tags r:id="rId249"/>
              </p:custDataLst>
            </p:nvPr>
          </p:nvSpPr>
          <p:spPr bwMode="auto">
            <a:xfrm>
              <a:off x="6010937" y="2087547"/>
              <a:ext cx="561522" cy="257673"/>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79" name="Freeform 349"/>
            <p:cNvSpPr>
              <a:spLocks/>
            </p:cNvSpPr>
            <p:nvPr>
              <p:custDataLst>
                <p:tags r:id="rId250"/>
              </p:custDataLst>
            </p:nvPr>
          </p:nvSpPr>
          <p:spPr bwMode="auto">
            <a:xfrm>
              <a:off x="6764311" y="2444324"/>
              <a:ext cx="70190" cy="66070"/>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80" name="Freeform 350"/>
            <p:cNvSpPr>
              <a:spLocks/>
            </p:cNvSpPr>
            <p:nvPr>
              <p:custDataLst>
                <p:tags r:id="rId251"/>
              </p:custDataLst>
            </p:nvPr>
          </p:nvSpPr>
          <p:spPr bwMode="auto">
            <a:xfrm>
              <a:off x="7564484" y="2459193"/>
              <a:ext cx="306496" cy="127187"/>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81" name="Freeform 351"/>
            <p:cNvSpPr>
              <a:spLocks/>
            </p:cNvSpPr>
            <p:nvPr>
              <p:custDataLst>
                <p:tags r:id="rId252"/>
              </p:custDataLst>
            </p:nvPr>
          </p:nvSpPr>
          <p:spPr bwMode="auto">
            <a:xfrm>
              <a:off x="7637012" y="2384865"/>
              <a:ext cx="332233" cy="130487"/>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82" name="Freeform 352"/>
            <p:cNvSpPr>
              <a:spLocks/>
            </p:cNvSpPr>
            <p:nvPr>
              <p:custDataLst>
                <p:tags r:id="rId253"/>
              </p:custDataLst>
            </p:nvPr>
          </p:nvSpPr>
          <p:spPr bwMode="auto">
            <a:xfrm>
              <a:off x="7056775" y="2401380"/>
              <a:ext cx="505370" cy="236200"/>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83" name="Freeform 353"/>
            <p:cNvSpPr>
              <a:spLocks/>
            </p:cNvSpPr>
            <p:nvPr>
              <p:custDataLst>
                <p:tags r:id="rId254"/>
              </p:custDataLst>
            </p:nvPr>
          </p:nvSpPr>
          <p:spPr bwMode="auto">
            <a:xfrm>
              <a:off x="5891616" y="2284104"/>
              <a:ext cx="159098" cy="155264"/>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84" name="Freeform 354"/>
            <p:cNvSpPr>
              <a:spLocks/>
            </p:cNvSpPr>
            <p:nvPr>
              <p:custDataLst>
                <p:tags r:id="rId255"/>
              </p:custDataLst>
            </p:nvPr>
          </p:nvSpPr>
          <p:spPr bwMode="auto">
            <a:xfrm>
              <a:off x="5961804" y="2396426"/>
              <a:ext cx="100606" cy="62766"/>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85" name="Freeform 355"/>
            <p:cNvSpPr>
              <a:spLocks/>
            </p:cNvSpPr>
            <p:nvPr>
              <p:custDataLst>
                <p:tags r:id="rId256"/>
              </p:custDataLst>
            </p:nvPr>
          </p:nvSpPr>
          <p:spPr bwMode="auto">
            <a:xfrm>
              <a:off x="6085809" y="3045564"/>
              <a:ext cx="605974" cy="635921"/>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86" name="Freeform 356"/>
            <p:cNvSpPr>
              <a:spLocks/>
            </p:cNvSpPr>
            <p:nvPr>
              <p:custDataLst>
                <p:tags r:id="rId257"/>
              </p:custDataLst>
            </p:nvPr>
          </p:nvSpPr>
          <p:spPr bwMode="auto">
            <a:xfrm>
              <a:off x="6799407" y="3399033"/>
              <a:ext cx="360310" cy="449275"/>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87" name="Freeform 357"/>
            <p:cNvSpPr>
              <a:spLocks/>
            </p:cNvSpPr>
            <p:nvPr>
              <p:custDataLst>
                <p:tags r:id="rId258"/>
              </p:custDataLst>
            </p:nvPr>
          </p:nvSpPr>
          <p:spPr bwMode="auto">
            <a:xfrm>
              <a:off x="6811105" y="3385817"/>
              <a:ext cx="56153" cy="61113"/>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88" name="Freeform 358"/>
            <p:cNvSpPr>
              <a:spLocks/>
            </p:cNvSpPr>
            <p:nvPr>
              <p:custDataLst>
                <p:tags r:id="rId259"/>
              </p:custDataLst>
            </p:nvPr>
          </p:nvSpPr>
          <p:spPr bwMode="auto">
            <a:xfrm>
              <a:off x="6513968" y="3293322"/>
              <a:ext cx="535786" cy="391464"/>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89" name="Line 359"/>
            <p:cNvSpPr>
              <a:spLocks noChangeShapeType="1"/>
            </p:cNvSpPr>
            <p:nvPr>
              <p:custDataLst>
                <p:tags r:id="rId260"/>
              </p:custDataLst>
            </p:nvPr>
          </p:nvSpPr>
          <p:spPr bwMode="auto">
            <a:xfrm flipH="1">
              <a:off x="1886096" y="3833441"/>
              <a:ext cx="7020" cy="8259"/>
            </a:xfrm>
            <a:prstGeom prst="line">
              <a:avLst/>
            </a:prstGeom>
            <a:grpFill/>
            <a:ln w="9525">
              <a:solidFill>
                <a:srgbClr val="FFFFFF"/>
              </a:solidFill>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90" name="Freeform 360"/>
            <p:cNvSpPr>
              <a:spLocks/>
            </p:cNvSpPr>
            <p:nvPr>
              <p:custDataLst>
                <p:tags r:id="rId261"/>
              </p:custDataLst>
            </p:nvPr>
          </p:nvSpPr>
          <p:spPr bwMode="auto">
            <a:xfrm>
              <a:off x="1886093" y="3841700"/>
              <a:ext cx="18718" cy="61113"/>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91" name="Freeform 361"/>
            <p:cNvSpPr>
              <a:spLocks/>
            </p:cNvSpPr>
            <p:nvPr>
              <p:custDataLst>
                <p:tags r:id="rId262"/>
              </p:custDataLst>
            </p:nvPr>
          </p:nvSpPr>
          <p:spPr bwMode="auto">
            <a:xfrm>
              <a:off x="1897792" y="3828491"/>
              <a:ext cx="7019" cy="59463"/>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nvGrpSpPr>
            <p:cNvPr id="292" name="Group 362"/>
            <p:cNvGrpSpPr>
              <a:grpSpLocks/>
            </p:cNvGrpSpPr>
            <p:nvPr>
              <p:custDataLst>
                <p:tags r:id="rId263"/>
              </p:custDataLst>
            </p:nvPr>
          </p:nvGrpSpPr>
          <p:grpSpPr bwMode="auto">
            <a:xfrm>
              <a:off x="1886096" y="3760767"/>
              <a:ext cx="615335" cy="209771"/>
              <a:chOff x="912" y="2626"/>
              <a:chExt cx="311" cy="127"/>
            </a:xfrm>
            <a:grpFill/>
          </p:grpSpPr>
          <p:sp>
            <p:nvSpPr>
              <p:cNvPr id="479"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80"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81"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sp>
          <p:nvSpPr>
            <p:cNvPr id="293" name="Freeform 366"/>
            <p:cNvSpPr>
              <a:spLocks/>
            </p:cNvSpPr>
            <p:nvPr>
              <p:custDataLst>
                <p:tags r:id="rId264"/>
              </p:custDataLst>
            </p:nvPr>
          </p:nvSpPr>
          <p:spPr bwMode="auto">
            <a:xfrm>
              <a:off x="7262660" y="4507354"/>
              <a:ext cx="28075" cy="61116"/>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94" name="Freeform 367"/>
            <p:cNvSpPr>
              <a:spLocks/>
            </p:cNvSpPr>
            <p:nvPr>
              <p:custDataLst>
                <p:tags r:id="rId265"/>
              </p:custDataLst>
            </p:nvPr>
          </p:nvSpPr>
          <p:spPr bwMode="auto">
            <a:xfrm>
              <a:off x="7220548" y="4535437"/>
              <a:ext cx="35095" cy="59463"/>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nvGrpSpPr>
            <p:cNvPr id="295" name="Group 368"/>
            <p:cNvGrpSpPr>
              <a:grpSpLocks/>
            </p:cNvGrpSpPr>
            <p:nvPr>
              <p:custDataLst>
                <p:tags r:id="rId266"/>
              </p:custDataLst>
            </p:nvPr>
          </p:nvGrpSpPr>
          <p:grpSpPr bwMode="auto">
            <a:xfrm>
              <a:off x="6986620" y="4006966"/>
              <a:ext cx="248006" cy="107365"/>
              <a:chOff x="3481" y="2773"/>
              <a:chExt cx="125" cy="65"/>
            </a:xfrm>
            <a:grpFill/>
          </p:grpSpPr>
          <p:sp>
            <p:nvSpPr>
              <p:cNvPr id="468"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69" name="Line 370"/>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70"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71"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72"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73" name="Line 374"/>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74"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75"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76"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77"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78"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sp>
          <p:nvSpPr>
            <p:cNvPr id="296" name="Freeform 380"/>
            <p:cNvSpPr>
              <a:spLocks/>
            </p:cNvSpPr>
            <p:nvPr>
              <p:custDataLst>
                <p:tags r:id="rId267"/>
              </p:custDataLst>
            </p:nvPr>
          </p:nvSpPr>
          <p:spPr bwMode="auto">
            <a:xfrm>
              <a:off x="5702105" y="3998615"/>
              <a:ext cx="470273" cy="394767"/>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97" name="Freeform 381"/>
            <p:cNvSpPr>
              <a:spLocks/>
            </p:cNvSpPr>
            <p:nvPr>
              <p:custDataLst>
                <p:tags r:id="rId268"/>
              </p:custDataLst>
            </p:nvPr>
          </p:nvSpPr>
          <p:spPr bwMode="auto">
            <a:xfrm>
              <a:off x="5718479" y="3970538"/>
              <a:ext cx="23397" cy="62766"/>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98" name="Freeform 382"/>
            <p:cNvSpPr>
              <a:spLocks/>
            </p:cNvSpPr>
            <p:nvPr>
              <p:custDataLst>
                <p:tags r:id="rId269"/>
              </p:custDataLst>
            </p:nvPr>
          </p:nvSpPr>
          <p:spPr bwMode="auto">
            <a:xfrm>
              <a:off x="5868215" y="4535433"/>
              <a:ext cx="584917" cy="414587"/>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299" name="Freeform 383"/>
            <p:cNvSpPr>
              <a:spLocks/>
            </p:cNvSpPr>
            <p:nvPr>
              <p:custDataLst>
                <p:tags r:id="rId270"/>
              </p:custDataLst>
            </p:nvPr>
          </p:nvSpPr>
          <p:spPr bwMode="auto">
            <a:xfrm>
              <a:off x="6085809" y="3045564"/>
              <a:ext cx="605974" cy="635921"/>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nvGrpSpPr>
            <p:cNvPr id="300" name="Group 384"/>
            <p:cNvGrpSpPr>
              <a:grpSpLocks/>
            </p:cNvGrpSpPr>
            <p:nvPr>
              <p:custDataLst>
                <p:tags r:id="rId271"/>
              </p:custDataLst>
            </p:nvPr>
          </p:nvGrpSpPr>
          <p:grpSpPr bwMode="auto">
            <a:xfrm>
              <a:off x="4293670" y="3255331"/>
              <a:ext cx="119323" cy="85893"/>
              <a:chOff x="2352" y="2343"/>
              <a:chExt cx="65" cy="53"/>
            </a:xfrm>
            <a:grpFill/>
          </p:grpSpPr>
          <p:sp>
            <p:nvSpPr>
              <p:cNvPr id="462"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63"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64"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65"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66"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67"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grpSp>
          <p:nvGrpSpPr>
            <p:cNvPr id="301" name="Group 391"/>
            <p:cNvGrpSpPr>
              <a:grpSpLocks/>
            </p:cNvGrpSpPr>
            <p:nvPr>
              <p:custDataLst>
                <p:tags r:id="rId272"/>
              </p:custDataLst>
            </p:nvPr>
          </p:nvGrpSpPr>
          <p:grpSpPr bwMode="auto">
            <a:xfrm>
              <a:off x="1118666" y="1236907"/>
              <a:ext cx="2795881" cy="1179352"/>
              <a:chOff x="527" y="1110"/>
              <a:chExt cx="1410" cy="709"/>
            </a:xfrm>
            <a:grpFill/>
          </p:grpSpPr>
          <p:sp>
            <p:nvSpPr>
              <p:cNvPr id="420"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21"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22"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23"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24"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25"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26"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27"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28"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29"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30"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31"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32"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33"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34"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35"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36"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37"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38"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39"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40"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41"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42"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43"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44"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45"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46"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47"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48"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49"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50"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51"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52"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53"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54"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55"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56"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57"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58"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59"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60"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61"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sp>
          <p:nvSpPr>
            <p:cNvPr id="302" name="Freeform 434"/>
            <p:cNvSpPr>
              <a:spLocks/>
            </p:cNvSpPr>
            <p:nvPr>
              <p:custDataLst>
                <p:tags r:id="rId273"/>
              </p:custDataLst>
            </p:nvPr>
          </p:nvSpPr>
          <p:spPr bwMode="auto">
            <a:xfrm>
              <a:off x="6380606" y="3676527"/>
              <a:ext cx="187174" cy="165174"/>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03" name="Freeform 435"/>
            <p:cNvSpPr>
              <a:spLocks/>
            </p:cNvSpPr>
            <p:nvPr>
              <p:custDataLst>
                <p:tags r:id="rId274"/>
              </p:custDataLst>
            </p:nvPr>
          </p:nvSpPr>
          <p:spPr bwMode="auto">
            <a:xfrm>
              <a:off x="6537368" y="3833447"/>
              <a:ext cx="9357" cy="59463"/>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04" name="Freeform 436"/>
            <p:cNvSpPr>
              <a:spLocks/>
            </p:cNvSpPr>
            <p:nvPr>
              <p:custDataLst>
                <p:tags r:id="rId275"/>
              </p:custDataLst>
            </p:nvPr>
          </p:nvSpPr>
          <p:spPr bwMode="auto">
            <a:xfrm>
              <a:off x="5786328" y="3038951"/>
              <a:ext cx="367327" cy="520300"/>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05" name="Freeform 437"/>
            <p:cNvSpPr>
              <a:spLocks/>
            </p:cNvSpPr>
            <p:nvPr>
              <p:custDataLst>
                <p:tags r:id="rId276"/>
              </p:custDataLst>
            </p:nvPr>
          </p:nvSpPr>
          <p:spPr bwMode="auto">
            <a:xfrm>
              <a:off x="5309036" y="2396428"/>
              <a:ext cx="23397" cy="59463"/>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nvGrpSpPr>
            <p:cNvPr id="306" name="Group 438"/>
            <p:cNvGrpSpPr>
              <a:grpSpLocks/>
            </p:cNvGrpSpPr>
            <p:nvPr>
              <p:custDataLst>
                <p:tags r:id="rId277"/>
              </p:custDataLst>
            </p:nvPr>
          </p:nvGrpSpPr>
          <p:grpSpPr bwMode="auto">
            <a:xfrm>
              <a:off x="2803224" y="4540395"/>
              <a:ext cx="566196" cy="1073635"/>
              <a:chOff x="1589" y="3126"/>
              <a:chExt cx="290" cy="657"/>
            </a:xfrm>
            <a:grpFill/>
          </p:grpSpPr>
          <p:sp>
            <p:nvSpPr>
              <p:cNvPr id="417"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18"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19"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sp>
          <p:nvSpPr>
            <p:cNvPr id="307" name="Freeform 442"/>
            <p:cNvSpPr>
              <a:spLocks/>
            </p:cNvSpPr>
            <p:nvPr>
              <p:custDataLst>
                <p:tags r:id="rId278"/>
              </p:custDataLst>
            </p:nvPr>
          </p:nvSpPr>
          <p:spPr bwMode="auto">
            <a:xfrm>
              <a:off x="6797067" y="2409638"/>
              <a:ext cx="182495" cy="113970"/>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08" name="Freeform 443"/>
            <p:cNvSpPr>
              <a:spLocks/>
            </p:cNvSpPr>
            <p:nvPr>
              <p:custDataLst>
                <p:tags r:id="rId279"/>
              </p:custDataLst>
            </p:nvPr>
          </p:nvSpPr>
          <p:spPr bwMode="auto">
            <a:xfrm>
              <a:off x="6010940" y="1965321"/>
              <a:ext cx="308837" cy="156916"/>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09" name="Freeform 444"/>
            <p:cNvSpPr>
              <a:spLocks/>
            </p:cNvSpPr>
            <p:nvPr>
              <p:custDataLst>
                <p:tags r:id="rId280"/>
              </p:custDataLst>
            </p:nvPr>
          </p:nvSpPr>
          <p:spPr bwMode="auto">
            <a:xfrm>
              <a:off x="5800368" y="2310534"/>
              <a:ext cx="121663" cy="90847"/>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10" name="Freeform 445"/>
            <p:cNvSpPr>
              <a:spLocks/>
            </p:cNvSpPr>
            <p:nvPr>
              <p:custDataLst>
                <p:tags r:id="rId281"/>
              </p:custDataLst>
            </p:nvPr>
          </p:nvSpPr>
          <p:spPr bwMode="auto">
            <a:xfrm>
              <a:off x="3390504" y="3805365"/>
              <a:ext cx="121663" cy="59463"/>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11" name="Freeform 446"/>
            <p:cNvSpPr>
              <a:spLocks/>
            </p:cNvSpPr>
            <p:nvPr>
              <p:custDataLst>
                <p:tags r:id="rId282"/>
              </p:custDataLst>
            </p:nvPr>
          </p:nvSpPr>
          <p:spPr bwMode="auto">
            <a:xfrm>
              <a:off x="6034333" y="2346873"/>
              <a:ext cx="196533" cy="100758"/>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12" name="Freeform 447"/>
            <p:cNvSpPr>
              <a:spLocks/>
            </p:cNvSpPr>
            <p:nvPr>
              <p:custDataLst>
                <p:tags r:id="rId283"/>
              </p:custDataLst>
            </p:nvPr>
          </p:nvSpPr>
          <p:spPr bwMode="auto">
            <a:xfrm>
              <a:off x="5084430" y="3311494"/>
              <a:ext cx="262043" cy="171782"/>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13" name="Freeform 448"/>
            <p:cNvSpPr>
              <a:spLocks/>
            </p:cNvSpPr>
            <p:nvPr>
              <p:custDataLst>
                <p:tags r:id="rId284"/>
              </p:custDataLst>
            </p:nvPr>
          </p:nvSpPr>
          <p:spPr bwMode="auto">
            <a:xfrm>
              <a:off x="5596816" y="3382520"/>
              <a:ext cx="285440" cy="363383"/>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14" name="Freeform 449"/>
            <p:cNvSpPr>
              <a:spLocks/>
            </p:cNvSpPr>
            <p:nvPr>
              <p:custDataLst>
                <p:tags r:id="rId285"/>
              </p:custDataLst>
            </p:nvPr>
          </p:nvSpPr>
          <p:spPr bwMode="auto">
            <a:xfrm>
              <a:off x="9209268" y="3131455"/>
              <a:ext cx="81888" cy="59463"/>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15" name="Freeform 450"/>
            <p:cNvSpPr>
              <a:spLocks/>
            </p:cNvSpPr>
            <p:nvPr>
              <p:custDataLst>
                <p:tags r:id="rId286"/>
              </p:custDataLst>
            </p:nvPr>
          </p:nvSpPr>
          <p:spPr bwMode="auto">
            <a:xfrm>
              <a:off x="2363387" y="3405640"/>
              <a:ext cx="439857" cy="545076"/>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16" name="Freeform 451"/>
            <p:cNvSpPr>
              <a:spLocks/>
            </p:cNvSpPr>
            <p:nvPr>
              <p:custDataLst>
                <p:tags r:id="rId287"/>
              </p:custDataLst>
            </p:nvPr>
          </p:nvSpPr>
          <p:spPr bwMode="auto">
            <a:xfrm>
              <a:off x="5683385" y="3684788"/>
              <a:ext cx="276081" cy="285753"/>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17" name="Freeform 452"/>
            <p:cNvSpPr>
              <a:spLocks/>
            </p:cNvSpPr>
            <p:nvPr>
              <p:custDataLst>
                <p:tags r:id="rId288"/>
              </p:custDataLst>
            </p:nvPr>
          </p:nvSpPr>
          <p:spPr bwMode="auto">
            <a:xfrm>
              <a:off x="5730177" y="2272540"/>
              <a:ext cx="187174" cy="118926"/>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18" name="Freeform 453"/>
            <p:cNvSpPr>
              <a:spLocks/>
            </p:cNvSpPr>
            <p:nvPr>
              <p:custDataLst>
                <p:tags r:id="rId289"/>
              </p:custDataLst>
            </p:nvPr>
          </p:nvSpPr>
          <p:spPr bwMode="auto">
            <a:xfrm>
              <a:off x="5657648" y="2125536"/>
              <a:ext cx="248005" cy="80936"/>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19" name="Freeform 454"/>
            <p:cNvSpPr>
              <a:spLocks/>
            </p:cNvSpPr>
            <p:nvPr>
              <p:custDataLst>
                <p:tags r:id="rId290"/>
              </p:custDataLst>
            </p:nvPr>
          </p:nvSpPr>
          <p:spPr bwMode="auto">
            <a:xfrm>
              <a:off x="5603833" y="1975229"/>
              <a:ext cx="44453" cy="62766"/>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20" name="Freeform 455"/>
            <p:cNvSpPr>
              <a:spLocks/>
            </p:cNvSpPr>
            <p:nvPr>
              <p:custDataLst>
                <p:tags r:id="rId291"/>
              </p:custDataLst>
            </p:nvPr>
          </p:nvSpPr>
          <p:spPr bwMode="auto">
            <a:xfrm>
              <a:off x="5561718" y="1980183"/>
              <a:ext cx="37435" cy="61116"/>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21" name="Freeform 456"/>
            <p:cNvSpPr>
              <a:spLocks/>
            </p:cNvSpPr>
            <p:nvPr>
              <p:custDataLst>
                <p:tags r:id="rId292"/>
              </p:custDataLst>
            </p:nvPr>
          </p:nvSpPr>
          <p:spPr bwMode="auto">
            <a:xfrm>
              <a:off x="5517267" y="1924023"/>
              <a:ext cx="77210" cy="80936"/>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22" name="Freeform 457"/>
            <p:cNvSpPr>
              <a:spLocks/>
            </p:cNvSpPr>
            <p:nvPr>
              <p:custDataLst>
                <p:tags r:id="rId293"/>
              </p:custDataLst>
            </p:nvPr>
          </p:nvSpPr>
          <p:spPr bwMode="auto">
            <a:xfrm>
              <a:off x="6153657" y="2761458"/>
              <a:ext cx="402425" cy="320440"/>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23" name="Freeform 458"/>
            <p:cNvSpPr>
              <a:spLocks/>
            </p:cNvSpPr>
            <p:nvPr>
              <p:custDataLst>
                <p:tags r:id="rId294"/>
              </p:custDataLst>
            </p:nvPr>
          </p:nvSpPr>
          <p:spPr bwMode="auto">
            <a:xfrm>
              <a:off x="5557042" y="2381562"/>
              <a:ext cx="25737" cy="59463"/>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24" name="Freeform 459"/>
            <p:cNvSpPr>
              <a:spLocks/>
            </p:cNvSpPr>
            <p:nvPr>
              <p:custDataLst>
                <p:tags r:id="rId295"/>
              </p:custDataLst>
            </p:nvPr>
          </p:nvSpPr>
          <p:spPr bwMode="auto">
            <a:xfrm>
              <a:off x="5025938" y="2122233"/>
              <a:ext cx="435179" cy="284102"/>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25" name="Freeform 460"/>
            <p:cNvSpPr>
              <a:spLocks/>
            </p:cNvSpPr>
            <p:nvPr>
              <p:custDataLst>
                <p:tags r:id="rId296"/>
              </p:custDataLst>
            </p:nvPr>
          </p:nvSpPr>
          <p:spPr bwMode="auto">
            <a:xfrm>
              <a:off x="6619257" y="2366692"/>
              <a:ext cx="222268" cy="85893"/>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26" name="Freeform 461"/>
            <p:cNvSpPr>
              <a:spLocks/>
            </p:cNvSpPr>
            <p:nvPr>
              <p:custDataLst>
                <p:tags r:id="rId297"/>
              </p:custDataLst>
            </p:nvPr>
          </p:nvSpPr>
          <p:spPr bwMode="auto">
            <a:xfrm>
              <a:off x="5954789" y="2429463"/>
              <a:ext cx="217589" cy="180041"/>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27" name="Freeform 462"/>
            <p:cNvSpPr>
              <a:spLocks/>
            </p:cNvSpPr>
            <p:nvPr>
              <p:custDataLst>
                <p:tags r:id="rId298"/>
              </p:custDataLst>
            </p:nvPr>
          </p:nvSpPr>
          <p:spPr bwMode="auto">
            <a:xfrm>
              <a:off x="6078788" y="2629323"/>
              <a:ext cx="102945" cy="59463"/>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28" name="Freeform 463"/>
            <p:cNvSpPr>
              <a:spLocks/>
            </p:cNvSpPr>
            <p:nvPr>
              <p:custDataLst>
                <p:tags r:id="rId299"/>
              </p:custDataLst>
            </p:nvPr>
          </p:nvSpPr>
          <p:spPr bwMode="auto">
            <a:xfrm>
              <a:off x="4721780" y="3390777"/>
              <a:ext cx="276081" cy="165174"/>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29" name="Freeform 464"/>
            <p:cNvSpPr>
              <a:spLocks/>
            </p:cNvSpPr>
            <p:nvPr>
              <p:custDataLst>
                <p:tags r:id="rId300"/>
              </p:custDataLst>
            </p:nvPr>
          </p:nvSpPr>
          <p:spPr bwMode="auto">
            <a:xfrm>
              <a:off x="7735278" y="2624364"/>
              <a:ext cx="1020098" cy="910112"/>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30" name="Freeform 465"/>
            <p:cNvSpPr>
              <a:spLocks/>
            </p:cNvSpPr>
            <p:nvPr>
              <p:custDataLst>
                <p:tags r:id="rId301"/>
              </p:custDataLst>
            </p:nvPr>
          </p:nvSpPr>
          <p:spPr bwMode="auto">
            <a:xfrm>
              <a:off x="4967447" y="3451886"/>
              <a:ext cx="233967" cy="214727"/>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31" name="Freeform 466"/>
            <p:cNvSpPr>
              <a:spLocks/>
            </p:cNvSpPr>
            <p:nvPr>
              <p:custDataLst>
                <p:tags r:id="rId302"/>
              </p:custDataLst>
            </p:nvPr>
          </p:nvSpPr>
          <p:spPr bwMode="auto">
            <a:xfrm>
              <a:off x="6542047" y="3655056"/>
              <a:ext cx="283100" cy="282449"/>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32" name="Freeform 467"/>
            <p:cNvSpPr>
              <a:spLocks/>
            </p:cNvSpPr>
            <p:nvPr>
              <p:custDataLst>
                <p:tags r:id="rId303"/>
              </p:custDataLst>
            </p:nvPr>
          </p:nvSpPr>
          <p:spPr bwMode="auto">
            <a:xfrm>
              <a:off x="6516308" y="2703648"/>
              <a:ext cx="149739" cy="135444"/>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33" name="Freeform 468"/>
            <p:cNvSpPr>
              <a:spLocks/>
            </p:cNvSpPr>
            <p:nvPr>
              <p:custDataLst>
                <p:tags r:id="rId304"/>
              </p:custDataLst>
            </p:nvPr>
          </p:nvSpPr>
          <p:spPr bwMode="auto">
            <a:xfrm>
              <a:off x="6956164" y="2811010"/>
              <a:ext cx="32756" cy="57811"/>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34" name="Freeform 469"/>
            <p:cNvSpPr>
              <a:spLocks/>
            </p:cNvSpPr>
            <p:nvPr>
              <p:custDataLst>
                <p:tags r:id="rId305"/>
              </p:custDataLst>
            </p:nvPr>
          </p:nvSpPr>
          <p:spPr bwMode="auto">
            <a:xfrm>
              <a:off x="5905650" y="1910811"/>
              <a:ext cx="238648" cy="69375"/>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35" name="Freeform 470"/>
            <p:cNvSpPr>
              <a:spLocks/>
            </p:cNvSpPr>
            <p:nvPr>
              <p:custDataLst>
                <p:tags r:id="rId306"/>
              </p:custDataLst>
            </p:nvPr>
          </p:nvSpPr>
          <p:spPr bwMode="auto">
            <a:xfrm>
              <a:off x="6511626" y="2660707"/>
              <a:ext cx="44453" cy="59463"/>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36" name="Freeform 471"/>
            <p:cNvSpPr>
              <a:spLocks/>
            </p:cNvSpPr>
            <p:nvPr>
              <p:custDataLst>
                <p:tags r:id="rId307"/>
              </p:custDataLst>
            </p:nvPr>
          </p:nvSpPr>
          <p:spPr bwMode="auto">
            <a:xfrm>
              <a:off x="6240226" y="4753467"/>
              <a:ext cx="91247" cy="59463"/>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37" name="Freeform 472"/>
            <p:cNvSpPr>
              <a:spLocks/>
            </p:cNvSpPr>
            <p:nvPr>
              <p:custDataLst>
                <p:tags r:id="rId308"/>
              </p:custDataLst>
            </p:nvPr>
          </p:nvSpPr>
          <p:spPr bwMode="auto">
            <a:xfrm>
              <a:off x="5903318" y="1960365"/>
              <a:ext cx="194192" cy="87543"/>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38" name="Freeform 473"/>
            <p:cNvSpPr>
              <a:spLocks/>
            </p:cNvSpPr>
            <p:nvPr>
              <p:custDataLst>
                <p:tags r:id="rId309"/>
              </p:custDataLst>
            </p:nvPr>
          </p:nvSpPr>
          <p:spPr bwMode="auto">
            <a:xfrm>
              <a:off x="5470471" y="2153616"/>
              <a:ext cx="28075" cy="62766"/>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39" name="Freeform 474"/>
            <p:cNvSpPr>
              <a:spLocks/>
            </p:cNvSpPr>
            <p:nvPr>
              <p:custDataLst>
                <p:tags r:id="rId310"/>
              </p:custDataLst>
            </p:nvPr>
          </p:nvSpPr>
          <p:spPr bwMode="auto">
            <a:xfrm>
              <a:off x="6497593" y="4114236"/>
              <a:ext cx="102945" cy="251066"/>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40" name="Freeform 475"/>
            <p:cNvSpPr>
              <a:spLocks/>
            </p:cNvSpPr>
            <p:nvPr>
              <p:custDataLst>
                <p:tags r:id="rId311"/>
              </p:custDataLst>
            </p:nvPr>
          </p:nvSpPr>
          <p:spPr bwMode="auto">
            <a:xfrm>
              <a:off x="5748896" y="2627673"/>
              <a:ext cx="21057" cy="59463"/>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41" name="Freeform 476"/>
            <p:cNvSpPr>
              <a:spLocks/>
            </p:cNvSpPr>
            <p:nvPr>
              <p:custDataLst>
                <p:tags r:id="rId312"/>
              </p:custDataLst>
            </p:nvPr>
          </p:nvSpPr>
          <p:spPr bwMode="auto">
            <a:xfrm>
              <a:off x="6219166" y="4314098"/>
              <a:ext cx="278422" cy="226289"/>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42" name="Freeform 477"/>
            <p:cNvSpPr>
              <a:spLocks/>
            </p:cNvSpPr>
            <p:nvPr>
              <p:custDataLst>
                <p:tags r:id="rId313"/>
              </p:custDataLst>
            </p:nvPr>
          </p:nvSpPr>
          <p:spPr bwMode="auto">
            <a:xfrm>
              <a:off x="6090489" y="4081203"/>
              <a:ext cx="432840" cy="312181"/>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43" name="Freeform 478"/>
            <p:cNvSpPr>
              <a:spLocks/>
            </p:cNvSpPr>
            <p:nvPr>
              <p:custDataLst>
                <p:tags r:id="rId314"/>
              </p:custDataLst>
            </p:nvPr>
          </p:nvSpPr>
          <p:spPr bwMode="auto">
            <a:xfrm>
              <a:off x="5702105" y="4365307"/>
              <a:ext cx="517067" cy="396419"/>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44" name="Freeform 479"/>
            <p:cNvSpPr>
              <a:spLocks/>
            </p:cNvSpPr>
            <p:nvPr>
              <p:custDataLst>
                <p:tags r:id="rId315"/>
              </p:custDataLst>
            </p:nvPr>
          </p:nvSpPr>
          <p:spPr bwMode="auto">
            <a:xfrm>
              <a:off x="4639888" y="3252030"/>
              <a:ext cx="238648" cy="147005"/>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45" name="Freeform 480"/>
            <p:cNvSpPr>
              <a:spLocks/>
            </p:cNvSpPr>
            <p:nvPr>
              <p:custDataLst>
                <p:tags r:id="rId316"/>
              </p:custDataLst>
            </p:nvPr>
          </p:nvSpPr>
          <p:spPr bwMode="auto">
            <a:xfrm>
              <a:off x="6368911" y="3836746"/>
              <a:ext cx="397744" cy="348519"/>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46" name="Freeform 481"/>
            <p:cNvSpPr>
              <a:spLocks/>
            </p:cNvSpPr>
            <p:nvPr>
              <p:custDataLst>
                <p:tags r:id="rId317"/>
              </p:custDataLst>
            </p:nvPr>
          </p:nvSpPr>
          <p:spPr bwMode="auto">
            <a:xfrm>
              <a:off x="10147478" y="2290716"/>
              <a:ext cx="28075" cy="59463"/>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47" name="Freeform 482"/>
            <p:cNvSpPr>
              <a:spLocks/>
            </p:cNvSpPr>
            <p:nvPr>
              <p:custDataLst>
                <p:tags r:id="rId318"/>
              </p:custDataLst>
            </p:nvPr>
          </p:nvSpPr>
          <p:spPr bwMode="auto">
            <a:xfrm>
              <a:off x="9939247" y="2292367"/>
              <a:ext cx="208232" cy="130487"/>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48" name="Freeform 483"/>
            <p:cNvSpPr>
              <a:spLocks/>
            </p:cNvSpPr>
            <p:nvPr>
              <p:custDataLst>
                <p:tags r:id="rId319"/>
              </p:custDataLst>
            </p:nvPr>
          </p:nvSpPr>
          <p:spPr bwMode="auto">
            <a:xfrm>
              <a:off x="9894794" y="2660707"/>
              <a:ext cx="77209" cy="59463"/>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49" name="Freeform 484"/>
            <p:cNvSpPr>
              <a:spLocks/>
            </p:cNvSpPr>
            <p:nvPr>
              <p:custDataLst>
                <p:tags r:id="rId320"/>
              </p:custDataLst>
            </p:nvPr>
          </p:nvSpPr>
          <p:spPr bwMode="auto">
            <a:xfrm>
              <a:off x="9815245" y="2675566"/>
              <a:ext cx="88907" cy="87543"/>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50" name="Freeform 485"/>
            <p:cNvSpPr>
              <a:spLocks/>
            </p:cNvSpPr>
            <p:nvPr>
              <p:custDataLst>
                <p:tags r:id="rId321"/>
              </p:custDataLst>
            </p:nvPr>
          </p:nvSpPr>
          <p:spPr bwMode="auto">
            <a:xfrm>
              <a:off x="9838647" y="2427806"/>
              <a:ext cx="308837" cy="254371"/>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51" name="Freeform 486"/>
            <p:cNvSpPr>
              <a:spLocks/>
            </p:cNvSpPr>
            <p:nvPr>
              <p:custDataLst>
                <p:tags r:id="rId322"/>
              </p:custDataLst>
            </p:nvPr>
          </p:nvSpPr>
          <p:spPr bwMode="auto">
            <a:xfrm>
              <a:off x="6277662" y="1273242"/>
              <a:ext cx="159098" cy="62766"/>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52" name="Freeform 487"/>
            <p:cNvSpPr>
              <a:spLocks/>
            </p:cNvSpPr>
            <p:nvPr>
              <p:custDataLst>
                <p:tags r:id="rId323"/>
              </p:custDataLst>
            </p:nvPr>
          </p:nvSpPr>
          <p:spPr bwMode="auto">
            <a:xfrm>
              <a:off x="6488229" y="1255073"/>
              <a:ext cx="93588" cy="59463"/>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53" name="Freeform 488"/>
            <p:cNvSpPr>
              <a:spLocks/>
            </p:cNvSpPr>
            <p:nvPr>
              <p:custDataLst>
                <p:tags r:id="rId324"/>
              </p:custDataLst>
            </p:nvPr>
          </p:nvSpPr>
          <p:spPr bwMode="auto">
            <a:xfrm>
              <a:off x="6542044" y="1263331"/>
              <a:ext cx="191852" cy="59463"/>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54" name="Freeform 489"/>
            <p:cNvSpPr>
              <a:spLocks/>
            </p:cNvSpPr>
            <p:nvPr>
              <p:custDataLst>
                <p:tags r:id="rId325"/>
              </p:custDataLst>
            </p:nvPr>
          </p:nvSpPr>
          <p:spPr bwMode="auto">
            <a:xfrm>
              <a:off x="7328171" y="1456584"/>
              <a:ext cx="60832" cy="59463"/>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55" name="Freeform 490"/>
            <p:cNvSpPr>
              <a:spLocks/>
            </p:cNvSpPr>
            <p:nvPr>
              <p:custDataLst>
                <p:tags r:id="rId326"/>
              </p:custDataLst>
            </p:nvPr>
          </p:nvSpPr>
          <p:spPr bwMode="auto">
            <a:xfrm>
              <a:off x="7194811" y="1309575"/>
              <a:ext cx="23397" cy="61116"/>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56" name="Freeform 491"/>
            <p:cNvSpPr>
              <a:spLocks/>
            </p:cNvSpPr>
            <p:nvPr>
              <p:custDataLst>
                <p:tags r:id="rId327"/>
              </p:custDataLst>
            </p:nvPr>
          </p:nvSpPr>
          <p:spPr bwMode="auto">
            <a:xfrm>
              <a:off x="7227567" y="1266633"/>
              <a:ext cx="21057" cy="62766"/>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57" name="Freeform 492"/>
            <p:cNvSpPr>
              <a:spLocks/>
            </p:cNvSpPr>
            <p:nvPr>
              <p:custDataLst>
                <p:tags r:id="rId328"/>
              </p:custDataLst>
            </p:nvPr>
          </p:nvSpPr>
          <p:spPr bwMode="auto">
            <a:xfrm>
              <a:off x="7440476" y="1387213"/>
              <a:ext cx="25738" cy="59463"/>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58" name="Freeform 493"/>
            <p:cNvSpPr>
              <a:spLocks/>
            </p:cNvSpPr>
            <p:nvPr>
              <p:custDataLst>
                <p:tags r:id="rId329"/>
              </p:custDataLst>
            </p:nvPr>
          </p:nvSpPr>
          <p:spPr bwMode="auto">
            <a:xfrm>
              <a:off x="7520026" y="1266633"/>
              <a:ext cx="138041" cy="62766"/>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59" name="Freeform 494"/>
            <p:cNvSpPr>
              <a:spLocks/>
            </p:cNvSpPr>
            <p:nvPr>
              <p:custDataLst>
                <p:tags r:id="rId330"/>
              </p:custDataLst>
            </p:nvPr>
          </p:nvSpPr>
          <p:spPr bwMode="auto">
            <a:xfrm>
              <a:off x="7608931" y="1293058"/>
              <a:ext cx="152080" cy="62766"/>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60" name="Freeform 495"/>
            <p:cNvSpPr>
              <a:spLocks/>
            </p:cNvSpPr>
            <p:nvPr>
              <p:custDataLst>
                <p:tags r:id="rId331"/>
              </p:custDataLst>
            </p:nvPr>
          </p:nvSpPr>
          <p:spPr bwMode="auto">
            <a:xfrm>
              <a:off x="7782070" y="1307926"/>
              <a:ext cx="121663" cy="59463"/>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61" name="Freeform 496"/>
            <p:cNvSpPr>
              <a:spLocks/>
            </p:cNvSpPr>
            <p:nvPr>
              <p:custDataLst>
                <p:tags r:id="rId332"/>
              </p:custDataLst>
            </p:nvPr>
          </p:nvSpPr>
          <p:spPr bwMode="auto">
            <a:xfrm>
              <a:off x="8558838" y="1438409"/>
              <a:ext cx="116983" cy="61116"/>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62" name="Freeform 497"/>
            <p:cNvSpPr>
              <a:spLocks/>
            </p:cNvSpPr>
            <p:nvPr>
              <p:custDataLst>
                <p:tags r:id="rId333"/>
              </p:custDataLst>
            </p:nvPr>
          </p:nvSpPr>
          <p:spPr bwMode="auto">
            <a:xfrm>
              <a:off x="8657108" y="1456584"/>
              <a:ext cx="49134" cy="59463"/>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63" name="Freeform 498"/>
            <p:cNvSpPr>
              <a:spLocks/>
            </p:cNvSpPr>
            <p:nvPr>
              <p:custDataLst>
                <p:tags r:id="rId334"/>
              </p:custDataLst>
            </p:nvPr>
          </p:nvSpPr>
          <p:spPr bwMode="auto">
            <a:xfrm>
              <a:off x="8701561" y="1468141"/>
              <a:ext cx="77209" cy="61116"/>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64" name="Freeform 499"/>
            <p:cNvSpPr>
              <a:spLocks/>
            </p:cNvSpPr>
            <p:nvPr>
              <p:custDataLst>
                <p:tags r:id="rId335"/>
              </p:custDataLst>
            </p:nvPr>
          </p:nvSpPr>
          <p:spPr bwMode="auto">
            <a:xfrm>
              <a:off x="8364646" y="1440064"/>
              <a:ext cx="91247" cy="61113"/>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65" name="Freeform 500"/>
            <p:cNvSpPr>
              <a:spLocks/>
            </p:cNvSpPr>
            <p:nvPr>
              <p:custDataLst>
                <p:tags r:id="rId336"/>
              </p:custDataLst>
            </p:nvPr>
          </p:nvSpPr>
          <p:spPr bwMode="auto">
            <a:xfrm>
              <a:off x="8806845" y="1378953"/>
              <a:ext cx="205892" cy="59463"/>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66" name="Freeform 501"/>
            <p:cNvSpPr>
              <a:spLocks/>
            </p:cNvSpPr>
            <p:nvPr>
              <p:custDataLst>
                <p:tags r:id="rId337"/>
              </p:custDataLst>
            </p:nvPr>
          </p:nvSpPr>
          <p:spPr bwMode="auto">
            <a:xfrm>
              <a:off x="9043152" y="1387213"/>
              <a:ext cx="140380" cy="59463"/>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67" name="Freeform 502"/>
            <p:cNvSpPr>
              <a:spLocks/>
            </p:cNvSpPr>
            <p:nvPr>
              <p:custDataLst>
                <p:tags r:id="rId338"/>
              </p:custDataLst>
            </p:nvPr>
          </p:nvSpPr>
          <p:spPr bwMode="auto">
            <a:xfrm>
              <a:off x="8984658" y="1436760"/>
              <a:ext cx="93588" cy="61113"/>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68" name="Freeform 503"/>
            <p:cNvSpPr>
              <a:spLocks/>
            </p:cNvSpPr>
            <p:nvPr>
              <p:custDataLst>
                <p:tags r:id="rId339"/>
              </p:custDataLst>
            </p:nvPr>
          </p:nvSpPr>
          <p:spPr bwMode="auto">
            <a:xfrm>
              <a:off x="8954246" y="1433458"/>
              <a:ext cx="30415" cy="61113"/>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69" name="Line 504"/>
            <p:cNvSpPr>
              <a:spLocks noChangeShapeType="1"/>
            </p:cNvSpPr>
            <p:nvPr>
              <p:custDataLst>
                <p:tags r:id="rId340"/>
              </p:custDataLst>
            </p:nvPr>
          </p:nvSpPr>
          <p:spPr bwMode="auto">
            <a:xfrm flipV="1">
              <a:off x="8956584" y="1431804"/>
              <a:ext cx="0" cy="1653"/>
            </a:xfrm>
            <a:prstGeom prst="line">
              <a:avLst/>
            </a:prstGeom>
            <a:grpFill/>
            <a:ln w="9525">
              <a:solidFill>
                <a:srgbClr val="FFFFFF"/>
              </a:solidFill>
              <a:round/>
              <a:headEnd/>
              <a:tailEn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70" name="Freeform 505"/>
            <p:cNvSpPr>
              <a:spLocks/>
            </p:cNvSpPr>
            <p:nvPr>
              <p:custDataLst>
                <p:tags r:id="rId341"/>
              </p:custDataLst>
            </p:nvPr>
          </p:nvSpPr>
          <p:spPr bwMode="auto">
            <a:xfrm>
              <a:off x="7732935" y="1357474"/>
              <a:ext cx="16377" cy="57811"/>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71" name="Freeform 506"/>
            <p:cNvSpPr>
              <a:spLocks/>
            </p:cNvSpPr>
            <p:nvPr>
              <p:custDataLst>
                <p:tags r:id="rId342"/>
              </p:custDataLst>
            </p:nvPr>
          </p:nvSpPr>
          <p:spPr bwMode="auto">
            <a:xfrm>
              <a:off x="8837261" y="1431809"/>
              <a:ext cx="14038" cy="59463"/>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72" name="Freeform 507"/>
            <p:cNvSpPr>
              <a:spLocks/>
            </p:cNvSpPr>
            <p:nvPr>
              <p:custDataLst>
                <p:tags r:id="rId343"/>
              </p:custDataLst>
            </p:nvPr>
          </p:nvSpPr>
          <p:spPr bwMode="auto">
            <a:xfrm>
              <a:off x="8769410" y="1393819"/>
              <a:ext cx="14038" cy="59463"/>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73" name="Freeform 508"/>
            <p:cNvSpPr>
              <a:spLocks/>
            </p:cNvSpPr>
            <p:nvPr>
              <p:custDataLst>
                <p:tags r:id="rId344"/>
              </p:custDataLst>
            </p:nvPr>
          </p:nvSpPr>
          <p:spPr bwMode="auto">
            <a:xfrm>
              <a:off x="9506407" y="1986791"/>
              <a:ext cx="18718" cy="61116"/>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74" name="Freeform 509"/>
            <p:cNvSpPr>
              <a:spLocks/>
            </p:cNvSpPr>
            <p:nvPr>
              <p:custDataLst>
                <p:tags r:id="rId345"/>
              </p:custDataLst>
            </p:nvPr>
          </p:nvSpPr>
          <p:spPr bwMode="auto">
            <a:xfrm>
              <a:off x="9939247" y="1489616"/>
              <a:ext cx="81888" cy="61113"/>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75" name="Freeform 510"/>
            <p:cNvSpPr>
              <a:spLocks/>
            </p:cNvSpPr>
            <p:nvPr>
              <p:custDataLst>
                <p:tags r:id="rId346"/>
              </p:custDataLst>
            </p:nvPr>
          </p:nvSpPr>
          <p:spPr bwMode="auto">
            <a:xfrm>
              <a:off x="10140462" y="1856308"/>
              <a:ext cx="21059" cy="59463"/>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76" name="Freeform 511"/>
            <p:cNvSpPr>
              <a:spLocks/>
            </p:cNvSpPr>
            <p:nvPr>
              <p:custDataLst>
                <p:tags r:id="rId347"/>
              </p:custDataLst>
            </p:nvPr>
          </p:nvSpPr>
          <p:spPr bwMode="auto">
            <a:xfrm>
              <a:off x="10360388" y="1973581"/>
              <a:ext cx="63173" cy="62766"/>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77" name="Freeform 512"/>
            <p:cNvSpPr>
              <a:spLocks/>
            </p:cNvSpPr>
            <p:nvPr>
              <p:custDataLst>
                <p:tags r:id="rId348"/>
              </p:custDataLst>
            </p:nvPr>
          </p:nvSpPr>
          <p:spPr bwMode="auto">
            <a:xfrm>
              <a:off x="10435257" y="1990092"/>
              <a:ext cx="28075" cy="61116"/>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78" name="Freeform 513"/>
            <p:cNvSpPr>
              <a:spLocks/>
            </p:cNvSpPr>
            <p:nvPr>
              <p:custDataLst>
                <p:tags r:id="rId349"/>
              </p:custDataLst>
            </p:nvPr>
          </p:nvSpPr>
          <p:spPr bwMode="auto">
            <a:xfrm>
              <a:off x="10236386" y="2122239"/>
              <a:ext cx="21057" cy="59463"/>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79" name="Freeform 514"/>
            <p:cNvSpPr>
              <a:spLocks/>
            </p:cNvSpPr>
            <p:nvPr>
              <p:custDataLst>
                <p:tags r:id="rId350"/>
              </p:custDataLst>
            </p:nvPr>
          </p:nvSpPr>
          <p:spPr bwMode="auto">
            <a:xfrm>
              <a:off x="10252763" y="2151966"/>
              <a:ext cx="4679" cy="62766"/>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80" name="Freeform 515"/>
            <p:cNvSpPr>
              <a:spLocks/>
            </p:cNvSpPr>
            <p:nvPr>
              <p:custDataLst>
                <p:tags r:id="rId351"/>
              </p:custDataLst>
            </p:nvPr>
          </p:nvSpPr>
          <p:spPr bwMode="auto">
            <a:xfrm>
              <a:off x="10234046" y="2237855"/>
              <a:ext cx="14038" cy="57811"/>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81" name="Freeform 516"/>
            <p:cNvSpPr>
              <a:spLocks/>
            </p:cNvSpPr>
            <p:nvPr>
              <p:custDataLst>
                <p:tags r:id="rId352"/>
              </p:custDataLst>
            </p:nvPr>
          </p:nvSpPr>
          <p:spPr bwMode="auto">
            <a:xfrm>
              <a:off x="10201290" y="2274195"/>
              <a:ext cx="0" cy="61116"/>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82" name="Freeform 517"/>
            <p:cNvSpPr>
              <a:spLocks/>
            </p:cNvSpPr>
            <p:nvPr>
              <p:custDataLst>
                <p:tags r:id="rId353"/>
              </p:custDataLst>
            </p:nvPr>
          </p:nvSpPr>
          <p:spPr bwMode="auto">
            <a:xfrm>
              <a:off x="10201291" y="2274195"/>
              <a:ext cx="11698" cy="61116"/>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83" name="Freeform 518"/>
            <p:cNvSpPr>
              <a:spLocks/>
            </p:cNvSpPr>
            <p:nvPr>
              <p:custDataLst>
                <p:tags r:id="rId354"/>
              </p:custDataLst>
            </p:nvPr>
          </p:nvSpPr>
          <p:spPr bwMode="auto">
            <a:xfrm>
              <a:off x="9838647" y="1844743"/>
              <a:ext cx="25737" cy="62766"/>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84" name="Freeform 519"/>
            <p:cNvSpPr>
              <a:spLocks/>
            </p:cNvSpPr>
            <p:nvPr>
              <p:custDataLst>
                <p:tags r:id="rId355"/>
              </p:custDataLst>
            </p:nvPr>
          </p:nvSpPr>
          <p:spPr bwMode="auto">
            <a:xfrm>
              <a:off x="5882253" y="1990092"/>
              <a:ext cx="70190" cy="61116"/>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85" name="Freeform 520"/>
            <p:cNvSpPr>
              <a:spLocks/>
            </p:cNvSpPr>
            <p:nvPr>
              <p:custDataLst>
                <p:tags r:id="rId356"/>
              </p:custDataLst>
            </p:nvPr>
          </p:nvSpPr>
          <p:spPr bwMode="auto">
            <a:xfrm>
              <a:off x="6544382" y="1565597"/>
              <a:ext cx="63170" cy="61113"/>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86" name="Freeform 521"/>
            <p:cNvSpPr>
              <a:spLocks/>
            </p:cNvSpPr>
            <p:nvPr>
              <p:custDataLst>
                <p:tags r:id="rId357"/>
              </p:custDataLst>
            </p:nvPr>
          </p:nvSpPr>
          <p:spPr bwMode="auto">
            <a:xfrm>
              <a:off x="6595862" y="1370694"/>
              <a:ext cx="336912" cy="170129"/>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87" name="Freeform 522"/>
            <p:cNvSpPr>
              <a:spLocks/>
            </p:cNvSpPr>
            <p:nvPr>
              <p:custDataLst>
                <p:tags r:id="rId358"/>
              </p:custDataLst>
            </p:nvPr>
          </p:nvSpPr>
          <p:spPr bwMode="auto">
            <a:xfrm>
              <a:off x="6289357" y="1694431"/>
              <a:ext cx="46793" cy="57811"/>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88" name="Freeform 523"/>
            <p:cNvSpPr>
              <a:spLocks/>
            </p:cNvSpPr>
            <p:nvPr>
              <p:custDataLst>
                <p:tags r:id="rId359"/>
              </p:custDataLst>
            </p:nvPr>
          </p:nvSpPr>
          <p:spPr bwMode="auto">
            <a:xfrm>
              <a:off x="9686563" y="2003311"/>
              <a:ext cx="290120" cy="279148"/>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nvGrpSpPr>
            <p:cNvPr id="389" name="Group 524"/>
            <p:cNvGrpSpPr>
              <a:grpSpLocks/>
            </p:cNvGrpSpPr>
            <p:nvPr>
              <p:custDataLst>
                <p:tags r:id="rId360"/>
              </p:custDataLst>
            </p:nvPr>
          </p:nvGrpSpPr>
          <p:grpSpPr bwMode="auto">
            <a:xfrm>
              <a:off x="7903737" y="1957064"/>
              <a:ext cx="989683" cy="399721"/>
              <a:chOff x="4115" y="1551"/>
              <a:chExt cx="504" cy="244"/>
            </a:xfrm>
            <a:grpFill/>
          </p:grpSpPr>
          <p:sp>
            <p:nvSpPr>
              <p:cNvPr id="415"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16"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sp>
          <p:nvSpPr>
            <p:cNvPr id="390" name="Freeform 527"/>
            <p:cNvSpPr>
              <a:spLocks/>
            </p:cNvSpPr>
            <p:nvPr>
              <p:custDataLst>
                <p:tags r:id="rId361"/>
              </p:custDataLst>
            </p:nvPr>
          </p:nvSpPr>
          <p:spPr bwMode="auto">
            <a:xfrm>
              <a:off x="6513966" y="2736684"/>
              <a:ext cx="781450" cy="531863"/>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91" name="Freeform 528"/>
            <p:cNvSpPr>
              <a:spLocks/>
            </p:cNvSpPr>
            <p:nvPr>
              <p:custDataLst>
                <p:tags r:id="rId362"/>
              </p:custDataLst>
            </p:nvPr>
          </p:nvSpPr>
          <p:spPr bwMode="auto">
            <a:xfrm>
              <a:off x="5739538" y="2262638"/>
              <a:ext cx="84228" cy="59463"/>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92" name="Freeform 529"/>
            <p:cNvSpPr>
              <a:spLocks/>
            </p:cNvSpPr>
            <p:nvPr>
              <p:custDataLst>
                <p:tags r:id="rId363"/>
              </p:custDataLst>
            </p:nvPr>
          </p:nvSpPr>
          <p:spPr bwMode="auto">
            <a:xfrm>
              <a:off x="5355830" y="2483972"/>
              <a:ext cx="23397" cy="59463"/>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93" name="Freeform 530"/>
            <p:cNvSpPr>
              <a:spLocks/>
            </p:cNvSpPr>
            <p:nvPr>
              <p:custDataLst>
                <p:tags r:id="rId364"/>
              </p:custDataLst>
            </p:nvPr>
          </p:nvSpPr>
          <p:spPr bwMode="auto">
            <a:xfrm>
              <a:off x="4754534" y="2844051"/>
              <a:ext cx="42115" cy="59463"/>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94" name="Freeform 531"/>
            <p:cNvSpPr>
              <a:spLocks/>
            </p:cNvSpPr>
            <p:nvPr>
              <p:custDataLst>
                <p:tags r:id="rId365"/>
              </p:custDataLst>
            </p:nvPr>
          </p:nvSpPr>
          <p:spPr bwMode="auto">
            <a:xfrm>
              <a:off x="4667967" y="2860564"/>
              <a:ext cx="35094" cy="62766"/>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95" name="Freeform 532"/>
            <p:cNvSpPr>
              <a:spLocks/>
            </p:cNvSpPr>
            <p:nvPr>
              <p:custDataLst>
                <p:tags r:id="rId366"/>
              </p:custDataLst>
            </p:nvPr>
          </p:nvSpPr>
          <p:spPr bwMode="auto">
            <a:xfrm>
              <a:off x="4630530" y="2853961"/>
              <a:ext cx="9357" cy="59463"/>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96" name="Freeform 533"/>
            <p:cNvSpPr>
              <a:spLocks/>
            </p:cNvSpPr>
            <p:nvPr>
              <p:custDataLst>
                <p:tags r:id="rId367"/>
              </p:custDataLst>
            </p:nvPr>
          </p:nvSpPr>
          <p:spPr bwMode="auto">
            <a:xfrm>
              <a:off x="6504605" y="2571510"/>
              <a:ext cx="257365" cy="165174"/>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397" name="Freeform 534"/>
            <p:cNvSpPr>
              <a:spLocks/>
            </p:cNvSpPr>
            <p:nvPr>
              <p:custDataLst>
                <p:tags r:id="rId368"/>
              </p:custDataLst>
            </p:nvPr>
          </p:nvSpPr>
          <p:spPr bwMode="auto">
            <a:xfrm>
              <a:off x="9590636" y="2967926"/>
              <a:ext cx="63170" cy="82588"/>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nvGrpSpPr>
            <p:cNvPr id="398" name="Group 535"/>
            <p:cNvGrpSpPr>
              <a:grpSpLocks/>
            </p:cNvGrpSpPr>
            <p:nvPr>
              <p:custDataLst>
                <p:tags r:id="rId369"/>
              </p:custDataLst>
            </p:nvPr>
          </p:nvGrpSpPr>
          <p:grpSpPr bwMode="auto">
            <a:xfrm>
              <a:off x="6123447" y="2414416"/>
              <a:ext cx="711282" cy="209759"/>
              <a:chOff x="3289" y="1830"/>
              <a:chExt cx="363" cy="128"/>
            </a:xfrm>
            <a:grpFill/>
          </p:grpSpPr>
          <p:sp>
            <p:nvSpPr>
              <p:cNvPr id="410"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11"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12"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13"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14"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p:spPr>
            <p:txBody>
              <a:bodyPr/>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grpSp>
        <p:sp>
          <p:nvSpPr>
            <p:cNvPr id="399" name="Freeform 541"/>
            <p:cNvSpPr>
              <a:spLocks/>
            </p:cNvSpPr>
            <p:nvPr>
              <p:custDataLst>
                <p:tags r:id="rId370"/>
              </p:custDataLst>
            </p:nvPr>
          </p:nvSpPr>
          <p:spPr bwMode="auto">
            <a:xfrm>
              <a:off x="3158877" y="3613759"/>
              <a:ext cx="147401" cy="127185"/>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00" name="Freeform 542"/>
            <p:cNvSpPr>
              <a:spLocks/>
            </p:cNvSpPr>
            <p:nvPr>
              <p:custDataLst>
                <p:tags r:id="rId371"/>
              </p:custDataLst>
            </p:nvPr>
          </p:nvSpPr>
          <p:spPr bwMode="auto">
            <a:xfrm>
              <a:off x="8972967" y="3027388"/>
              <a:ext cx="306496" cy="477354"/>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01" name="Freeform 543"/>
            <p:cNvSpPr>
              <a:spLocks/>
            </p:cNvSpPr>
            <p:nvPr>
              <p:custDataLst>
                <p:tags r:id="rId372"/>
              </p:custDataLst>
            </p:nvPr>
          </p:nvSpPr>
          <p:spPr bwMode="auto">
            <a:xfrm>
              <a:off x="9101645" y="3740948"/>
              <a:ext cx="37435" cy="59463"/>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02" name="Freeform 544"/>
            <p:cNvSpPr>
              <a:spLocks/>
            </p:cNvSpPr>
            <p:nvPr>
              <p:custDataLst>
                <p:tags r:id="rId373"/>
              </p:custDataLst>
            </p:nvPr>
          </p:nvSpPr>
          <p:spPr bwMode="auto">
            <a:xfrm>
              <a:off x="7173752" y="2969581"/>
              <a:ext cx="257365" cy="282447"/>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03" name="Freeform 545"/>
            <p:cNvSpPr>
              <a:spLocks/>
            </p:cNvSpPr>
            <p:nvPr>
              <p:custDataLst>
                <p:tags r:id="rId374"/>
              </p:custDataLst>
            </p:nvPr>
          </p:nvSpPr>
          <p:spPr bwMode="auto">
            <a:xfrm>
              <a:off x="5297339" y="3025740"/>
              <a:ext cx="554502" cy="401373"/>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9525" cmpd="sng">
              <a:solidFill>
                <a:srgbClr val="FFFFFF"/>
              </a:solidFill>
              <a:prstDash val="solid"/>
              <a:round/>
              <a:headEnd/>
              <a:tailEnd/>
            </a:ln>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04" name="Freeform 546"/>
            <p:cNvSpPr>
              <a:spLocks/>
            </p:cNvSpPr>
            <p:nvPr>
              <p:custDataLst>
                <p:tags r:id="rId375"/>
              </p:custDataLst>
            </p:nvPr>
          </p:nvSpPr>
          <p:spPr bwMode="auto">
            <a:xfrm>
              <a:off x="4810687" y="2627668"/>
              <a:ext cx="442198" cy="270886"/>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05" name="Freeform 547"/>
            <p:cNvSpPr>
              <a:spLocks/>
            </p:cNvSpPr>
            <p:nvPr>
              <p:custDataLst>
                <p:tags r:id="rId376"/>
              </p:custDataLst>
            </p:nvPr>
          </p:nvSpPr>
          <p:spPr bwMode="auto">
            <a:xfrm>
              <a:off x="5842484" y="1514393"/>
              <a:ext cx="348611" cy="95801"/>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06" name="Freeform 548"/>
            <p:cNvSpPr>
              <a:spLocks/>
            </p:cNvSpPr>
            <p:nvPr>
              <p:custDataLst>
                <p:tags r:id="rId377"/>
              </p:custDataLst>
            </p:nvPr>
          </p:nvSpPr>
          <p:spPr bwMode="auto">
            <a:xfrm>
              <a:off x="6595857" y="1497879"/>
              <a:ext cx="159098" cy="62766"/>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07" name="Freeform 549"/>
            <p:cNvSpPr>
              <a:spLocks/>
            </p:cNvSpPr>
            <p:nvPr>
              <p:custDataLst>
                <p:tags r:id="rId378"/>
              </p:custDataLst>
            </p:nvPr>
          </p:nvSpPr>
          <p:spPr bwMode="auto">
            <a:xfrm>
              <a:off x="6806425" y="1479709"/>
              <a:ext cx="93588" cy="59463"/>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08" name="Freeform 550"/>
            <p:cNvSpPr>
              <a:spLocks/>
            </p:cNvSpPr>
            <p:nvPr>
              <p:custDataLst>
                <p:tags r:id="rId379"/>
              </p:custDataLst>
            </p:nvPr>
          </p:nvSpPr>
          <p:spPr bwMode="auto">
            <a:xfrm>
              <a:off x="6860239" y="1487969"/>
              <a:ext cx="191852" cy="59463"/>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9525" cap="flat" cmpd="sng">
              <a:solidFill>
                <a:srgbClr val="FFFFFF"/>
              </a:solidFill>
              <a:prstDash val="solid"/>
              <a:round/>
              <a:headEnd type="none" w="med" len="med"/>
              <a:tailEnd type="none" w="med" len="med"/>
            </a:ln>
            <a:effectLst/>
          </p:spPr>
          <p:txBody>
            <a:bodyPr lIns="57121" tIns="28562" rIns="57121" bIns="28562"/>
            <a:lstStyle/>
            <a:p>
              <a:pPr defTabSz="342875">
                <a:defRPr/>
              </a:pPr>
              <a:endParaRPr lang="en-US" sz="2400" kern="0" dirty="0">
                <a:solidFill>
                  <a:sysClr val="windowText" lastClr="000000"/>
                </a:solidFill>
                <a:latin typeface="Arial" panose="020B0604020202020204" pitchFamily="34" charset="0"/>
                <a:cs typeface="Arial" panose="020B0604020202020204" pitchFamily="34" charset="0"/>
              </a:endParaRPr>
            </a:p>
          </p:txBody>
        </p:sp>
        <p:sp>
          <p:nvSpPr>
            <p:cNvPr id="409" name="Oval 408"/>
            <p:cNvSpPr/>
            <p:nvPr/>
          </p:nvSpPr>
          <p:spPr>
            <a:xfrm>
              <a:off x="8038056" y="2895683"/>
              <a:ext cx="115233" cy="124674"/>
            </a:xfrm>
            <a:prstGeom prst="ellipse">
              <a:avLst/>
            </a:prstGeom>
            <a:grpFill/>
            <a:ln>
              <a:noFill/>
            </a:ln>
          </p:spPr>
          <p:txBody>
            <a:bodyPr lIns="57121" tIns="28562" rIns="57121" bIns="28562" rtlCol="0" anchor="ctr"/>
            <a:lstStyle/>
            <a:p>
              <a:pPr algn="ctr" defTabSz="342875">
                <a:defRPr/>
              </a:pPr>
              <a:endParaRPr lang="en-US" sz="2400" kern="0" dirty="0">
                <a:solidFill>
                  <a:prstClr val="black"/>
                </a:solidFill>
                <a:latin typeface="Arial" panose="020B0604020202020204" pitchFamily="34" charset="0"/>
                <a:cs typeface="Arial" panose="020B0604020202020204" pitchFamily="34" charset="0"/>
              </a:endParaRPr>
            </a:p>
          </p:txBody>
        </p:sp>
      </p:grpSp>
      <p:pic>
        <p:nvPicPr>
          <p:cNvPr id="552" name="Picture 551" descr="weekly-message.png"/>
          <p:cNvPicPr>
            <a:picLocks noChangeAspect="1"/>
          </p:cNvPicPr>
          <p:nvPr/>
        </p:nvPicPr>
        <p:blipFill>
          <a:blip r:embed="rId381"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787598" y="1378570"/>
            <a:ext cx="280608" cy="210456"/>
          </a:xfrm>
          <a:prstGeom prst="rect">
            <a:avLst/>
          </a:prstGeom>
        </p:spPr>
      </p:pic>
      <p:sp>
        <p:nvSpPr>
          <p:cNvPr id="556" name="Rectangular Callout 555"/>
          <p:cNvSpPr/>
          <p:nvPr/>
        </p:nvSpPr>
        <p:spPr>
          <a:xfrm>
            <a:off x="1459180" y="1928082"/>
            <a:ext cx="1985829" cy="1115350"/>
          </a:xfrm>
          <a:prstGeom prst="wedgeRectCallout">
            <a:avLst>
              <a:gd name="adj1" fmla="val -26817"/>
              <a:gd name="adj2" fmla="val -69788"/>
            </a:avLst>
          </a:prstGeom>
          <a:solidFill>
            <a:schemeClr val="bg1"/>
          </a:solidFill>
          <a:ln>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2400">
              <a:solidFill>
                <a:prstClr val="white"/>
              </a:solidFill>
              <a:latin typeface="Arial" panose="020B0604020202020204" pitchFamily="34" charset="0"/>
              <a:cs typeface="Arial" panose="020B0604020202020204" pitchFamily="34" charset="0"/>
            </a:endParaRPr>
          </a:p>
        </p:txBody>
      </p:sp>
      <p:sp>
        <p:nvSpPr>
          <p:cNvPr id="557" name="TextBox 556"/>
          <p:cNvSpPr txBox="1"/>
          <p:nvPr/>
        </p:nvSpPr>
        <p:spPr>
          <a:xfrm>
            <a:off x="1557387" y="2169062"/>
            <a:ext cx="1909975" cy="830997"/>
          </a:xfrm>
          <a:prstGeom prst="rect">
            <a:avLst/>
          </a:prstGeom>
          <a:noFill/>
        </p:spPr>
        <p:txBody>
          <a:bodyPr wrap="square" rtlCol="0">
            <a:spAutoFit/>
          </a:bodyPr>
          <a:lstStyle/>
          <a:p>
            <a:pPr marL="91438" indent="-91438" defTabSz="685800">
              <a:buFont typeface="Arial" panose="020B0604020202020204" pitchFamily="34" charset="0"/>
              <a:buChar char="•"/>
              <a:defRPr/>
            </a:pPr>
            <a:r>
              <a:rPr lang="en-US" sz="800" dirty="0">
                <a:solidFill>
                  <a:prstClr val="black"/>
                </a:solidFill>
                <a:latin typeface="Arial" panose="020B0604020202020204" pitchFamily="34" charset="0"/>
                <a:cs typeface="Arial" panose="020B0604020202020204" pitchFamily="34" charset="0"/>
              </a:rPr>
              <a:t>Solution Delivery Manager</a:t>
            </a:r>
          </a:p>
          <a:p>
            <a:pPr marL="91438" indent="-91438" defTabSz="685800">
              <a:buFont typeface="Arial" panose="020B0604020202020204" pitchFamily="34" charset="0"/>
              <a:buChar char="•"/>
              <a:defRPr/>
            </a:pPr>
            <a:r>
              <a:rPr lang="en-US" sz="800" dirty="0">
                <a:solidFill>
                  <a:prstClr val="black"/>
                </a:solidFill>
                <a:latin typeface="Arial" panose="020B0604020202020204" pitchFamily="34" charset="0"/>
                <a:cs typeface="Arial" panose="020B0604020202020204" pitchFamily="34" charset="0"/>
              </a:rPr>
              <a:t>Enterprise Architect</a:t>
            </a:r>
          </a:p>
          <a:p>
            <a:pPr marL="91438" indent="-91438" defTabSz="685800">
              <a:buFont typeface="Arial" panose="020B0604020202020204" pitchFamily="34" charset="0"/>
              <a:buChar char="•"/>
              <a:defRPr/>
            </a:pPr>
            <a:r>
              <a:rPr lang="en-US" sz="800" dirty="0">
                <a:solidFill>
                  <a:prstClr val="black"/>
                </a:solidFill>
                <a:latin typeface="Arial" panose="020B0604020202020204" pitchFamily="34" charset="0"/>
                <a:cs typeface="Arial" panose="020B0604020202020204" pitchFamily="34" charset="0"/>
              </a:rPr>
              <a:t>Cloud Engineers</a:t>
            </a:r>
          </a:p>
          <a:p>
            <a:pPr marL="91438" indent="-91438" defTabSz="685800">
              <a:buFont typeface="Arial" panose="020B0604020202020204" pitchFamily="34" charset="0"/>
              <a:buChar char="•"/>
              <a:defRPr/>
            </a:pPr>
            <a:r>
              <a:rPr lang="en-US" sz="800" dirty="0">
                <a:solidFill>
                  <a:prstClr val="black"/>
                </a:solidFill>
                <a:latin typeface="Arial" panose="020B0604020202020204" pitchFamily="34" charset="0"/>
                <a:cs typeface="Arial" panose="020B0604020202020204" pitchFamily="34" charset="0"/>
              </a:rPr>
              <a:t>Network Architect</a:t>
            </a:r>
          </a:p>
          <a:p>
            <a:pPr marL="91438" indent="-91438" defTabSz="685800">
              <a:buFont typeface="Arial" panose="020B0604020202020204" pitchFamily="34" charset="0"/>
              <a:buChar char="•"/>
              <a:defRPr/>
            </a:pPr>
            <a:r>
              <a:rPr lang="en-US" sz="800" dirty="0">
                <a:solidFill>
                  <a:prstClr val="black"/>
                </a:solidFill>
                <a:latin typeface="Arial" panose="020B0604020202020204" pitchFamily="34" charset="0"/>
                <a:cs typeface="Arial" panose="020B0604020202020204" pitchFamily="34" charset="0"/>
              </a:rPr>
              <a:t>Security Specialist</a:t>
            </a:r>
          </a:p>
          <a:p>
            <a:pPr marL="91438" indent="-91438" defTabSz="685800">
              <a:buFont typeface="Arial" panose="020B0604020202020204" pitchFamily="34" charset="0"/>
              <a:buChar char="•"/>
              <a:defRPr/>
            </a:pPr>
            <a:r>
              <a:rPr lang="en-US" sz="800" dirty="0">
                <a:solidFill>
                  <a:prstClr val="black"/>
                </a:solidFill>
                <a:latin typeface="Arial" panose="020B0604020202020204" pitchFamily="34" charset="0"/>
                <a:cs typeface="Arial" panose="020B0604020202020204" pitchFamily="34" charset="0"/>
              </a:rPr>
              <a:t>Desktop / Mobility Support Engineer</a:t>
            </a:r>
          </a:p>
        </p:txBody>
      </p:sp>
      <p:sp>
        <p:nvSpPr>
          <p:cNvPr id="558" name="TextBox 557"/>
          <p:cNvSpPr txBox="1"/>
          <p:nvPr/>
        </p:nvSpPr>
        <p:spPr>
          <a:xfrm>
            <a:off x="1731104" y="1988834"/>
            <a:ext cx="1730652" cy="230832"/>
          </a:xfrm>
          <a:prstGeom prst="rect">
            <a:avLst/>
          </a:prstGeom>
          <a:noFill/>
        </p:spPr>
        <p:txBody>
          <a:bodyPr wrap="square" rtlCol="0">
            <a:spAutoFit/>
          </a:bodyPr>
          <a:lstStyle/>
          <a:p>
            <a:pPr algn="ctr" defTabSz="685800">
              <a:defRPr/>
            </a:pPr>
            <a:r>
              <a:rPr lang="en-US" sz="900" b="1" dirty="0">
                <a:solidFill>
                  <a:prstClr val="black"/>
                </a:solidFill>
                <a:latin typeface="Arial" panose="020B0604020202020204" pitchFamily="34" charset="0"/>
                <a:cs typeface="Arial" panose="020B0604020202020204" pitchFamily="34" charset="0"/>
              </a:rPr>
              <a:t>Charlotte, NC, USA</a:t>
            </a:r>
          </a:p>
        </p:txBody>
      </p:sp>
      <p:sp>
        <p:nvSpPr>
          <p:cNvPr id="559" name="Rectangular Callout 558"/>
          <p:cNvSpPr/>
          <p:nvPr/>
        </p:nvSpPr>
        <p:spPr>
          <a:xfrm>
            <a:off x="6877667" y="1957783"/>
            <a:ext cx="2165375" cy="1411336"/>
          </a:xfrm>
          <a:prstGeom prst="wedgeRectCallout">
            <a:avLst>
              <a:gd name="adj1" fmla="val -79725"/>
              <a:gd name="adj2" fmla="val -31593"/>
            </a:avLst>
          </a:prstGeom>
          <a:solidFill>
            <a:schemeClr val="bg1"/>
          </a:solidFill>
          <a:ln>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2400" dirty="0">
              <a:solidFill>
                <a:prstClr val="white"/>
              </a:solidFill>
              <a:latin typeface="Arial" panose="020B0604020202020204" pitchFamily="34" charset="0"/>
              <a:cs typeface="Arial" panose="020B0604020202020204" pitchFamily="34" charset="0"/>
            </a:endParaRPr>
          </a:p>
        </p:txBody>
      </p:sp>
      <p:pic>
        <p:nvPicPr>
          <p:cNvPr id="560" name="Picture 559" descr="weekly-message.png"/>
          <p:cNvPicPr>
            <a:picLocks noChangeAspect="1"/>
          </p:cNvPicPr>
          <p:nvPr/>
        </p:nvPicPr>
        <p:blipFill>
          <a:blip r:embed="rId381"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011842" y="2000356"/>
            <a:ext cx="280608" cy="210456"/>
          </a:xfrm>
          <a:prstGeom prst="rect">
            <a:avLst/>
          </a:prstGeom>
        </p:spPr>
      </p:pic>
      <p:sp>
        <p:nvSpPr>
          <p:cNvPr id="562" name="TextBox 561"/>
          <p:cNvSpPr txBox="1"/>
          <p:nvPr/>
        </p:nvSpPr>
        <p:spPr>
          <a:xfrm>
            <a:off x="7025682" y="1300002"/>
            <a:ext cx="2017360" cy="230832"/>
          </a:xfrm>
          <a:prstGeom prst="rect">
            <a:avLst/>
          </a:prstGeom>
          <a:noFill/>
        </p:spPr>
        <p:txBody>
          <a:bodyPr wrap="square" rtlCol="0">
            <a:spAutoFit/>
          </a:bodyPr>
          <a:lstStyle/>
          <a:p>
            <a:pPr defTabSz="685800">
              <a:defRPr/>
            </a:pPr>
            <a:r>
              <a:rPr lang="en-US" sz="900" b="1" dirty="0">
                <a:solidFill>
                  <a:prstClr val="black"/>
                </a:solidFill>
                <a:latin typeface="Arial" panose="020B0604020202020204" pitchFamily="34" charset="0"/>
                <a:cs typeface="Arial" panose="020B0604020202020204" pitchFamily="34" charset="0"/>
              </a:rPr>
              <a:t>Chennai &amp; Bangalore, India </a:t>
            </a:r>
          </a:p>
        </p:txBody>
      </p:sp>
      <p:pic>
        <p:nvPicPr>
          <p:cNvPr id="564" name="Picture 563"/>
          <p:cNvPicPr>
            <a:picLocks noChangeAspect="1"/>
          </p:cNvPicPr>
          <p:nvPr/>
        </p:nvPicPr>
        <p:blipFill>
          <a:blip r:embed="rId382" cstate="print">
            <a:duotone>
              <a:prstClr val="black"/>
              <a:srgbClr val="A50021">
                <a:tint val="45000"/>
                <a:satMod val="400000"/>
              </a:srgbClr>
            </a:duotone>
            <a:extLst>
              <a:ext uri="{28A0092B-C50C-407E-A947-70E740481C1C}">
                <a14:useLocalDpi xmlns:a14="http://schemas.microsoft.com/office/drawing/2010/main" val="0"/>
              </a:ext>
            </a:extLst>
          </a:blip>
          <a:stretch>
            <a:fillRect/>
          </a:stretch>
        </p:blipFill>
        <p:spPr>
          <a:xfrm>
            <a:off x="1854317" y="1492613"/>
            <a:ext cx="162671" cy="228600"/>
          </a:xfrm>
          <a:prstGeom prst="rect">
            <a:avLst/>
          </a:prstGeom>
        </p:spPr>
      </p:pic>
      <p:pic>
        <p:nvPicPr>
          <p:cNvPr id="565" name="Picture 564"/>
          <p:cNvPicPr>
            <a:picLocks noChangeAspect="1"/>
          </p:cNvPicPr>
          <p:nvPr/>
        </p:nvPicPr>
        <p:blipFill>
          <a:blip r:embed="rId382" cstate="print">
            <a:duotone>
              <a:prstClr val="black"/>
              <a:srgbClr val="A50021">
                <a:tint val="45000"/>
                <a:satMod val="400000"/>
              </a:srgbClr>
            </a:duotone>
            <a:extLst>
              <a:ext uri="{28A0092B-C50C-407E-A947-70E740481C1C}">
                <a14:useLocalDpi xmlns:a14="http://schemas.microsoft.com/office/drawing/2010/main" val="0"/>
              </a:ext>
            </a:extLst>
          </a:blip>
          <a:stretch>
            <a:fillRect/>
          </a:stretch>
        </p:blipFill>
        <p:spPr>
          <a:xfrm>
            <a:off x="6163505" y="2017727"/>
            <a:ext cx="162671" cy="228600"/>
          </a:xfrm>
          <a:prstGeom prst="rect">
            <a:avLst/>
          </a:prstGeom>
        </p:spPr>
      </p:pic>
      <p:sp>
        <p:nvSpPr>
          <p:cNvPr id="553" name="Rectangle 552"/>
          <p:cNvSpPr/>
          <p:nvPr/>
        </p:nvSpPr>
        <p:spPr>
          <a:xfrm>
            <a:off x="3765480" y="4708353"/>
            <a:ext cx="2880683" cy="346249"/>
          </a:xfrm>
          <a:prstGeom prst="rect">
            <a:avLst/>
          </a:prstGeom>
        </p:spPr>
        <p:txBody>
          <a:bodyPr wrap="square">
            <a:spAutoFit/>
          </a:bodyPr>
          <a:lstStyle/>
          <a:p>
            <a:pPr defTabSz="685800">
              <a:defRPr/>
            </a:pPr>
            <a:r>
              <a:rPr lang="en-US" sz="825" dirty="0">
                <a:solidFill>
                  <a:prstClr val="black"/>
                </a:solidFill>
                <a:latin typeface="Calibri" panose="020F0502020204030204" pitchFamily="34" charset="0"/>
              </a:rPr>
              <a:t>**Dual location strategy adopted for</a:t>
            </a:r>
          </a:p>
          <a:p>
            <a:pPr defTabSz="685800">
              <a:defRPr/>
            </a:pPr>
            <a:r>
              <a:rPr lang="en-US" sz="825" dirty="0">
                <a:solidFill>
                  <a:prstClr val="black"/>
                </a:solidFill>
                <a:latin typeface="Calibri" panose="020F0502020204030204" pitchFamily="34" charset="0"/>
              </a:rPr>
              <a:t> Disaster recovery / BCP</a:t>
            </a:r>
            <a:endParaRPr lang="en-US" sz="825" dirty="0">
              <a:solidFill>
                <a:prstClr val="black"/>
              </a:solidFill>
              <a:latin typeface="Calibri" panose="020F0502020204030204"/>
            </a:endParaRPr>
          </a:p>
        </p:txBody>
      </p:sp>
      <p:sp>
        <p:nvSpPr>
          <p:cNvPr id="566" name="Rectangle 565"/>
          <p:cNvSpPr/>
          <p:nvPr/>
        </p:nvSpPr>
        <p:spPr>
          <a:xfrm>
            <a:off x="3437952" y="595892"/>
            <a:ext cx="2265929" cy="985565"/>
          </a:xfrm>
          <a:prstGeom prst="rect">
            <a:avLst/>
          </a:prstGeom>
          <a:solidFill>
            <a:schemeClr val="bg1"/>
          </a:solidFill>
          <a:ln>
            <a:solidFill>
              <a:srgbClr val="0033A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457130">
              <a:defRPr/>
            </a:pPr>
            <a:r>
              <a:rPr lang="en-US" sz="900" b="1" dirty="0">
                <a:solidFill>
                  <a:srgbClr val="141414"/>
                </a:solidFill>
                <a:latin typeface="Arial" panose="020B0604020202020204"/>
              </a:rPr>
              <a:t>Support Highlights</a:t>
            </a:r>
          </a:p>
          <a:p>
            <a:pPr algn="ctr" defTabSz="457130">
              <a:defRPr/>
            </a:pPr>
            <a:endParaRPr lang="en-US" sz="825" b="1" dirty="0">
              <a:solidFill>
                <a:srgbClr val="141414"/>
              </a:solidFill>
              <a:latin typeface="Calibri" panose="020F0502020204030204" pitchFamily="34" charset="0"/>
            </a:endParaRPr>
          </a:p>
          <a:p>
            <a:pPr marL="171446" indent="-171446" defTabSz="457130">
              <a:buFont typeface="Arial" panose="020B0604020202020204" pitchFamily="34" charset="0"/>
              <a:buChar char="•"/>
              <a:defRPr/>
            </a:pPr>
            <a:r>
              <a:rPr lang="en-US" sz="825" dirty="0">
                <a:solidFill>
                  <a:srgbClr val="141414"/>
                </a:solidFill>
                <a:latin typeface="Calibri" panose="020F0502020204030204" pitchFamily="34" charset="0"/>
              </a:rPr>
              <a:t>24x7 support operations from offshore</a:t>
            </a:r>
          </a:p>
          <a:p>
            <a:pPr marL="171446" indent="-171446" defTabSz="457130">
              <a:buFont typeface="Arial" panose="020B0604020202020204" pitchFamily="34" charset="0"/>
              <a:buChar char="•"/>
              <a:defRPr/>
            </a:pPr>
            <a:r>
              <a:rPr lang="en-US" sz="825" dirty="0">
                <a:solidFill>
                  <a:srgbClr val="141414"/>
                </a:solidFill>
                <a:latin typeface="Calibri" panose="020F0502020204030204" pitchFamily="34" charset="0"/>
              </a:rPr>
              <a:t>Onsite SME presence covering business hours </a:t>
            </a:r>
          </a:p>
          <a:p>
            <a:pPr marL="171446" indent="-171446" defTabSz="457130">
              <a:buFont typeface="Arial" panose="020B0604020202020204" pitchFamily="34" charset="0"/>
              <a:buChar char="•"/>
              <a:defRPr/>
            </a:pPr>
            <a:r>
              <a:rPr lang="en-US" sz="825" dirty="0">
                <a:solidFill>
                  <a:srgbClr val="141414"/>
                </a:solidFill>
                <a:latin typeface="Calibri" panose="020F0502020204030204" pitchFamily="34" charset="0"/>
              </a:rPr>
              <a:t>Offshore SME presence covering 16 x5</a:t>
            </a:r>
          </a:p>
          <a:p>
            <a:pPr marL="171446" indent="-171446" defTabSz="457130">
              <a:buFont typeface="Arial" panose="020B0604020202020204" pitchFamily="34" charset="0"/>
              <a:buChar char="•"/>
              <a:defRPr/>
            </a:pPr>
            <a:r>
              <a:rPr lang="en-US" sz="825" dirty="0">
                <a:solidFill>
                  <a:srgbClr val="141414"/>
                </a:solidFill>
                <a:latin typeface="Calibri" panose="020F0502020204030204" pitchFamily="34" charset="0"/>
              </a:rPr>
              <a:t>On call SME support during off business hours </a:t>
            </a:r>
          </a:p>
        </p:txBody>
      </p:sp>
      <p:cxnSp>
        <p:nvCxnSpPr>
          <p:cNvPr id="661" name="Straight Arrow Connector 660"/>
          <p:cNvCxnSpPr/>
          <p:nvPr/>
        </p:nvCxnSpPr>
        <p:spPr>
          <a:xfrm>
            <a:off x="535897" y="3783896"/>
            <a:ext cx="2629874" cy="0"/>
          </a:xfrm>
          <a:prstGeom prst="straightConnector1">
            <a:avLst/>
          </a:prstGeom>
          <a:noFill/>
          <a:ln w="6350" cap="flat" cmpd="sng" algn="ctr">
            <a:solidFill>
              <a:srgbClr val="0033A0"/>
            </a:solidFill>
            <a:prstDash val="solid"/>
            <a:miter lim="800000"/>
            <a:headEnd type="triangle"/>
            <a:tailEnd type="triangle"/>
          </a:ln>
          <a:effectLst/>
        </p:spPr>
      </p:cxnSp>
      <p:cxnSp>
        <p:nvCxnSpPr>
          <p:cNvPr id="662" name="Straight Arrow Connector 661"/>
          <p:cNvCxnSpPr/>
          <p:nvPr/>
        </p:nvCxnSpPr>
        <p:spPr>
          <a:xfrm>
            <a:off x="3165769" y="3780629"/>
            <a:ext cx="2629874" cy="0"/>
          </a:xfrm>
          <a:prstGeom prst="straightConnector1">
            <a:avLst/>
          </a:prstGeom>
          <a:noFill/>
          <a:ln w="6350" cap="flat" cmpd="sng" algn="ctr">
            <a:solidFill>
              <a:srgbClr val="0033A0"/>
            </a:solidFill>
            <a:prstDash val="solid"/>
            <a:miter lim="800000"/>
            <a:headEnd type="triangle"/>
            <a:tailEnd type="triangle"/>
          </a:ln>
          <a:effectLst/>
        </p:spPr>
      </p:cxnSp>
      <p:cxnSp>
        <p:nvCxnSpPr>
          <p:cNvPr id="663" name="Straight Arrow Connector 662"/>
          <p:cNvCxnSpPr/>
          <p:nvPr/>
        </p:nvCxnSpPr>
        <p:spPr>
          <a:xfrm>
            <a:off x="5790495" y="3780629"/>
            <a:ext cx="2629874" cy="0"/>
          </a:xfrm>
          <a:prstGeom prst="straightConnector1">
            <a:avLst/>
          </a:prstGeom>
          <a:noFill/>
          <a:ln w="6350" cap="flat" cmpd="sng" algn="ctr">
            <a:solidFill>
              <a:srgbClr val="0033A0"/>
            </a:solidFill>
            <a:prstDash val="sysDash"/>
            <a:miter lim="800000"/>
            <a:headEnd type="triangle"/>
            <a:tailEnd type="triangle"/>
          </a:ln>
          <a:effectLst/>
        </p:spPr>
      </p:cxnSp>
      <p:cxnSp>
        <p:nvCxnSpPr>
          <p:cNvPr id="664" name="Straight Arrow Connector 663"/>
          <p:cNvCxnSpPr/>
          <p:nvPr/>
        </p:nvCxnSpPr>
        <p:spPr>
          <a:xfrm>
            <a:off x="535897" y="4179044"/>
            <a:ext cx="7884472" cy="0"/>
          </a:xfrm>
          <a:prstGeom prst="straightConnector1">
            <a:avLst/>
          </a:prstGeom>
          <a:noFill/>
          <a:ln w="6350" cap="flat" cmpd="sng" algn="ctr">
            <a:solidFill>
              <a:srgbClr val="0033A0"/>
            </a:solidFill>
            <a:prstDash val="solid"/>
            <a:miter lim="800000"/>
            <a:headEnd type="triangle"/>
            <a:tailEnd type="triangle"/>
          </a:ln>
          <a:effectLst/>
        </p:spPr>
      </p:cxnSp>
      <p:cxnSp>
        <p:nvCxnSpPr>
          <p:cNvPr id="665" name="Straight Arrow Connector 664"/>
          <p:cNvCxnSpPr/>
          <p:nvPr/>
        </p:nvCxnSpPr>
        <p:spPr>
          <a:xfrm>
            <a:off x="535897" y="4518679"/>
            <a:ext cx="7884472" cy="0"/>
          </a:xfrm>
          <a:prstGeom prst="straightConnector1">
            <a:avLst/>
          </a:prstGeom>
          <a:noFill/>
          <a:ln w="6350" cap="flat" cmpd="sng" algn="ctr">
            <a:solidFill>
              <a:srgbClr val="0033A0"/>
            </a:solidFill>
            <a:prstDash val="solid"/>
            <a:miter lim="800000"/>
            <a:headEnd type="triangle"/>
            <a:tailEnd type="triangle"/>
          </a:ln>
          <a:effectLst/>
        </p:spPr>
      </p:cxnSp>
      <p:sp>
        <p:nvSpPr>
          <p:cNvPr id="666" name="TextBox 665"/>
          <p:cNvSpPr txBox="1"/>
          <p:nvPr/>
        </p:nvSpPr>
        <p:spPr>
          <a:xfrm>
            <a:off x="245167" y="3574054"/>
            <a:ext cx="975218" cy="230832"/>
          </a:xfrm>
          <a:prstGeom prst="rect">
            <a:avLst/>
          </a:prstGeom>
          <a:noFill/>
        </p:spPr>
        <p:txBody>
          <a:bodyPr wrap="square" rtlCol="0">
            <a:spAutoFit/>
          </a:bodyPr>
          <a:lstStyle/>
          <a:p>
            <a:pPr defTabSz="685800">
              <a:defRPr/>
            </a:pPr>
            <a:r>
              <a:rPr lang="en-US" sz="900" b="1" kern="0" dirty="0">
                <a:solidFill>
                  <a:prstClr val="black"/>
                </a:solidFill>
                <a:latin typeface="Calibri" panose="020F0502020204030204"/>
              </a:rPr>
              <a:t>8:00 AM EST</a:t>
            </a:r>
          </a:p>
        </p:txBody>
      </p:sp>
      <p:sp>
        <p:nvSpPr>
          <p:cNvPr id="667" name="TextBox 666"/>
          <p:cNvSpPr txBox="1"/>
          <p:nvPr/>
        </p:nvSpPr>
        <p:spPr>
          <a:xfrm>
            <a:off x="2792696" y="3574053"/>
            <a:ext cx="975218" cy="230832"/>
          </a:xfrm>
          <a:prstGeom prst="rect">
            <a:avLst/>
          </a:prstGeom>
          <a:noFill/>
        </p:spPr>
        <p:txBody>
          <a:bodyPr wrap="square" rtlCol="0">
            <a:spAutoFit/>
          </a:bodyPr>
          <a:lstStyle/>
          <a:p>
            <a:pPr defTabSz="685800">
              <a:defRPr/>
            </a:pPr>
            <a:r>
              <a:rPr lang="en-US" sz="900" b="1" kern="0" dirty="0">
                <a:solidFill>
                  <a:prstClr val="black"/>
                </a:solidFill>
                <a:latin typeface="Calibri" panose="020F0502020204030204"/>
              </a:rPr>
              <a:t>4:00 PM EST</a:t>
            </a:r>
          </a:p>
        </p:txBody>
      </p:sp>
      <p:sp>
        <p:nvSpPr>
          <p:cNvPr id="668" name="TextBox 667"/>
          <p:cNvSpPr txBox="1"/>
          <p:nvPr/>
        </p:nvSpPr>
        <p:spPr>
          <a:xfrm>
            <a:off x="5302886" y="3558635"/>
            <a:ext cx="975218" cy="230832"/>
          </a:xfrm>
          <a:prstGeom prst="rect">
            <a:avLst/>
          </a:prstGeom>
          <a:noFill/>
        </p:spPr>
        <p:txBody>
          <a:bodyPr wrap="square" rtlCol="0">
            <a:spAutoFit/>
          </a:bodyPr>
          <a:lstStyle/>
          <a:p>
            <a:pPr defTabSz="685800">
              <a:defRPr/>
            </a:pPr>
            <a:r>
              <a:rPr lang="en-US" sz="900" b="1" kern="0" dirty="0">
                <a:solidFill>
                  <a:prstClr val="black"/>
                </a:solidFill>
                <a:latin typeface="Calibri" panose="020F0502020204030204"/>
              </a:rPr>
              <a:t>12:00 AM EST</a:t>
            </a:r>
          </a:p>
        </p:txBody>
      </p:sp>
      <p:sp>
        <p:nvSpPr>
          <p:cNvPr id="669" name="TextBox 668"/>
          <p:cNvSpPr txBox="1"/>
          <p:nvPr/>
        </p:nvSpPr>
        <p:spPr>
          <a:xfrm>
            <a:off x="7932760" y="3558378"/>
            <a:ext cx="975218" cy="230832"/>
          </a:xfrm>
          <a:prstGeom prst="rect">
            <a:avLst/>
          </a:prstGeom>
          <a:noFill/>
        </p:spPr>
        <p:txBody>
          <a:bodyPr wrap="square" rtlCol="0">
            <a:spAutoFit/>
          </a:bodyPr>
          <a:lstStyle/>
          <a:p>
            <a:pPr defTabSz="685800">
              <a:defRPr/>
            </a:pPr>
            <a:r>
              <a:rPr lang="en-US" sz="900" b="1" kern="0" dirty="0">
                <a:solidFill>
                  <a:prstClr val="black"/>
                </a:solidFill>
                <a:latin typeface="Calibri" panose="020F0502020204030204"/>
              </a:rPr>
              <a:t>8:00 AM EST</a:t>
            </a:r>
          </a:p>
        </p:txBody>
      </p:sp>
      <p:sp>
        <p:nvSpPr>
          <p:cNvPr id="670" name="TextBox 669"/>
          <p:cNvSpPr txBox="1"/>
          <p:nvPr/>
        </p:nvSpPr>
        <p:spPr>
          <a:xfrm>
            <a:off x="245167" y="3968819"/>
            <a:ext cx="975218" cy="230832"/>
          </a:xfrm>
          <a:prstGeom prst="rect">
            <a:avLst/>
          </a:prstGeom>
          <a:noFill/>
        </p:spPr>
        <p:txBody>
          <a:bodyPr wrap="square" rtlCol="0">
            <a:spAutoFit/>
          </a:bodyPr>
          <a:lstStyle/>
          <a:p>
            <a:pPr defTabSz="685800">
              <a:defRPr/>
            </a:pPr>
            <a:r>
              <a:rPr lang="en-US" sz="900" b="1" kern="0" dirty="0">
                <a:solidFill>
                  <a:prstClr val="black"/>
                </a:solidFill>
                <a:latin typeface="Calibri" panose="020F0502020204030204"/>
              </a:rPr>
              <a:t>8:00 AM EST</a:t>
            </a:r>
          </a:p>
        </p:txBody>
      </p:sp>
      <p:sp>
        <p:nvSpPr>
          <p:cNvPr id="671" name="TextBox 670"/>
          <p:cNvSpPr txBox="1"/>
          <p:nvPr/>
        </p:nvSpPr>
        <p:spPr>
          <a:xfrm>
            <a:off x="7932760" y="3951680"/>
            <a:ext cx="975218" cy="230832"/>
          </a:xfrm>
          <a:prstGeom prst="rect">
            <a:avLst/>
          </a:prstGeom>
          <a:noFill/>
        </p:spPr>
        <p:txBody>
          <a:bodyPr wrap="square" rtlCol="0">
            <a:spAutoFit/>
          </a:bodyPr>
          <a:lstStyle/>
          <a:p>
            <a:pPr defTabSz="685800">
              <a:defRPr/>
            </a:pPr>
            <a:r>
              <a:rPr lang="en-US" sz="900" b="1" kern="0" dirty="0">
                <a:solidFill>
                  <a:prstClr val="black"/>
                </a:solidFill>
                <a:latin typeface="Calibri" panose="020F0502020204030204"/>
              </a:rPr>
              <a:t>8:00 AM EST</a:t>
            </a:r>
          </a:p>
        </p:txBody>
      </p:sp>
      <p:sp>
        <p:nvSpPr>
          <p:cNvPr id="672" name="TextBox 671"/>
          <p:cNvSpPr txBox="1"/>
          <p:nvPr/>
        </p:nvSpPr>
        <p:spPr>
          <a:xfrm>
            <a:off x="245167" y="4330162"/>
            <a:ext cx="975218" cy="230832"/>
          </a:xfrm>
          <a:prstGeom prst="rect">
            <a:avLst/>
          </a:prstGeom>
          <a:noFill/>
        </p:spPr>
        <p:txBody>
          <a:bodyPr wrap="square" rtlCol="0">
            <a:spAutoFit/>
          </a:bodyPr>
          <a:lstStyle/>
          <a:p>
            <a:pPr defTabSz="685800">
              <a:defRPr/>
            </a:pPr>
            <a:r>
              <a:rPr lang="en-US" sz="900" b="1" kern="0" dirty="0">
                <a:solidFill>
                  <a:prstClr val="black"/>
                </a:solidFill>
                <a:latin typeface="Calibri" panose="020F0502020204030204"/>
              </a:rPr>
              <a:t>8:00 AM EST</a:t>
            </a:r>
          </a:p>
        </p:txBody>
      </p:sp>
      <p:sp>
        <p:nvSpPr>
          <p:cNvPr id="673" name="TextBox 672"/>
          <p:cNvSpPr txBox="1"/>
          <p:nvPr/>
        </p:nvSpPr>
        <p:spPr>
          <a:xfrm>
            <a:off x="7932760" y="4313022"/>
            <a:ext cx="975218" cy="230832"/>
          </a:xfrm>
          <a:prstGeom prst="rect">
            <a:avLst/>
          </a:prstGeom>
          <a:noFill/>
        </p:spPr>
        <p:txBody>
          <a:bodyPr wrap="square" rtlCol="0">
            <a:spAutoFit/>
          </a:bodyPr>
          <a:lstStyle/>
          <a:p>
            <a:pPr defTabSz="685800">
              <a:defRPr/>
            </a:pPr>
            <a:r>
              <a:rPr lang="en-US" sz="900" b="1" kern="0" dirty="0">
                <a:solidFill>
                  <a:prstClr val="black"/>
                </a:solidFill>
                <a:latin typeface="Calibri" panose="020F0502020204030204"/>
              </a:rPr>
              <a:t>8:00 AM EST</a:t>
            </a:r>
          </a:p>
        </p:txBody>
      </p:sp>
      <p:sp>
        <p:nvSpPr>
          <p:cNvPr id="674" name="TextBox 673"/>
          <p:cNvSpPr txBox="1"/>
          <p:nvPr/>
        </p:nvSpPr>
        <p:spPr>
          <a:xfrm>
            <a:off x="1273867" y="3623461"/>
            <a:ext cx="1234440" cy="369332"/>
          </a:xfrm>
          <a:prstGeom prst="rect">
            <a:avLst/>
          </a:prstGeom>
          <a:noFill/>
          <a:ln>
            <a:solidFill>
              <a:srgbClr val="0033A0"/>
            </a:solidFill>
            <a:prstDash val="sysDash"/>
          </a:ln>
        </p:spPr>
        <p:txBody>
          <a:bodyPr wrap="square" rtlCol="0">
            <a:spAutoFit/>
          </a:bodyPr>
          <a:lstStyle/>
          <a:p>
            <a:pPr defTabSz="685800">
              <a:defRPr/>
            </a:pPr>
            <a:r>
              <a:rPr lang="en-US" sz="900" i="1" kern="0" dirty="0">
                <a:solidFill>
                  <a:prstClr val="black"/>
                </a:solidFill>
                <a:latin typeface="Calibri" panose="020F0502020204030204"/>
              </a:rPr>
              <a:t>Onsite SME Presence</a:t>
            </a:r>
          </a:p>
          <a:p>
            <a:pPr algn="ctr" defTabSz="685800">
              <a:defRPr/>
            </a:pPr>
            <a:r>
              <a:rPr lang="en-US" sz="900" i="1" kern="0" dirty="0">
                <a:solidFill>
                  <a:prstClr val="black"/>
                </a:solidFill>
                <a:latin typeface="Calibri" panose="020F0502020204030204"/>
              </a:rPr>
              <a:t> Mon-Fri</a:t>
            </a:r>
          </a:p>
        </p:txBody>
      </p:sp>
      <p:sp>
        <p:nvSpPr>
          <p:cNvPr id="675" name="TextBox 674"/>
          <p:cNvSpPr txBox="1"/>
          <p:nvPr/>
        </p:nvSpPr>
        <p:spPr>
          <a:xfrm>
            <a:off x="3895391" y="3607504"/>
            <a:ext cx="1234440" cy="507831"/>
          </a:xfrm>
          <a:prstGeom prst="rect">
            <a:avLst/>
          </a:prstGeom>
          <a:noFill/>
          <a:ln>
            <a:solidFill>
              <a:srgbClr val="0033A0"/>
            </a:solidFill>
            <a:prstDash val="sysDash"/>
          </a:ln>
        </p:spPr>
        <p:txBody>
          <a:bodyPr wrap="square" rtlCol="0">
            <a:spAutoFit/>
          </a:bodyPr>
          <a:lstStyle/>
          <a:p>
            <a:pPr defTabSz="685800">
              <a:defRPr/>
            </a:pPr>
            <a:r>
              <a:rPr lang="en-US" sz="900" i="1" kern="0" dirty="0">
                <a:solidFill>
                  <a:prstClr val="black"/>
                </a:solidFill>
                <a:latin typeface="Calibri" panose="020F0502020204030204"/>
              </a:rPr>
              <a:t>Offshore SME Presence</a:t>
            </a:r>
          </a:p>
          <a:p>
            <a:pPr algn="ctr" defTabSz="685800">
              <a:defRPr/>
            </a:pPr>
            <a:r>
              <a:rPr lang="en-US" sz="900" i="1" kern="0" dirty="0">
                <a:solidFill>
                  <a:prstClr val="black"/>
                </a:solidFill>
                <a:latin typeface="Calibri" panose="020F0502020204030204"/>
              </a:rPr>
              <a:t> Mon-Fri</a:t>
            </a:r>
          </a:p>
        </p:txBody>
      </p:sp>
      <p:sp>
        <p:nvSpPr>
          <p:cNvPr id="676" name="TextBox 675"/>
          <p:cNvSpPr txBox="1"/>
          <p:nvPr/>
        </p:nvSpPr>
        <p:spPr>
          <a:xfrm>
            <a:off x="6367988" y="3604843"/>
            <a:ext cx="1234440" cy="369332"/>
          </a:xfrm>
          <a:prstGeom prst="rect">
            <a:avLst/>
          </a:prstGeom>
          <a:noFill/>
          <a:ln>
            <a:solidFill>
              <a:srgbClr val="0033A0"/>
            </a:solidFill>
            <a:prstDash val="sysDash"/>
          </a:ln>
        </p:spPr>
        <p:txBody>
          <a:bodyPr wrap="square" rtlCol="0">
            <a:spAutoFit/>
          </a:bodyPr>
          <a:lstStyle/>
          <a:p>
            <a:pPr defTabSz="685800">
              <a:defRPr/>
            </a:pPr>
            <a:r>
              <a:rPr lang="en-US" sz="900" i="1" kern="0" dirty="0">
                <a:solidFill>
                  <a:prstClr val="black"/>
                </a:solidFill>
                <a:latin typeface="Calibri" panose="020F0502020204030204"/>
              </a:rPr>
              <a:t>Offshore SME On Call</a:t>
            </a:r>
          </a:p>
          <a:p>
            <a:pPr algn="ctr" defTabSz="685800">
              <a:defRPr/>
            </a:pPr>
            <a:r>
              <a:rPr lang="en-US" sz="900" i="1" kern="0" dirty="0">
                <a:solidFill>
                  <a:prstClr val="black"/>
                </a:solidFill>
                <a:latin typeface="Calibri" panose="020F0502020204030204"/>
              </a:rPr>
              <a:t> Mon-Fri</a:t>
            </a:r>
          </a:p>
        </p:txBody>
      </p:sp>
      <p:sp>
        <p:nvSpPr>
          <p:cNvPr id="677" name="TextBox 676"/>
          <p:cNvSpPr txBox="1"/>
          <p:nvPr/>
        </p:nvSpPr>
        <p:spPr>
          <a:xfrm>
            <a:off x="2490539" y="4008998"/>
            <a:ext cx="1579532" cy="369332"/>
          </a:xfrm>
          <a:prstGeom prst="rect">
            <a:avLst/>
          </a:prstGeom>
          <a:noFill/>
          <a:ln>
            <a:solidFill>
              <a:srgbClr val="0033A0"/>
            </a:solidFill>
            <a:prstDash val="sysDash"/>
          </a:ln>
        </p:spPr>
        <p:txBody>
          <a:bodyPr wrap="square" rtlCol="0">
            <a:spAutoFit/>
          </a:bodyPr>
          <a:lstStyle/>
          <a:p>
            <a:pPr defTabSz="685800">
              <a:defRPr/>
            </a:pPr>
            <a:r>
              <a:rPr lang="en-US" sz="900" i="1" kern="0" dirty="0">
                <a:solidFill>
                  <a:prstClr val="black"/>
                </a:solidFill>
                <a:latin typeface="Calibri" panose="020F0502020204030204"/>
              </a:rPr>
              <a:t>Offshore/Onsite SME On Call</a:t>
            </a:r>
          </a:p>
          <a:p>
            <a:pPr algn="ctr" defTabSz="685800">
              <a:defRPr/>
            </a:pPr>
            <a:r>
              <a:rPr lang="en-US" sz="900" i="1" kern="0" dirty="0">
                <a:solidFill>
                  <a:prstClr val="black"/>
                </a:solidFill>
                <a:latin typeface="Calibri" panose="020F0502020204030204"/>
              </a:rPr>
              <a:t> Sat-Sun</a:t>
            </a:r>
          </a:p>
        </p:txBody>
      </p:sp>
      <p:sp>
        <p:nvSpPr>
          <p:cNvPr id="678" name="TextBox 677"/>
          <p:cNvSpPr txBox="1"/>
          <p:nvPr/>
        </p:nvSpPr>
        <p:spPr>
          <a:xfrm>
            <a:off x="4322970" y="4350326"/>
            <a:ext cx="1413913" cy="507831"/>
          </a:xfrm>
          <a:prstGeom prst="rect">
            <a:avLst/>
          </a:prstGeom>
          <a:noFill/>
          <a:ln>
            <a:solidFill>
              <a:srgbClr val="0033A0"/>
            </a:solidFill>
            <a:prstDash val="sysDash"/>
          </a:ln>
        </p:spPr>
        <p:txBody>
          <a:bodyPr wrap="square" rtlCol="0">
            <a:spAutoFit/>
          </a:bodyPr>
          <a:lstStyle/>
          <a:p>
            <a:pPr defTabSz="685800">
              <a:defRPr/>
            </a:pPr>
            <a:r>
              <a:rPr lang="en-US" sz="900" i="1" kern="0" dirty="0">
                <a:solidFill>
                  <a:prstClr val="black"/>
                </a:solidFill>
                <a:latin typeface="Calibri" panose="020F0502020204030204"/>
              </a:rPr>
              <a:t>Offshore Smart Operations</a:t>
            </a:r>
          </a:p>
          <a:p>
            <a:pPr algn="ctr" defTabSz="685800">
              <a:defRPr/>
            </a:pPr>
            <a:r>
              <a:rPr lang="en-US" sz="900" i="1" kern="0" dirty="0">
                <a:solidFill>
                  <a:prstClr val="black"/>
                </a:solidFill>
                <a:latin typeface="Calibri" panose="020F0502020204030204"/>
              </a:rPr>
              <a:t> Mon-Sun</a:t>
            </a:r>
          </a:p>
        </p:txBody>
      </p:sp>
      <p:graphicFrame>
        <p:nvGraphicFramePr>
          <p:cNvPr id="568" name="Table 567"/>
          <p:cNvGraphicFramePr>
            <a:graphicFrameLocks noGrp="1"/>
          </p:cNvGraphicFramePr>
          <p:nvPr/>
        </p:nvGraphicFramePr>
        <p:xfrm>
          <a:off x="6919943" y="2038952"/>
          <a:ext cx="2103504" cy="1232726"/>
        </p:xfrm>
        <a:graphic>
          <a:graphicData uri="http://schemas.openxmlformats.org/drawingml/2006/table">
            <a:tbl>
              <a:tblPr/>
              <a:tblGrid>
                <a:gridCol w="1051752">
                  <a:extLst>
                    <a:ext uri="{9D8B030D-6E8A-4147-A177-3AD203B41FA5}">
                      <a16:colId xmlns:a16="http://schemas.microsoft.com/office/drawing/2014/main" val="3386091853"/>
                    </a:ext>
                  </a:extLst>
                </a:gridCol>
                <a:gridCol w="1051752">
                  <a:extLst>
                    <a:ext uri="{9D8B030D-6E8A-4147-A177-3AD203B41FA5}">
                      <a16:colId xmlns:a16="http://schemas.microsoft.com/office/drawing/2014/main" val="3272717436"/>
                    </a:ext>
                  </a:extLst>
                </a:gridCol>
              </a:tblGrid>
              <a:tr h="14430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Chennai</a:t>
                      </a:r>
                    </a:p>
                  </a:txBody>
                  <a:tcPr marL="7144" marR="7144" marT="714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Bangalore</a:t>
                      </a:r>
                    </a:p>
                  </a:txBody>
                  <a:tcPr marL="7144" marR="7144" marT="714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78377856"/>
                  </a:ext>
                </a:extLst>
              </a:tr>
              <a:tr h="142875">
                <a:tc>
                  <a:txBody>
                    <a:bodyPr/>
                    <a:lstStyle/>
                    <a:p>
                      <a:pPr algn="l" fontAlgn="b">
                        <a:buClr>
                          <a:srgbClr val="000000"/>
                        </a:buClr>
                        <a:buSzPts val="1070"/>
                        <a:buFont typeface="Calibri" panose="020F0502020204030204" pitchFamily="34" charset="0"/>
                        <a:buNone/>
                      </a:pPr>
                      <a:r>
                        <a:rPr lang="en-US" sz="800" b="0" i="0" u="none" strike="noStrike" dirty="0" smtClean="0">
                          <a:solidFill>
                            <a:schemeClr val="tx2"/>
                          </a:solidFill>
                          <a:effectLst/>
                          <a:latin typeface="+mn-lt"/>
                        </a:rPr>
                        <a:t>Cloud Engineers</a:t>
                      </a:r>
                      <a:endParaRPr lang="en-US" sz="800" b="0" i="0" u="none" strike="noStrike" dirty="0">
                        <a:solidFill>
                          <a:schemeClr val="tx2"/>
                        </a:solidFill>
                        <a:effectLst/>
                        <a:latin typeface="+mn-lt"/>
                      </a:endParaRPr>
                    </a:p>
                  </a:txBody>
                  <a:tcPr marL="7144" marR="7144" marT="714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Clr>
                          <a:srgbClr val="000000"/>
                        </a:buClr>
                        <a:buSzPts val="1070"/>
                        <a:buFont typeface="Calibri" panose="020F0502020204030204" pitchFamily="34" charset="0"/>
                        <a:buNone/>
                      </a:pPr>
                      <a:r>
                        <a:rPr lang="en-US" sz="800" b="0" i="0" u="none" strike="noStrike" dirty="0" smtClean="0">
                          <a:solidFill>
                            <a:schemeClr val="tx2"/>
                          </a:solidFill>
                          <a:effectLst/>
                          <a:latin typeface="+mn-lt"/>
                        </a:rPr>
                        <a:t>Cloud Engineers</a:t>
                      </a:r>
                      <a:endParaRPr lang="en-US" sz="800" b="0" i="0" u="none" strike="noStrike" dirty="0">
                        <a:solidFill>
                          <a:schemeClr val="tx2"/>
                        </a:solidFill>
                        <a:effectLst/>
                        <a:latin typeface="+mn-lt"/>
                      </a:endParaRPr>
                    </a:p>
                  </a:txBody>
                  <a:tcPr marL="7144" marR="7144" marT="714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45119740"/>
                  </a:ext>
                </a:extLst>
              </a:tr>
              <a:tr h="142875">
                <a:tc>
                  <a:txBody>
                    <a:bodyPr/>
                    <a:lstStyle/>
                    <a:p>
                      <a:pPr algn="l" fontAlgn="b">
                        <a:buClr>
                          <a:srgbClr val="000000"/>
                        </a:buClr>
                        <a:buSzPts val="1070"/>
                        <a:buFont typeface="Calibri" panose="020F0502020204030204" pitchFamily="34" charset="0"/>
                        <a:buNone/>
                      </a:pPr>
                      <a:r>
                        <a:rPr lang="en-US" sz="800" b="0" i="0" u="none" strike="noStrike" dirty="0" smtClean="0">
                          <a:solidFill>
                            <a:schemeClr val="tx2"/>
                          </a:solidFill>
                          <a:effectLst/>
                          <a:latin typeface="+mn-lt"/>
                        </a:rPr>
                        <a:t>Network Engineers</a:t>
                      </a:r>
                      <a:endParaRPr lang="en-US" sz="800" b="0" i="0" u="none" strike="noStrike" dirty="0">
                        <a:solidFill>
                          <a:schemeClr val="tx2"/>
                        </a:solidFill>
                        <a:effectLst/>
                        <a:latin typeface="+mn-lt"/>
                      </a:endParaRPr>
                    </a:p>
                  </a:txBody>
                  <a:tcPr marL="7144" marR="7144" marT="714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Clr>
                          <a:srgbClr val="000000"/>
                        </a:buClr>
                        <a:buSzPts val="1070"/>
                        <a:buFont typeface="Calibri" panose="020F0502020204030204" pitchFamily="34" charset="0"/>
                        <a:buNone/>
                      </a:pPr>
                      <a:r>
                        <a:rPr lang="en-US" sz="800" b="0" i="0" u="none" strike="noStrike" dirty="0" smtClean="0">
                          <a:solidFill>
                            <a:schemeClr val="tx2"/>
                          </a:solidFill>
                          <a:effectLst/>
                          <a:latin typeface="+mn-lt"/>
                        </a:rPr>
                        <a:t>Network Engineers</a:t>
                      </a:r>
                      <a:endParaRPr lang="en-US" sz="800" b="0" i="0" u="none" strike="noStrike" dirty="0">
                        <a:solidFill>
                          <a:schemeClr val="tx2"/>
                        </a:solidFill>
                        <a:effectLst/>
                        <a:latin typeface="+mn-lt"/>
                      </a:endParaRPr>
                    </a:p>
                  </a:txBody>
                  <a:tcPr marL="7144" marR="7144" marT="714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33026872"/>
                  </a:ext>
                </a:extLst>
              </a:tr>
              <a:tr h="374047">
                <a:tc>
                  <a:txBody>
                    <a:bodyPr/>
                    <a:lstStyle/>
                    <a:p>
                      <a:pPr algn="l" fontAlgn="b">
                        <a:buClr>
                          <a:srgbClr val="000000"/>
                        </a:buClr>
                        <a:buSzPts val="1070"/>
                        <a:buFont typeface="Calibri" panose="020F0502020204030204" pitchFamily="34" charset="0"/>
                        <a:buNone/>
                      </a:pPr>
                      <a:r>
                        <a:rPr lang="en-US" sz="800" b="0" i="0" u="none" strike="noStrike" dirty="0" smtClean="0">
                          <a:solidFill>
                            <a:schemeClr val="tx2"/>
                          </a:solidFill>
                          <a:effectLst/>
                          <a:latin typeface="+mn-lt"/>
                        </a:rPr>
                        <a:t>Remote</a:t>
                      </a:r>
                      <a:r>
                        <a:rPr lang="en-US" sz="800" b="0" i="0" u="none" strike="noStrike" baseline="0" dirty="0" smtClean="0">
                          <a:solidFill>
                            <a:schemeClr val="tx2"/>
                          </a:solidFill>
                          <a:effectLst/>
                          <a:latin typeface="+mn-lt"/>
                        </a:rPr>
                        <a:t> Desktop/Mobility Support Engineer</a:t>
                      </a:r>
                      <a:endParaRPr lang="en-US" sz="800" b="0" i="0" u="none" strike="noStrike" dirty="0">
                        <a:solidFill>
                          <a:schemeClr val="tx2"/>
                        </a:solidFill>
                        <a:effectLst/>
                        <a:latin typeface="+mn-lt"/>
                      </a:endParaRPr>
                    </a:p>
                  </a:txBody>
                  <a:tcPr marL="7144" marR="7144" marT="714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Clr>
                          <a:srgbClr val="000000"/>
                        </a:buClr>
                        <a:buSzPts val="1070"/>
                        <a:buFont typeface="Calibri" panose="020F0502020204030204" pitchFamily="34" charset="0"/>
                        <a:buNone/>
                      </a:pPr>
                      <a:r>
                        <a:rPr lang="en-US" sz="800" b="0" i="0" u="none" strike="noStrike" dirty="0" smtClean="0">
                          <a:solidFill>
                            <a:schemeClr val="tx2"/>
                          </a:solidFill>
                          <a:effectLst/>
                          <a:latin typeface="+mn-lt"/>
                        </a:rPr>
                        <a:t>Remote</a:t>
                      </a:r>
                      <a:r>
                        <a:rPr lang="en-US" sz="800" b="0" i="0" u="none" strike="noStrike" baseline="0" dirty="0" smtClean="0">
                          <a:solidFill>
                            <a:schemeClr val="tx2"/>
                          </a:solidFill>
                          <a:effectLst/>
                          <a:latin typeface="+mn-lt"/>
                        </a:rPr>
                        <a:t> Desktop/Mobility Support Engineer</a:t>
                      </a:r>
                      <a:endParaRPr lang="en-US" sz="800" b="0" i="0" u="none" strike="noStrike" dirty="0">
                        <a:solidFill>
                          <a:schemeClr val="tx2"/>
                        </a:solidFill>
                        <a:effectLst/>
                        <a:latin typeface="+mn-lt"/>
                      </a:endParaRPr>
                    </a:p>
                  </a:txBody>
                  <a:tcPr marL="7144" marR="7144" marT="714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40486541"/>
                  </a:ext>
                </a:extLst>
              </a:tr>
              <a:tr h="142875">
                <a:tc>
                  <a:txBody>
                    <a:bodyPr/>
                    <a:lstStyle/>
                    <a:p>
                      <a:pPr algn="l" fontAlgn="b">
                        <a:buClr>
                          <a:srgbClr val="000000"/>
                        </a:buClr>
                        <a:buSzPts val="1070"/>
                        <a:buFont typeface="Calibri" panose="020F0502020204030204" pitchFamily="34" charset="0"/>
                        <a:buNone/>
                      </a:pPr>
                      <a:r>
                        <a:rPr lang="en-US" sz="800" b="0" i="0" u="none" strike="noStrike" dirty="0" smtClean="0">
                          <a:solidFill>
                            <a:schemeClr val="tx2"/>
                          </a:solidFill>
                          <a:effectLst/>
                          <a:latin typeface="+mn-lt"/>
                        </a:rPr>
                        <a:t>Security</a:t>
                      </a:r>
                      <a:r>
                        <a:rPr lang="en-US" sz="800" b="0" i="0" u="none" strike="noStrike" baseline="0" dirty="0" smtClean="0">
                          <a:solidFill>
                            <a:schemeClr val="tx2"/>
                          </a:solidFill>
                          <a:effectLst/>
                          <a:latin typeface="+mn-lt"/>
                        </a:rPr>
                        <a:t> Engineer</a:t>
                      </a:r>
                      <a:endParaRPr lang="en-US" sz="800" b="0" i="0" u="none" strike="noStrike" dirty="0">
                        <a:solidFill>
                          <a:schemeClr val="tx2"/>
                        </a:solidFill>
                        <a:effectLst/>
                        <a:latin typeface="+mn-lt"/>
                      </a:endParaRPr>
                    </a:p>
                  </a:txBody>
                  <a:tcPr marL="7144" marR="7144" marT="714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Clr>
                          <a:srgbClr val="000000"/>
                        </a:buClr>
                        <a:buSzPts val="1070"/>
                        <a:buFont typeface="Calibri" panose="020F0502020204030204" pitchFamily="34" charset="0"/>
                        <a:buNone/>
                      </a:pPr>
                      <a:r>
                        <a:rPr lang="en-US" sz="800" b="0" i="0" u="none" strike="noStrike" dirty="0" smtClean="0">
                          <a:solidFill>
                            <a:schemeClr val="tx2"/>
                          </a:solidFill>
                          <a:effectLst/>
                          <a:latin typeface="+mn-lt"/>
                        </a:rPr>
                        <a:t>Security</a:t>
                      </a:r>
                      <a:r>
                        <a:rPr lang="en-US" sz="800" b="0" i="0" u="none" strike="noStrike" baseline="0" dirty="0" smtClean="0">
                          <a:solidFill>
                            <a:schemeClr val="tx2"/>
                          </a:solidFill>
                          <a:effectLst/>
                          <a:latin typeface="+mn-lt"/>
                        </a:rPr>
                        <a:t> Engineer</a:t>
                      </a:r>
                      <a:endParaRPr lang="en-US" sz="800" b="0" i="0" u="none" strike="noStrike" dirty="0">
                        <a:solidFill>
                          <a:schemeClr val="tx2"/>
                        </a:solidFill>
                        <a:effectLst/>
                        <a:latin typeface="+mn-lt"/>
                      </a:endParaRPr>
                    </a:p>
                  </a:txBody>
                  <a:tcPr marL="7144" marR="7144" marT="714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74651961"/>
                  </a:ext>
                </a:extLst>
              </a:tr>
              <a:tr h="142875">
                <a:tc>
                  <a:txBody>
                    <a:bodyPr/>
                    <a:lstStyle/>
                    <a:p>
                      <a:pPr algn="l" fontAlgn="b">
                        <a:buClr>
                          <a:srgbClr val="000000"/>
                        </a:buClr>
                        <a:buSzPts val="1070"/>
                        <a:buFont typeface="Calibri" panose="020F0502020204030204" pitchFamily="34" charset="0"/>
                        <a:buChar char="C"/>
                      </a:pPr>
                      <a:r>
                        <a:rPr lang="en-US" sz="800" b="0" i="0" u="none" strike="noStrike" dirty="0" err="1" smtClean="0">
                          <a:solidFill>
                            <a:schemeClr val="tx2"/>
                          </a:solidFill>
                          <a:effectLst/>
                          <a:latin typeface="+mn-lt"/>
                        </a:rPr>
                        <a:t>ompliance</a:t>
                      </a:r>
                      <a:r>
                        <a:rPr lang="en-US" sz="800" b="0" i="0" u="none" strike="noStrike" baseline="0" dirty="0" smtClean="0">
                          <a:solidFill>
                            <a:schemeClr val="tx2"/>
                          </a:solidFill>
                          <a:effectLst/>
                          <a:latin typeface="+mn-lt"/>
                        </a:rPr>
                        <a:t> Manager</a:t>
                      </a:r>
                      <a:endParaRPr lang="en-US" sz="800" b="0" i="0" u="none" strike="noStrike" dirty="0">
                        <a:solidFill>
                          <a:schemeClr val="tx2"/>
                        </a:solidFill>
                        <a:effectLst/>
                        <a:latin typeface="+mn-lt"/>
                      </a:endParaRPr>
                    </a:p>
                  </a:txBody>
                  <a:tcPr marL="7144" marR="7144" marT="714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buClr>
                          <a:srgbClr val="000000"/>
                        </a:buClr>
                        <a:buSzPts val="1070"/>
                        <a:buFont typeface="Calibri" panose="020F0502020204030204" pitchFamily="34" charset="0"/>
                        <a:buChar char="C"/>
                      </a:pPr>
                      <a:r>
                        <a:rPr lang="en-US" sz="800" b="0" i="0" u="none" strike="noStrike" dirty="0" err="1" smtClean="0">
                          <a:solidFill>
                            <a:schemeClr val="tx2"/>
                          </a:solidFill>
                          <a:effectLst/>
                          <a:latin typeface="+mn-lt"/>
                        </a:rPr>
                        <a:t>ompliance</a:t>
                      </a:r>
                      <a:r>
                        <a:rPr lang="en-US" sz="800" b="0" i="0" u="none" strike="noStrike" baseline="0" dirty="0" smtClean="0">
                          <a:solidFill>
                            <a:schemeClr val="tx2"/>
                          </a:solidFill>
                          <a:effectLst/>
                          <a:latin typeface="+mn-lt"/>
                        </a:rPr>
                        <a:t> Manager</a:t>
                      </a:r>
                      <a:endParaRPr lang="en-US" sz="800" b="0" i="0" u="none" strike="noStrike" dirty="0">
                        <a:solidFill>
                          <a:schemeClr val="tx2"/>
                        </a:solidFill>
                        <a:effectLst/>
                        <a:latin typeface="+mn-lt"/>
                      </a:endParaRPr>
                    </a:p>
                  </a:txBody>
                  <a:tcPr marL="7144" marR="7144" marT="714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06089303"/>
                  </a:ext>
                </a:extLst>
              </a:tr>
              <a:tr h="142875">
                <a:tc>
                  <a:txBody>
                    <a:bodyPr/>
                    <a:lstStyle/>
                    <a:p>
                      <a:pPr algn="l" fontAlgn="b"/>
                      <a:r>
                        <a:rPr lang="en-US" sz="800" b="0" i="0" u="none" strike="noStrike">
                          <a:solidFill>
                            <a:schemeClr val="tx2"/>
                          </a:solidFill>
                          <a:effectLst/>
                          <a:latin typeface="+mn-lt"/>
                        </a:rPr>
                        <a:t> </a:t>
                      </a:r>
                    </a:p>
                  </a:txBody>
                  <a:tcPr marL="7144" marR="7144" marT="714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b="0" i="0" u="none" strike="noStrike" dirty="0">
                          <a:solidFill>
                            <a:schemeClr val="tx2"/>
                          </a:solidFill>
                          <a:effectLst/>
                          <a:latin typeface="+mn-lt"/>
                        </a:rPr>
                        <a:t>Cyber Threat Defense</a:t>
                      </a:r>
                    </a:p>
                  </a:txBody>
                  <a:tcPr marL="7144" marR="7144" marT="714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7573939"/>
                  </a:ext>
                </a:extLst>
              </a:tr>
            </a:tbl>
          </a:graphicData>
        </a:graphic>
      </p:graphicFrame>
      <p:pic>
        <p:nvPicPr>
          <p:cNvPr id="587" name="Picture 586" descr="weekly-message.png"/>
          <p:cNvPicPr>
            <a:picLocks noChangeAspect="1"/>
          </p:cNvPicPr>
          <p:nvPr/>
        </p:nvPicPr>
        <p:blipFill>
          <a:blip r:embed="rId381"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323895" y="1326745"/>
            <a:ext cx="280608" cy="210456"/>
          </a:xfrm>
          <a:prstGeom prst="rect">
            <a:avLst/>
          </a:prstGeom>
        </p:spPr>
      </p:pic>
      <p:pic>
        <p:nvPicPr>
          <p:cNvPr id="588" name="Picture 587"/>
          <p:cNvPicPr>
            <a:picLocks noChangeAspect="1"/>
          </p:cNvPicPr>
          <p:nvPr/>
        </p:nvPicPr>
        <p:blipFill>
          <a:blip r:embed="rId382" cstate="print">
            <a:duotone>
              <a:prstClr val="black"/>
              <a:srgbClr val="A50021">
                <a:tint val="45000"/>
                <a:satMod val="400000"/>
              </a:srgbClr>
            </a:duotone>
            <a:extLst>
              <a:ext uri="{28A0092B-C50C-407E-A947-70E740481C1C}">
                <a14:useLocalDpi xmlns:a14="http://schemas.microsoft.com/office/drawing/2010/main" val="0"/>
              </a:ext>
            </a:extLst>
          </a:blip>
          <a:stretch>
            <a:fillRect/>
          </a:stretch>
        </p:blipFill>
        <p:spPr>
          <a:xfrm>
            <a:off x="1390614" y="1440788"/>
            <a:ext cx="162671" cy="228600"/>
          </a:xfrm>
          <a:prstGeom prst="rect">
            <a:avLst/>
          </a:prstGeom>
        </p:spPr>
      </p:pic>
      <p:sp>
        <p:nvSpPr>
          <p:cNvPr id="589" name="Rectangular Callout 588"/>
          <p:cNvSpPr/>
          <p:nvPr/>
        </p:nvSpPr>
        <p:spPr>
          <a:xfrm>
            <a:off x="172839" y="1934493"/>
            <a:ext cx="1060523" cy="867290"/>
          </a:xfrm>
          <a:prstGeom prst="wedgeRectCallout">
            <a:avLst>
              <a:gd name="adj1" fmla="val 69622"/>
              <a:gd name="adj2" fmla="val -80832"/>
            </a:avLst>
          </a:prstGeom>
          <a:solidFill>
            <a:schemeClr val="bg1"/>
          </a:solidFill>
          <a:ln>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2400">
              <a:solidFill>
                <a:prstClr val="white"/>
              </a:solidFill>
              <a:latin typeface="Arial" panose="020B0604020202020204" pitchFamily="34" charset="0"/>
              <a:cs typeface="Arial" panose="020B0604020202020204" pitchFamily="34" charset="0"/>
            </a:endParaRPr>
          </a:p>
        </p:txBody>
      </p:sp>
      <p:sp>
        <p:nvSpPr>
          <p:cNvPr id="591" name="TextBox 590"/>
          <p:cNvSpPr txBox="1"/>
          <p:nvPr/>
        </p:nvSpPr>
        <p:spPr>
          <a:xfrm>
            <a:off x="139113" y="1965552"/>
            <a:ext cx="1076188" cy="369332"/>
          </a:xfrm>
          <a:prstGeom prst="rect">
            <a:avLst/>
          </a:prstGeom>
          <a:noFill/>
        </p:spPr>
        <p:txBody>
          <a:bodyPr wrap="square" rtlCol="0">
            <a:spAutoFit/>
          </a:bodyPr>
          <a:lstStyle/>
          <a:p>
            <a:pPr algn="ctr" defTabSz="685800">
              <a:defRPr/>
            </a:pPr>
            <a:r>
              <a:rPr lang="en-US" sz="900" b="1" dirty="0">
                <a:solidFill>
                  <a:prstClr val="black"/>
                </a:solidFill>
                <a:latin typeface="Arial" panose="020B0604020202020204" pitchFamily="34" charset="0"/>
                <a:cs typeface="Arial" panose="020B0604020202020204" pitchFamily="34" charset="0"/>
              </a:rPr>
              <a:t>Denver, CO, USA</a:t>
            </a:r>
          </a:p>
        </p:txBody>
      </p:sp>
      <p:sp>
        <p:nvSpPr>
          <p:cNvPr id="592" name="TextBox 591"/>
          <p:cNvSpPr txBox="1"/>
          <p:nvPr/>
        </p:nvSpPr>
        <p:spPr>
          <a:xfrm>
            <a:off x="152927" y="2265259"/>
            <a:ext cx="1053601" cy="338554"/>
          </a:xfrm>
          <a:prstGeom prst="rect">
            <a:avLst/>
          </a:prstGeom>
          <a:noFill/>
        </p:spPr>
        <p:txBody>
          <a:bodyPr wrap="square" rtlCol="0">
            <a:spAutoFit/>
          </a:bodyPr>
          <a:lstStyle/>
          <a:p>
            <a:pPr marL="91438" indent="-91438" defTabSz="685800">
              <a:buFont typeface="Arial" panose="020B0604020202020204" pitchFamily="34" charset="0"/>
              <a:buChar char="•"/>
              <a:defRPr/>
            </a:pPr>
            <a:r>
              <a:rPr lang="en-US" sz="800" dirty="0">
                <a:solidFill>
                  <a:prstClr val="black"/>
                </a:solidFill>
                <a:latin typeface="Arial" panose="020B0604020202020204" pitchFamily="34" charset="0"/>
                <a:cs typeface="Arial" panose="020B0604020202020204" pitchFamily="34" charset="0"/>
              </a:rPr>
              <a:t>Cyber Threat Defense</a:t>
            </a:r>
          </a:p>
        </p:txBody>
      </p:sp>
      <p:sp>
        <p:nvSpPr>
          <p:cNvPr id="590" name="Footer Placeholder 2"/>
          <p:cNvSpPr>
            <a:spLocks noGrp="1"/>
          </p:cNvSpPr>
          <p:nvPr>
            <p:ph type="ftr" sz="quarter" idx="11"/>
          </p:nvPr>
        </p:nvSpPr>
        <p:spPr>
          <a:xfrm>
            <a:off x="640080" y="4800600"/>
            <a:ext cx="4572000" cy="155448"/>
          </a:xfrm>
        </p:spPr>
        <p:txBody>
          <a:bodyPr/>
          <a:lstStyle/>
          <a:p>
            <a:pPr defTabSz="685800">
              <a:defRPr/>
            </a:pPr>
            <a:r>
              <a:rPr lang="en-US" sz="750" dirty="0">
                <a:solidFill>
                  <a:srgbClr val="0033A0"/>
                </a:solidFill>
                <a:latin typeface="Arial" panose="020B0604020202020204"/>
                <a:cs typeface="+mn-cs"/>
              </a:rPr>
              <a:t>© 2020 Cognizant</a:t>
            </a:r>
          </a:p>
        </p:txBody>
      </p:sp>
    </p:spTree>
    <p:extLst>
      <p:ext uri="{BB962C8B-B14F-4D97-AF65-F5344CB8AC3E}">
        <p14:creationId xmlns:p14="http://schemas.microsoft.com/office/powerpoint/2010/main" val="416001079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821799" y="1709543"/>
            <a:ext cx="6731000" cy="1828193"/>
          </a:xfrm>
        </p:spPr>
        <p:txBody>
          <a:bodyPr/>
          <a:lstStyle/>
          <a:p>
            <a:r>
              <a:rPr lang="en-US" dirty="0" smtClean="0"/>
              <a:t>Tower Wise – Focus Areas</a:t>
            </a:r>
            <a:r>
              <a:rPr lang="en-US" dirty="0"/>
              <a:t/>
            </a:r>
            <a:br>
              <a:rPr lang="en-US" dirty="0"/>
            </a:br>
            <a:r>
              <a:rPr lang="en-US" dirty="0"/>
              <a:t/>
            </a:r>
            <a:br>
              <a:rPr lang="en-US" dirty="0"/>
            </a:br>
            <a:endParaRPr lang="en-US" dirty="0"/>
          </a:p>
        </p:txBody>
      </p:sp>
      <p:sp>
        <p:nvSpPr>
          <p:cNvPr id="4" name="Slide Number"/>
          <p:cNvSpPr txBox="1"/>
          <p:nvPr/>
        </p:nvSpPr>
        <p:spPr>
          <a:xfrm>
            <a:off x="285750" y="4886325"/>
            <a:ext cx="170117" cy="196208"/>
          </a:xfrm>
          <a:prstGeom prst="rect">
            <a:avLst/>
          </a:prstGeom>
          <a:noFill/>
        </p:spPr>
        <p:txBody>
          <a:bodyPr vert="horz" rtlCol="0">
            <a:spAutoFit/>
          </a:bodyPr>
          <a:lstStyle/>
          <a:p>
            <a:pPr algn="ctr"/>
            <a:r>
              <a:rPr lang="en-US" sz="675">
                <a:solidFill>
                  <a:srgbClr val="000000"/>
                </a:solidFill>
              </a:rPr>
              <a:t>7</a:t>
            </a:r>
          </a:p>
        </p:txBody>
      </p:sp>
    </p:spTree>
    <p:extLst>
      <p:ext uri="{BB962C8B-B14F-4D97-AF65-F5344CB8AC3E}">
        <p14:creationId xmlns:p14="http://schemas.microsoft.com/office/powerpoint/2010/main" val="153718076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b="1" dirty="0" smtClean="0">
                <a:solidFill>
                  <a:srgbClr val="0033A0"/>
                </a:solidFill>
              </a:rPr>
              <a:t>Cloud</a:t>
            </a:r>
            <a:endParaRPr lang="en-US" sz="2000" dirty="0">
              <a:solidFill>
                <a:srgbClr val="0033A0"/>
              </a:solidFill>
            </a:endParaRPr>
          </a:p>
        </p:txBody>
      </p:sp>
      <p:sp>
        <p:nvSpPr>
          <p:cNvPr id="16" name="Footer Placeholder 15"/>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33A0"/>
                </a:solidFill>
                <a:effectLst/>
                <a:uLnTx/>
                <a:uFillTx/>
                <a:latin typeface="Arial" panose="020B0604020202020204" pitchFamily="34" charset="0"/>
                <a:ea typeface="+mn-ea"/>
                <a:cs typeface="Arial" panose="020B0604020202020204" pitchFamily="34" charset="0"/>
              </a:rPr>
              <a:t>© 2020 Cognizant</a:t>
            </a:r>
            <a:endParaRPr kumimoji="0" lang="en-US" sz="800" b="0" i="0" u="none" strike="noStrike" kern="1200" cap="none" spc="0" normalizeH="0" baseline="0" noProof="0" dirty="0">
              <a:ln>
                <a:noFill/>
              </a:ln>
              <a:solidFill>
                <a:srgbClr val="0033A0"/>
              </a:solidFill>
              <a:effectLst/>
              <a:uLnTx/>
              <a:uFillTx/>
              <a:latin typeface="Arial" panose="020B0604020202020204" pitchFamily="34" charset="0"/>
              <a:ea typeface="+mn-ea"/>
              <a:cs typeface="Arial" panose="020B0604020202020204" pitchFamily="34" charset="0"/>
            </a:endParaRPr>
          </a:p>
        </p:txBody>
      </p:sp>
      <p:sp>
        <p:nvSpPr>
          <p:cNvPr id="17" name="Slide Number Placeholder 16"/>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EFEF571-C9B4-4D92-A7F7-315B894862A8}" type="slidenum">
              <a:rPr kumimoji="0" lang="en-US" sz="800" b="1" i="0" u="none" strike="noStrike" kern="1200" cap="none" spc="0" normalizeH="0" baseline="0" noProof="0" smtClean="0">
                <a:ln>
                  <a:noFill/>
                </a:ln>
                <a:solidFill>
                  <a:srgbClr val="0033A0"/>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28</a:t>
            </a:fld>
            <a:endParaRPr kumimoji="0" lang="en-US" sz="800" b="1" i="0" u="none" strike="noStrike" kern="1200" cap="none" spc="0" normalizeH="0" baseline="0" noProof="0" dirty="0">
              <a:ln>
                <a:noFill/>
              </a:ln>
              <a:solidFill>
                <a:srgbClr val="0033A0"/>
              </a:solidFill>
              <a:effectLst/>
              <a:uLnTx/>
              <a:uFillTx/>
              <a:latin typeface="Arial" panose="020B0604020202020204" pitchFamily="34" charset="0"/>
              <a:ea typeface="+mn-ea"/>
              <a:cs typeface="Arial" panose="020B0604020202020204" pitchFamily="34" charset="0"/>
            </a:endParaRPr>
          </a:p>
        </p:txBody>
      </p:sp>
      <p:sp>
        <p:nvSpPr>
          <p:cNvPr id="3" name="TextBox 2"/>
          <p:cNvSpPr txBox="1"/>
          <p:nvPr/>
        </p:nvSpPr>
        <p:spPr>
          <a:xfrm>
            <a:off x="613700" y="567329"/>
            <a:ext cx="7956986" cy="4078039"/>
          </a:xfrm>
          <a:prstGeom prst="rect">
            <a:avLst/>
          </a:prstGeom>
          <a:ln>
            <a:solidFill>
              <a:schemeClr val="tx2"/>
            </a:solidFill>
          </a:ln>
        </p:spPr>
        <p:txBody>
          <a:bodyPr wrap="square" lIns="0" tIns="0" rIns="0" bIns="0" rtlCol="0">
            <a:spAutoFit/>
          </a:bodyPr>
          <a:lstStyle/>
          <a:p>
            <a:pPr marL="171450" indent="-171450" algn="l">
              <a:lnSpc>
                <a:spcPct val="150000"/>
              </a:lnSpc>
              <a:buFont typeface="Wingdings" panose="05000000000000000000" pitchFamily="2" charset="2"/>
              <a:buChar char="Ø"/>
            </a:pPr>
            <a:r>
              <a:rPr lang="en-US" sz="1200" b="1" dirty="0" smtClean="0">
                <a:solidFill>
                  <a:schemeClr val="tx2"/>
                </a:solidFill>
              </a:rPr>
              <a:t>Azure Environment</a:t>
            </a:r>
            <a:endParaRPr lang="en-US" dirty="0" smtClean="0">
              <a:solidFill>
                <a:schemeClr val="tx2"/>
              </a:solidFill>
            </a:endParaRPr>
          </a:p>
          <a:p>
            <a:pPr lvl="1"/>
            <a:r>
              <a:rPr lang="en-US" sz="1000" dirty="0" smtClean="0">
                <a:solidFill>
                  <a:schemeClr val="tx2"/>
                </a:solidFill>
              </a:rPr>
              <a:t>PCM along with BHF &amp; MS will be building the new Azure environment with required security protocols.  As part of KT, we are required to validate all functionality and features in the new Azure environment.  Gaps has to be documented and sign off from BHF and mutually work on fixing the gaps.</a:t>
            </a:r>
          </a:p>
          <a:p>
            <a:pPr lvl="1"/>
            <a:endParaRPr lang="en-US" sz="1000" dirty="0" smtClean="0">
              <a:solidFill>
                <a:schemeClr val="tx2"/>
              </a:solidFill>
            </a:endParaRPr>
          </a:p>
          <a:p>
            <a:pPr marL="171450" indent="-171450">
              <a:lnSpc>
                <a:spcPct val="150000"/>
              </a:lnSpc>
              <a:buFont typeface="Wingdings" panose="05000000000000000000" pitchFamily="2" charset="2"/>
              <a:buChar char="Ø"/>
            </a:pPr>
            <a:r>
              <a:rPr lang="en-US" sz="1200" b="1" dirty="0" smtClean="0">
                <a:solidFill>
                  <a:schemeClr val="tx2"/>
                </a:solidFill>
              </a:rPr>
              <a:t>AWS Environment</a:t>
            </a:r>
          </a:p>
          <a:p>
            <a:pPr lvl="1"/>
            <a:r>
              <a:rPr lang="en-US" sz="1000" dirty="0" smtClean="0">
                <a:solidFill>
                  <a:schemeClr val="tx2"/>
                </a:solidFill>
              </a:rPr>
              <a:t>Cognizant will be taking over the existing contract of AWS from IBM.  Inventory details of AWS has been provided by BHF. Transition team to validate the same during the transition and document the gaps with sign off from BHF.  As per current state, there is no cloud firewall in AWS region is our understanding.</a:t>
            </a:r>
          </a:p>
          <a:p>
            <a:pPr lvl="1"/>
            <a:endParaRPr lang="en-US" sz="1000" dirty="0">
              <a:solidFill>
                <a:schemeClr val="tx2"/>
              </a:solidFill>
            </a:endParaRPr>
          </a:p>
          <a:p>
            <a:pPr marL="171450" indent="-171450">
              <a:lnSpc>
                <a:spcPct val="150000"/>
              </a:lnSpc>
              <a:buFont typeface="Wingdings" panose="05000000000000000000" pitchFamily="2" charset="2"/>
              <a:buChar char="Ø"/>
            </a:pPr>
            <a:r>
              <a:rPr lang="en-US" sz="1200" b="1" dirty="0" smtClean="0">
                <a:solidFill>
                  <a:schemeClr val="tx2"/>
                </a:solidFill>
              </a:rPr>
              <a:t>Service Now CMP</a:t>
            </a:r>
          </a:p>
          <a:p>
            <a:pPr lvl="1"/>
            <a:r>
              <a:rPr lang="en-US" sz="1000" dirty="0" smtClean="0">
                <a:solidFill>
                  <a:schemeClr val="tx2"/>
                </a:solidFill>
              </a:rPr>
              <a:t>As part of the proposed solution, Cognizant is expected to design and implement Service Now CMP.  In addition, 20 Service catalog creation is the commitment.  Catch here is Service Now tool is Managed by HCL.  HCL will not provide admin access for Cognizant.  The entire implementation ownership will be on Cognizant and only the touch time in Service Now tool will be executed by HCL.  ISAM layer and Transformation Manager has to collaborate with HCL to implement the Cloud Management Platform</a:t>
            </a:r>
          </a:p>
          <a:p>
            <a:pPr lvl="1"/>
            <a:endParaRPr lang="en-US" sz="1000" dirty="0">
              <a:solidFill>
                <a:schemeClr val="tx2"/>
              </a:solidFill>
            </a:endParaRPr>
          </a:p>
          <a:p>
            <a:pPr marL="171450" indent="-171450">
              <a:lnSpc>
                <a:spcPct val="150000"/>
              </a:lnSpc>
              <a:buFont typeface="Wingdings" panose="05000000000000000000" pitchFamily="2" charset="2"/>
              <a:buChar char="Ø"/>
            </a:pPr>
            <a:r>
              <a:rPr lang="en-US" sz="1200" b="1" dirty="0" smtClean="0">
                <a:solidFill>
                  <a:schemeClr val="tx2"/>
                </a:solidFill>
              </a:rPr>
              <a:t>Monitoring &amp; Backup</a:t>
            </a:r>
          </a:p>
          <a:p>
            <a:pPr lvl="1"/>
            <a:r>
              <a:rPr lang="en-US" sz="1000" dirty="0" smtClean="0">
                <a:solidFill>
                  <a:schemeClr val="tx2"/>
                </a:solidFill>
              </a:rPr>
              <a:t>Cloud native backup and monitoring is the solution for both Azure &amp; AWS.  Validation of services is required as part of take over.  All backups has to be tested on a yearly basis to prove that the backups taken are active and can be used in case of a disaster</a:t>
            </a:r>
          </a:p>
          <a:p>
            <a:endParaRPr lang="en-US" sz="1000" dirty="0">
              <a:solidFill>
                <a:schemeClr val="tx2"/>
              </a:solidFill>
            </a:endParaRPr>
          </a:p>
          <a:p>
            <a:pPr marL="171450" indent="-171450">
              <a:lnSpc>
                <a:spcPct val="150000"/>
              </a:lnSpc>
              <a:buFont typeface="Wingdings" panose="05000000000000000000" pitchFamily="2" charset="2"/>
              <a:buChar char="Ø"/>
            </a:pPr>
            <a:r>
              <a:rPr lang="en-US" sz="1200" b="1" dirty="0" smtClean="0">
                <a:solidFill>
                  <a:schemeClr val="tx2"/>
                </a:solidFill>
              </a:rPr>
              <a:t>IBM Soft Layer</a:t>
            </a:r>
          </a:p>
          <a:p>
            <a:pPr lvl="1">
              <a:lnSpc>
                <a:spcPct val="150000"/>
              </a:lnSpc>
            </a:pPr>
            <a:r>
              <a:rPr lang="en-US" sz="1000" dirty="0" smtClean="0">
                <a:solidFill>
                  <a:schemeClr val="tx2"/>
                </a:solidFill>
              </a:rPr>
              <a:t>IBM has declined to provide access to IBM </a:t>
            </a:r>
            <a:r>
              <a:rPr lang="en-US" sz="1000" dirty="0" err="1" smtClean="0">
                <a:solidFill>
                  <a:schemeClr val="tx2"/>
                </a:solidFill>
              </a:rPr>
              <a:t>Softlayer</a:t>
            </a:r>
            <a:r>
              <a:rPr lang="en-US" sz="1000" dirty="0" smtClean="0">
                <a:solidFill>
                  <a:schemeClr val="tx2"/>
                </a:solidFill>
              </a:rPr>
              <a:t>.  Any support for </a:t>
            </a:r>
            <a:r>
              <a:rPr lang="en-US" sz="1000" dirty="0" err="1" smtClean="0">
                <a:solidFill>
                  <a:schemeClr val="tx2"/>
                </a:solidFill>
              </a:rPr>
              <a:t>Softlayer</a:t>
            </a:r>
            <a:r>
              <a:rPr lang="en-US" sz="1000" dirty="0" smtClean="0">
                <a:solidFill>
                  <a:schemeClr val="tx2"/>
                </a:solidFill>
              </a:rPr>
              <a:t> is out of scope.</a:t>
            </a:r>
            <a:endParaRPr lang="en-US" dirty="0" smtClean="0">
              <a:solidFill>
                <a:schemeClr val="tx2"/>
              </a:solidFill>
            </a:endParaRPr>
          </a:p>
        </p:txBody>
      </p:sp>
    </p:spTree>
    <p:extLst>
      <p:ext uri="{BB962C8B-B14F-4D97-AF65-F5344CB8AC3E}">
        <p14:creationId xmlns:p14="http://schemas.microsoft.com/office/powerpoint/2010/main" val="46408231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b="1" dirty="0" smtClean="0">
                <a:solidFill>
                  <a:srgbClr val="0033A0"/>
                </a:solidFill>
              </a:rPr>
              <a:t>Network</a:t>
            </a:r>
            <a:endParaRPr lang="en-US" sz="2000" dirty="0">
              <a:solidFill>
                <a:srgbClr val="0033A0"/>
              </a:solidFill>
            </a:endParaRPr>
          </a:p>
        </p:txBody>
      </p:sp>
      <p:sp>
        <p:nvSpPr>
          <p:cNvPr id="16" name="Footer Placeholder 15"/>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33A0"/>
                </a:solidFill>
                <a:effectLst/>
                <a:uLnTx/>
                <a:uFillTx/>
                <a:latin typeface="Arial" panose="020B0604020202020204" pitchFamily="34" charset="0"/>
                <a:ea typeface="+mn-ea"/>
                <a:cs typeface="Arial" panose="020B0604020202020204" pitchFamily="34" charset="0"/>
              </a:rPr>
              <a:t>© 2020 Cognizant</a:t>
            </a:r>
            <a:endParaRPr kumimoji="0" lang="en-US" sz="800" b="0" i="0" u="none" strike="noStrike" kern="1200" cap="none" spc="0" normalizeH="0" baseline="0" noProof="0" dirty="0">
              <a:ln>
                <a:noFill/>
              </a:ln>
              <a:solidFill>
                <a:srgbClr val="0033A0"/>
              </a:solidFill>
              <a:effectLst/>
              <a:uLnTx/>
              <a:uFillTx/>
              <a:latin typeface="Arial" panose="020B0604020202020204" pitchFamily="34" charset="0"/>
              <a:ea typeface="+mn-ea"/>
              <a:cs typeface="Arial" panose="020B0604020202020204" pitchFamily="34" charset="0"/>
            </a:endParaRPr>
          </a:p>
        </p:txBody>
      </p:sp>
      <p:sp>
        <p:nvSpPr>
          <p:cNvPr id="17" name="Slide Number Placeholder 16"/>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EFEF571-C9B4-4D92-A7F7-315B894862A8}" type="slidenum">
              <a:rPr kumimoji="0" lang="en-US" sz="800" b="1" i="0" u="none" strike="noStrike" kern="1200" cap="none" spc="0" normalizeH="0" baseline="0" noProof="0" smtClean="0">
                <a:ln>
                  <a:noFill/>
                </a:ln>
                <a:solidFill>
                  <a:srgbClr val="0033A0"/>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29</a:t>
            </a:fld>
            <a:endParaRPr kumimoji="0" lang="en-US" sz="800" b="1" i="0" u="none" strike="noStrike" kern="1200" cap="none" spc="0" normalizeH="0" baseline="0" noProof="0" dirty="0">
              <a:ln>
                <a:noFill/>
              </a:ln>
              <a:solidFill>
                <a:srgbClr val="0033A0"/>
              </a:solidFill>
              <a:effectLst/>
              <a:uLnTx/>
              <a:uFillTx/>
              <a:latin typeface="Arial" panose="020B0604020202020204" pitchFamily="34" charset="0"/>
              <a:ea typeface="+mn-ea"/>
              <a:cs typeface="Arial" panose="020B0604020202020204" pitchFamily="34" charset="0"/>
            </a:endParaRPr>
          </a:p>
        </p:txBody>
      </p:sp>
      <p:sp>
        <p:nvSpPr>
          <p:cNvPr id="3" name="TextBox 2"/>
          <p:cNvSpPr txBox="1"/>
          <p:nvPr/>
        </p:nvSpPr>
        <p:spPr>
          <a:xfrm>
            <a:off x="613700" y="799556"/>
            <a:ext cx="7956986" cy="3693319"/>
          </a:xfrm>
          <a:prstGeom prst="rect">
            <a:avLst/>
          </a:prstGeom>
          <a:ln>
            <a:solidFill>
              <a:schemeClr val="tx2"/>
            </a:solidFill>
          </a:ln>
        </p:spPr>
        <p:txBody>
          <a:bodyPr wrap="square" lIns="0" tIns="0" rIns="0" bIns="0" rtlCol="0">
            <a:spAutoFit/>
          </a:bodyPr>
          <a:lstStyle/>
          <a:p>
            <a:pPr marL="171450" indent="-171450" algn="l">
              <a:lnSpc>
                <a:spcPct val="150000"/>
              </a:lnSpc>
              <a:buFont typeface="Wingdings" panose="05000000000000000000" pitchFamily="2" charset="2"/>
              <a:buChar char="Ø"/>
            </a:pPr>
            <a:r>
              <a:rPr lang="en-US" sz="1200" b="1" dirty="0" err="1" smtClean="0">
                <a:solidFill>
                  <a:schemeClr val="tx2"/>
                </a:solidFill>
              </a:rPr>
              <a:t>Equinix</a:t>
            </a:r>
            <a:r>
              <a:rPr lang="en-US" sz="1200" b="1" dirty="0" smtClean="0">
                <a:solidFill>
                  <a:schemeClr val="tx2"/>
                </a:solidFill>
              </a:rPr>
              <a:t> DC</a:t>
            </a:r>
            <a:endParaRPr lang="en-US" dirty="0" smtClean="0">
              <a:solidFill>
                <a:schemeClr val="tx2"/>
              </a:solidFill>
            </a:endParaRPr>
          </a:p>
          <a:p>
            <a:pPr lvl="1"/>
            <a:r>
              <a:rPr lang="en-US" sz="1000" dirty="0" smtClean="0">
                <a:solidFill>
                  <a:schemeClr val="tx2"/>
                </a:solidFill>
              </a:rPr>
              <a:t>Cognizant will be owning the contract of </a:t>
            </a:r>
            <a:r>
              <a:rPr lang="en-US" sz="1000" dirty="0" err="1" smtClean="0">
                <a:solidFill>
                  <a:schemeClr val="tx2"/>
                </a:solidFill>
              </a:rPr>
              <a:t>Colo</a:t>
            </a:r>
            <a:r>
              <a:rPr lang="en-US" sz="1000" dirty="0" smtClean="0">
                <a:solidFill>
                  <a:schemeClr val="tx2"/>
                </a:solidFill>
              </a:rPr>
              <a:t> DC Hosting.  Any coordination of activities in DC has to be done by our Network team</a:t>
            </a:r>
          </a:p>
          <a:p>
            <a:pPr lvl="1"/>
            <a:endParaRPr lang="en-US" sz="1000" dirty="0" smtClean="0">
              <a:solidFill>
                <a:schemeClr val="tx2"/>
              </a:solidFill>
            </a:endParaRPr>
          </a:p>
          <a:p>
            <a:pPr marL="171450" indent="-171450">
              <a:lnSpc>
                <a:spcPct val="150000"/>
              </a:lnSpc>
              <a:buFont typeface="Wingdings" panose="05000000000000000000" pitchFamily="2" charset="2"/>
              <a:buChar char="Ø"/>
            </a:pPr>
            <a:r>
              <a:rPr lang="en-US" sz="1200" b="1" dirty="0" smtClean="0">
                <a:solidFill>
                  <a:schemeClr val="tx2"/>
                </a:solidFill>
              </a:rPr>
              <a:t>ECX </a:t>
            </a:r>
          </a:p>
          <a:p>
            <a:pPr lvl="1"/>
            <a:r>
              <a:rPr lang="en-US" sz="1000" dirty="0" smtClean="0">
                <a:solidFill>
                  <a:schemeClr val="tx2"/>
                </a:solidFill>
              </a:rPr>
              <a:t>As part of </a:t>
            </a:r>
            <a:r>
              <a:rPr lang="en-US" sz="1000" dirty="0" err="1" smtClean="0">
                <a:solidFill>
                  <a:schemeClr val="tx2"/>
                </a:solidFill>
              </a:rPr>
              <a:t>Colo</a:t>
            </a:r>
            <a:r>
              <a:rPr lang="en-US" sz="1000" dirty="0" smtClean="0">
                <a:solidFill>
                  <a:schemeClr val="tx2"/>
                </a:solidFill>
              </a:rPr>
              <a:t> DC hosting contract, Cognizant is expected to clean up the existing ECX portal with help from </a:t>
            </a:r>
            <a:r>
              <a:rPr lang="en-US" sz="1000" dirty="0" err="1" smtClean="0">
                <a:solidFill>
                  <a:schemeClr val="tx2"/>
                </a:solidFill>
              </a:rPr>
              <a:t>Equinix</a:t>
            </a:r>
            <a:r>
              <a:rPr lang="en-US" sz="1000" dirty="0" smtClean="0">
                <a:solidFill>
                  <a:schemeClr val="tx2"/>
                </a:solidFill>
              </a:rPr>
              <a:t>/IBM, start maintaining the ECX portal.  ECX portal is the heart of BHF operations when it comes to SaaS connectivity with various SaaS providers.  A very critical item to be tracked as part of KT.</a:t>
            </a:r>
          </a:p>
          <a:p>
            <a:pPr lvl="1"/>
            <a:endParaRPr lang="en-US" sz="1000" dirty="0">
              <a:solidFill>
                <a:schemeClr val="tx2"/>
              </a:solidFill>
            </a:endParaRPr>
          </a:p>
          <a:p>
            <a:pPr marL="171450" indent="-171450">
              <a:lnSpc>
                <a:spcPct val="150000"/>
              </a:lnSpc>
              <a:buFont typeface="Wingdings" panose="05000000000000000000" pitchFamily="2" charset="2"/>
              <a:buChar char="Ø"/>
            </a:pPr>
            <a:r>
              <a:rPr lang="en-US" sz="1200" b="1" dirty="0" smtClean="0">
                <a:solidFill>
                  <a:schemeClr val="tx2"/>
                </a:solidFill>
              </a:rPr>
              <a:t>Century Link, CISCO/Meraki</a:t>
            </a:r>
          </a:p>
          <a:p>
            <a:pPr lvl="1"/>
            <a:r>
              <a:rPr lang="en-US" sz="1000" dirty="0" smtClean="0">
                <a:solidFill>
                  <a:schemeClr val="tx2"/>
                </a:solidFill>
              </a:rPr>
              <a:t>BHF will be owning the contract as well as the links directly with Century Link.  KT needs to include the topics relating to Century Link and CISCO/Meraki devices &amp; CISCO </a:t>
            </a:r>
            <a:r>
              <a:rPr lang="en-US" sz="1000" dirty="0" err="1" smtClean="0">
                <a:solidFill>
                  <a:schemeClr val="tx2"/>
                </a:solidFill>
              </a:rPr>
              <a:t>Smartnet</a:t>
            </a:r>
            <a:r>
              <a:rPr lang="en-US" sz="1000" dirty="0" smtClean="0">
                <a:solidFill>
                  <a:schemeClr val="tx2"/>
                </a:solidFill>
              </a:rPr>
              <a:t>.  Cognizant is expected to front end any issues by working with the respective vendor if a situation arises in future.</a:t>
            </a:r>
          </a:p>
          <a:p>
            <a:pPr lvl="1"/>
            <a:endParaRPr lang="en-US" sz="1000" dirty="0">
              <a:solidFill>
                <a:schemeClr val="tx2"/>
              </a:solidFill>
            </a:endParaRPr>
          </a:p>
          <a:p>
            <a:pPr marL="171450" indent="-171450">
              <a:lnSpc>
                <a:spcPct val="150000"/>
              </a:lnSpc>
              <a:buFont typeface="Wingdings" panose="05000000000000000000" pitchFamily="2" charset="2"/>
              <a:buChar char="Ø"/>
            </a:pPr>
            <a:r>
              <a:rPr lang="en-US" sz="1200" b="1" dirty="0" err="1" smtClean="0">
                <a:solidFill>
                  <a:schemeClr val="tx2"/>
                </a:solidFill>
              </a:rPr>
              <a:t>Solarwind</a:t>
            </a:r>
            <a:endParaRPr lang="en-US" sz="1200" b="1" dirty="0" smtClean="0">
              <a:solidFill>
                <a:schemeClr val="tx2"/>
              </a:solidFill>
            </a:endParaRPr>
          </a:p>
          <a:p>
            <a:pPr lvl="1"/>
            <a:r>
              <a:rPr lang="en-US" sz="1000" dirty="0" smtClean="0">
                <a:solidFill>
                  <a:schemeClr val="tx2"/>
                </a:solidFill>
              </a:rPr>
              <a:t>As part of Transformation, dependency on HCL for Integration and IBM for decommission of existing </a:t>
            </a:r>
            <a:r>
              <a:rPr lang="en-US" sz="1000" dirty="0" err="1" smtClean="0">
                <a:solidFill>
                  <a:schemeClr val="tx2"/>
                </a:solidFill>
              </a:rPr>
              <a:t>Solarwind</a:t>
            </a:r>
            <a:r>
              <a:rPr lang="en-US" sz="1000" dirty="0" smtClean="0">
                <a:solidFill>
                  <a:schemeClr val="tx2"/>
                </a:solidFill>
              </a:rPr>
              <a:t> instance has to be planned and tracked.  Any risk needs to be flagged to BHF</a:t>
            </a:r>
          </a:p>
          <a:p>
            <a:endParaRPr lang="en-US" sz="1000" dirty="0">
              <a:solidFill>
                <a:schemeClr val="tx2"/>
              </a:solidFill>
            </a:endParaRPr>
          </a:p>
          <a:p>
            <a:pPr marL="171450" indent="-171450">
              <a:lnSpc>
                <a:spcPct val="150000"/>
              </a:lnSpc>
              <a:buFont typeface="Wingdings" panose="05000000000000000000" pitchFamily="2" charset="2"/>
              <a:buChar char="Ø"/>
            </a:pPr>
            <a:r>
              <a:rPr lang="en-US" sz="1200" b="1" dirty="0" err="1" smtClean="0">
                <a:solidFill>
                  <a:schemeClr val="tx2"/>
                </a:solidFill>
              </a:rPr>
              <a:t>Inflobox</a:t>
            </a:r>
            <a:endParaRPr lang="en-US" sz="1200" b="1" dirty="0" smtClean="0">
              <a:solidFill>
                <a:schemeClr val="tx2"/>
              </a:solidFill>
            </a:endParaRPr>
          </a:p>
          <a:p>
            <a:pPr lvl="1"/>
            <a:r>
              <a:rPr lang="en-US" sz="1000" dirty="0" err="1" smtClean="0">
                <a:solidFill>
                  <a:schemeClr val="tx2"/>
                </a:solidFill>
              </a:rPr>
              <a:t>Inflobox</a:t>
            </a:r>
            <a:r>
              <a:rPr lang="en-US" sz="1000" dirty="0" smtClean="0">
                <a:solidFill>
                  <a:schemeClr val="tx2"/>
                </a:solidFill>
              </a:rPr>
              <a:t> transformation will be vendor lead implementation as Cognizant PS team does not have the capability.  BAU team to shadow the vendor during implementation. All architecture diagrams, documentation and run book updates are to be done by BAU team.</a:t>
            </a:r>
          </a:p>
        </p:txBody>
      </p:sp>
    </p:spTree>
    <p:extLst>
      <p:ext uri="{BB962C8B-B14F-4D97-AF65-F5344CB8AC3E}">
        <p14:creationId xmlns:p14="http://schemas.microsoft.com/office/powerpoint/2010/main" val="30637758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821799" y="1709543"/>
            <a:ext cx="6731000" cy="1828193"/>
          </a:xfrm>
        </p:spPr>
        <p:txBody>
          <a:bodyPr/>
          <a:lstStyle/>
          <a:p>
            <a:r>
              <a:rPr lang="en-US" dirty="0"/>
              <a:t>BHF – Company Overview</a:t>
            </a:r>
            <a:br>
              <a:rPr lang="en-US" dirty="0"/>
            </a:br>
            <a:r>
              <a:rPr lang="en-US" dirty="0"/>
              <a:t/>
            </a:r>
            <a:br>
              <a:rPr lang="en-US" dirty="0"/>
            </a:br>
            <a:endParaRPr lang="en-US" dirty="0"/>
          </a:p>
        </p:txBody>
      </p:sp>
      <p:sp>
        <p:nvSpPr>
          <p:cNvPr id="4" name="Slide Number"/>
          <p:cNvSpPr txBox="1"/>
          <p:nvPr/>
        </p:nvSpPr>
        <p:spPr>
          <a:xfrm>
            <a:off x="285750" y="4886325"/>
            <a:ext cx="170117" cy="196208"/>
          </a:xfrm>
          <a:prstGeom prst="rect">
            <a:avLst/>
          </a:prstGeom>
          <a:noFill/>
        </p:spPr>
        <p:txBody>
          <a:bodyPr vert="horz" rtlCol="0">
            <a:spAutoFit/>
          </a:bodyPr>
          <a:lstStyle/>
          <a:p>
            <a:pPr algn="ctr"/>
            <a:r>
              <a:rPr lang="en-US" sz="675">
                <a:solidFill>
                  <a:srgbClr val="000000"/>
                </a:solidFill>
              </a:rPr>
              <a:t>7</a:t>
            </a:r>
          </a:p>
        </p:txBody>
      </p:sp>
    </p:spTree>
    <p:extLst>
      <p:ext uri="{BB962C8B-B14F-4D97-AF65-F5344CB8AC3E}">
        <p14:creationId xmlns:p14="http://schemas.microsoft.com/office/powerpoint/2010/main" val="13593758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b="1" dirty="0" smtClean="0">
                <a:solidFill>
                  <a:srgbClr val="0033A0"/>
                </a:solidFill>
              </a:rPr>
              <a:t>Network</a:t>
            </a:r>
            <a:endParaRPr lang="en-US" sz="2000" dirty="0">
              <a:solidFill>
                <a:srgbClr val="0033A0"/>
              </a:solidFill>
            </a:endParaRPr>
          </a:p>
        </p:txBody>
      </p:sp>
      <p:sp>
        <p:nvSpPr>
          <p:cNvPr id="16" name="Footer Placeholder 15"/>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33A0"/>
                </a:solidFill>
                <a:effectLst/>
                <a:uLnTx/>
                <a:uFillTx/>
                <a:latin typeface="Arial" panose="020B0604020202020204" pitchFamily="34" charset="0"/>
                <a:ea typeface="+mn-ea"/>
                <a:cs typeface="Arial" panose="020B0604020202020204" pitchFamily="34" charset="0"/>
              </a:rPr>
              <a:t>© 2020 Cognizant</a:t>
            </a:r>
            <a:endParaRPr kumimoji="0" lang="en-US" sz="800" b="0" i="0" u="none" strike="noStrike" kern="1200" cap="none" spc="0" normalizeH="0" baseline="0" noProof="0" dirty="0">
              <a:ln>
                <a:noFill/>
              </a:ln>
              <a:solidFill>
                <a:srgbClr val="0033A0"/>
              </a:solidFill>
              <a:effectLst/>
              <a:uLnTx/>
              <a:uFillTx/>
              <a:latin typeface="Arial" panose="020B0604020202020204" pitchFamily="34" charset="0"/>
              <a:ea typeface="+mn-ea"/>
              <a:cs typeface="Arial" panose="020B0604020202020204" pitchFamily="34" charset="0"/>
            </a:endParaRPr>
          </a:p>
        </p:txBody>
      </p:sp>
      <p:sp>
        <p:nvSpPr>
          <p:cNvPr id="17" name="Slide Number Placeholder 16"/>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EFEF571-C9B4-4D92-A7F7-315B894862A8}" type="slidenum">
              <a:rPr kumimoji="0" lang="en-US" sz="800" b="1" i="0" u="none" strike="noStrike" kern="1200" cap="none" spc="0" normalizeH="0" baseline="0" noProof="0" smtClean="0">
                <a:ln>
                  <a:noFill/>
                </a:ln>
                <a:solidFill>
                  <a:srgbClr val="0033A0"/>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30</a:t>
            </a:fld>
            <a:endParaRPr kumimoji="0" lang="en-US" sz="800" b="1" i="0" u="none" strike="noStrike" kern="1200" cap="none" spc="0" normalizeH="0" baseline="0" noProof="0" dirty="0">
              <a:ln>
                <a:noFill/>
              </a:ln>
              <a:solidFill>
                <a:srgbClr val="0033A0"/>
              </a:solidFill>
              <a:effectLst/>
              <a:uLnTx/>
              <a:uFillTx/>
              <a:latin typeface="Arial" panose="020B0604020202020204" pitchFamily="34" charset="0"/>
              <a:ea typeface="+mn-ea"/>
              <a:cs typeface="Arial" panose="020B0604020202020204" pitchFamily="34" charset="0"/>
            </a:endParaRPr>
          </a:p>
        </p:txBody>
      </p:sp>
      <p:sp>
        <p:nvSpPr>
          <p:cNvPr id="3" name="TextBox 2"/>
          <p:cNvSpPr txBox="1"/>
          <p:nvPr/>
        </p:nvSpPr>
        <p:spPr>
          <a:xfrm>
            <a:off x="564840" y="618076"/>
            <a:ext cx="7956986" cy="4031873"/>
          </a:xfrm>
          <a:prstGeom prst="rect">
            <a:avLst/>
          </a:prstGeom>
          <a:ln>
            <a:solidFill>
              <a:schemeClr val="tx2"/>
            </a:solidFill>
          </a:ln>
        </p:spPr>
        <p:txBody>
          <a:bodyPr wrap="square" lIns="0" tIns="0" rIns="0" bIns="0" rtlCol="0">
            <a:spAutoFit/>
          </a:bodyPr>
          <a:lstStyle/>
          <a:p>
            <a:pPr marL="171450" indent="-171450" algn="l">
              <a:lnSpc>
                <a:spcPct val="150000"/>
              </a:lnSpc>
              <a:buFont typeface="Wingdings" panose="05000000000000000000" pitchFamily="2" charset="2"/>
              <a:buChar char="Ø"/>
            </a:pPr>
            <a:r>
              <a:rPr lang="en-US" sz="1200" b="1" dirty="0" smtClean="0">
                <a:solidFill>
                  <a:schemeClr val="tx2"/>
                </a:solidFill>
              </a:rPr>
              <a:t>UPS</a:t>
            </a:r>
            <a:endParaRPr lang="en-US" dirty="0" smtClean="0">
              <a:solidFill>
                <a:schemeClr val="tx2"/>
              </a:solidFill>
            </a:endParaRPr>
          </a:p>
          <a:p>
            <a:pPr lvl="1"/>
            <a:r>
              <a:rPr lang="en-US" sz="1000" dirty="0" smtClean="0">
                <a:solidFill>
                  <a:schemeClr val="tx2"/>
                </a:solidFill>
              </a:rPr>
              <a:t>APC UPS (total 46) across locations are present.  All UPS has </a:t>
            </a:r>
            <a:r>
              <a:rPr lang="en-US" sz="1000" dirty="0" err="1" smtClean="0">
                <a:solidFill>
                  <a:schemeClr val="tx2"/>
                </a:solidFill>
              </a:rPr>
              <a:t>nic</a:t>
            </a:r>
            <a:r>
              <a:rPr lang="en-US" sz="1000" dirty="0" smtClean="0">
                <a:solidFill>
                  <a:schemeClr val="tx2"/>
                </a:solidFill>
              </a:rPr>
              <a:t> card which falls under the scope of Network tower for support.  Alerts from UPS will be triggered to L1 team (HCL scope).  Based on SOP L1 will resolve. If they cannot resolve, it will be assigned to Network team.  Best effort support in coordination with vendor needs to be provided by Network team.  On a weekly basis, automatic report of resiliency test will be triggered.  As per BHF, expectation is to analyze the report and propose improvements.  For any maintenance of UPS across BHF locations, Network team has to coordinate with Vendor and HCL hands &amp; feet team for the same.</a:t>
            </a:r>
          </a:p>
          <a:p>
            <a:pPr marL="171450" indent="-171450">
              <a:lnSpc>
                <a:spcPct val="150000"/>
              </a:lnSpc>
              <a:buFont typeface="Wingdings" panose="05000000000000000000" pitchFamily="2" charset="2"/>
              <a:buChar char="Ø"/>
            </a:pPr>
            <a:r>
              <a:rPr lang="en-US" sz="1200" b="1" dirty="0" smtClean="0">
                <a:solidFill>
                  <a:schemeClr val="tx2"/>
                </a:solidFill>
              </a:rPr>
              <a:t>Cabling </a:t>
            </a:r>
          </a:p>
          <a:p>
            <a:pPr lvl="1"/>
            <a:r>
              <a:rPr lang="en-US" sz="1000" dirty="0" smtClean="0">
                <a:solidFill>
                  <a:schemeClr val="tx2"/>
                </a:solidFill>
              </a:rPr>
              <a:t>Cognizant is responsible for cabling at DC and also at remote locations.  </a:t>
            </a:r>
            <a:r>
              <a:rPr lang="en-US" sz="1000" dirty="0" err="1" smtClean="0">
                <a:solidFill>
                  <a:schemeClr val="tx2"/>
                </a:solidFill>
              </a:rPr>
              <a:t>Comnet</a:t>
            </a:r>
            <a:r>
              <a:rPr lang="en-US" sz="1000" dirty="0" smtClean="0">
                <a:solidFill>
                  <a:schemeClr val="tx2"/>
                </a:solidFill>
              </a:rPr>
              <a:t> is the current vendor providing the cabling support. The vendor details (</a:t>
            </a:r>
            <a:r>
              <a:rPr lang="en-US" sz="1000" dirty="0" err="1" smtClean="0">
                <a:solidFill>
                  <a:schemeClr val="tx2"/>
                </a:solidFill>
              </a:rPr>
              <a:t>Comnet</a:t>
            </a:r>
            <a:r>
              <a:rPr lang="en-US" sz="1000" dirty="0" smtClean="0">
                <a:solidFill>
                  <a:schemeClr val="tx2"/>
                </a:solidFill>
              </a:rPr>
              <a:t> or any other Cognizant approved vendor) will be finalized by SI and details will be provided for the same. Cost per visit/instance will be provided to Delivery team.  If there is any cabling request from BHF, expectations needs to be set with regards to timeline due to 3</a:t>
            </a:r>
            <a:r>
              <a:rPr lang="en-US" sz="1000" baseline="30000" dirty="0" smtClean="0">
                <a:solidFill>
                  <a:schemeClr val="tx2"/>
                </a:solidFill>
              </a:rPr>
              <a:t>rd</a:t>
            </a:r>
            <a:r>
              <a:rPr lang="en-US" sz="1000" dirty="0" smtClean="0">
                <a:solidFill>
                  <a:schemeClr val="tx2"/>
                </a:solidFill>
              </a:rPr>
              <a:t> party dependency, any spares/parts/components required for cabling will be charged on actuals and the per visit/instance charge has to be added on top and invoiced in the same month.  This will be put as one of the clause in the commercials in SOW.  Delivery team will be owning this activity.</a:t>
            </a:r>
          </a:p>
          <a:p>
            <a:endParaRPr lang="en-US" sz="1000" dirty="0" smtClean="0">
              <a:solidFill>
                <a:schemeClr val="tx2"/>
              </a:solidFill>
            </a:endParaRPr>
          </a:p>
          <a:p>
            <a:pPr marL="171450" indent="-171450">
              <a:lnSpc>
                <a:spcPct val="150000"/>
              </a:lnSpc>
              <a:buFont typeface="Wingdings" panose="05000000000000000000" pitchFamily="2" charset="2"/>
              <a:buChar char="Ø"/>
            </a:pPr>
            <a:r>
              <a:rPr lang="en-US" sz="1200" b="1" dirty="0" smtClean="0">
                <a:solidFill>
                  <a:schemeClr val="tx2"/>
                </a:solidFill>
              </a:rPr>
              <a:t>HW Refresh </a:t>
            </a:r>
            <a:endParaRPr lang="en-US" sz="1200" b="1" dirty="0">
              <a:solidFill>
                <a:schemeClr val="tx2"/>
              </a:solidFill>
            </a:endParaRPr>
          </a:p>
          <a:p>
            <a:pPr lvl="1"/>
            <a:r>
              <a:rPr lang="en-US" sz="1000" dirty="0" smtClean="0">
                <a:solidFill>
                  <a:schemeClr val="tx2"/>
                </a:solidFill>
              </a:rPr>
              <a:t>Network BAU team will be responsible to perform any refresh for Network related assets.  It will be our responsibility to keep a track of devices which are due for refresh, plan with BHF the refresh plan, procurement plan (with BHF if it owns/with Cog SI if we own) and execute the refresh in a timely manner</a:t>
            </a:r>
          </a:p>
          <a:p>
            <a:endParaRPr lang="en-US" sz="1000" dirty="0">
              <a:solidFill>
                <a:schemeClr val="tx2"/>
              </a:solidFill>
            </a:endParaRPr>
          </a:p>
          <a:p>
            <a:pPr marL="171450" indent="-171450">
              <a:lnSpc>
                <a:spcPct val="150000"/>
              </a:lnSpc>
              <a:buFont typeface="Wingdings" panose="05000000000000000000" pitchFamily="2" charset="2"/>
              <a:buChar char="Ø"/>
            </a:pPr>
            <a:r>
              <a:rPr lang="en-US" sz="1200" b="1" dirty="0" smtClean="0">
                <a:solidFill>
                  <a:schemeClr val="tx2"/>
                </a:solidFill>
              </a:rPr>
              <a:t>Remediation</a:t>
            </a:r>
            <a:endParaRPr lang="en-US" sz="1200" b="1" dirty="0">
              <a:solidFill>
                <a:schemeClr val="tx2"/>
              </a:solidFill>
            </a:endParaRPr>
          </a:p>
          <a:p>
            <a:pPr lvl="1"/>
            <a:r>
              <a:rPr lang="en-US" sz="1000" dirty="0">
                <a:solidFill>
                  <a:schemeClr val="tx2"/>
                </a:solidFill>
              </a:rPr>
              <a:t>Network BAU team will be responsible to </a:t>
            </a:r>
            <a:r>
              <a:rPr lang="en-US" sz="1000" dirty="0" smtClean="0">
                <a:solidFill>
                  <a:schemeClr val="tx2"/>
                </a:solidFill>
              </a:rPr>
              <a:t>remediate any gaps based on the assessment conducted by ROVE.  Delivery Manager to decide mutually with BHF on whether the remediation will be done by BAU or Network Project team.</a:t>
            </a:r>
            <a:endParaRPr lang="en-US" sz="1000" dirty="0">
              <a:solidFill>
                <a:schemeClr val="tx2"/>
              </a:solidFill>
            </a:endParaRPr>
          </a:p>
        </p:txBody>
      </p:sp>
    </p:spTree>
    <p:extLst>
      <p:ext uri="{BB962C8B-B14F-4D97-AF65-F5344CB8AC3E}">
        <p14:creationId xmlns:p14="http://schemas.microsoft.com/office/powerpoint/2010/main" val="319715524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b="1" dirty="0" smtClean="0">
                <a:solidFill>
                  <a:srgbClr val="0033A0"/>
                </a:solidFill>
              </a:rPr>
              <a:t>End User Computing</a:t>
            </a:r>
            <a:endParaRPr lang="en-US" sz="2000" dirty="0">
              <a:solidFill>
                <a:srgbClr val="0033A0"/>
              </a:solidFill>
            </a:endParaRPr>
          </a:p>
        </p:txBody>
      </p:sp>
      <p:sp>
        <p:nvSpPr>
          <p:cNvPr id="16" name="Footer Placeholder 15"/>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33A0"/>
                </a:solidFill>
                <a:effectLst/>
                <a:uLnTx/>
                <a:uFillTx/>
                <a:latin typeface="Arial" panose="020B0604020202020204" pitchFamily="34" charset="0"/>
                <a:ea typeface="+mn-ea"/>
                <a:cs typeface="Arial" panose="020B0604020202020204" pitchFamily="34" charset="0"/>
              </a:rPr>
              <a:t>© 2020 Cognizant</a:t>
            </a:r>
            <a:endParaRPr kumimoji="0" lang="en-US" sz="800" b="0" i="0" u="none" strike="noStrike" kern="1200" cap="none" spc="0" normalizeH="0" baseline="0" noProof="0" dirty="0">
              <a:ln>
                <a:noFill/>
              </a:ln>
              <a:solidFill>
                <a:srgbClr val="0033A0"/>
              </a:solidFill>
              <a:effectLst/>
              <a:uLnTx/>
              <a:uFillTx/>
              <a:latin typeface="Arial" panose="020B0604020202020204" pitchFamily="34" charset="0"/>
              <a:ea typeface="+mn-ea"/>
              <a:cs typeface="Arial" panose="020B0604020202020204" pitchFamily="34" charset="0"/>
            </a:endParaRPr>
          </a:p>
        </p:txBody>
      </p:sp>
      <p:sp>
        <p:nvSpPr>
          <p:cNvPr id="17" name="Slide Number Placeholder 16"/>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EFEF571-C9B4-4D92-A7F7-315B894862A8}" type="slidenum">
              <a:rPr kumimoji="0" lang="en-US" sz="800" b="1" i="0" u="none" strike="noStrike" kern="1200" cap="none" spc="0" normalizeH="0" baseline="0" noProof="0" smtClean="0">
                <a:ln>
                  <a:noFill/>
                </a:ln>
                <a:solidFill>
                  <a:srgbClr val="0033A0"/>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31</a:t>
            </a:fld>
            <a:endParaRPr kumimoji="0" lang="en-US" sz="800" b="1" i="0" u="none" strike="noStrike" kern="1200" cap="none" spc="0" normalizeH="0" baseline="0" noProof="0" dirty="0">
              <a:ln>
                <a:noFill/>
              </a:ln>
              <a:solidFill>
                <a:srgbClr val="0033A0"/>
              </a:solidFill>
              <a:effectLst/>
              <a:uLnTx/>
              <a:uFillTx/>
              <a:latin typeface="Arial" panose="020B0604020202020204" pitchFamily="34" charset="0"/>
              <a:ea typeface="+mn-ea"/>
              <a:cs typeface="Arial" panose="020B0604020202020204" pitchFamily="34" charset="0"/>
            </a:endParaRPr>
          </a:p>
        </p:txBody>
      </p:sp>
      <p:sp>
        <p:nvSpPr>
          <p:cNvPr id="3" name="TextBox 2"/>
          <p:cNvSpPr txBox="1"/>
          <p:nvPr/>
        </p:nvSpPr>
        <p:spPr>
          <a:xfrm>
            <a:off x="564840" y="562232"/>
            <a:ext cx="7956986" cy="4001095"/>
          </a:xfrm>
          <a:prstGeom prst="rect">
            <a:avLst/>
          </a:prstGeom>
          <a:ln>
            <a:solidFill>
              <a:schemeClr val="tx2"/>
            </a:solidFill>
          </a:ln>
        </p:spPr>
        <p:txBody>
          <a:bodyPr wrap="square" lIns="0" tIns="0" rIns="0" bIns="0" rtlCol="0">
            <a:spAutoFit/>
          </a:bodyPr>
          <a:lstStyle/>
          <a:p>
            <a:pPr marL="171450" indent="-171450" algn="l">
              <a:lnSpc>
                <a:spcPct val="150000"/>
              </a:lnSpc>
              <a:buFont typeface="Wingdings" panose="05000000000000000000" pitchFamily="2" charset="2"/>
              <a:buChar char="Ø"/>
            </a:pPr>
            <a:r>
              <a:rPr lang="en-US" sz="1200" b="1" dirty="0" smtClean="0">
                <a:solidFill>
                  <a:schemeClr val="tx2"/>
                </a:solidFill>
              </a:rPr>
              <a:t>Hands &amp; Feet Support from HCL</a:t>
            </a:r>
            <a:endParaRPr lang="en-US" dirty="0" smtClean="0">
              <a:solidFill>
                <a:schemeClr val="tx2"/>
              </a:solidFill>
            </a:endParaRPr>
          </a:p>
          <a:p>
            <a:pPr lvl="1"/>
            <a:r>
              <a:rPr lang="en-US" sz="1000" dirty="0" smtClean="0">
                <a:solidFill>
                  <a:schemeClr val="tx2"/>
                </a:solidFill>
              </a:rPr>
              <a:t>Cognizant will collaborate with HCL for any hands &amp; feet support requirement across remote locations.  Based on our proposed solution, following scenarios are dependency.  Additional scenario may arise which needs to be documented with BHF.</a:t>
            </a:r>
          </a:p>
          <a:p>
            <a:pPr lvl="1"/>
            <a:endParaRPr lang="en-US" sz="1000" dirty="0">
              <a:solidFill>
                <a:schemeClr val="tx2"/>
              </a:solidFill>
            </a:endParaRPr>
          </a:p>
          <a:p>
            <a:pPr marL="628650" lvl="1" indent="-171450">
              <a:buFont typeface="Arial" panose="020B0604020202020204" pitchFamily="34" charset="0"/>
              <a:buChar char="•"/>
            </a:pPr>
            <a:r>
              <a:rPr lang="en-US" sz="1000" dirty="0" smtClean="0">
                <a:solidFill>
                  <a:schemeClr val="tx2"/>
                </a:solidFill>
              </a:rPr>
              <a:t>Any Toner/Staples replacement in Printer</a:t>
            </a:r>
          </a:p>
          <a:p>
            <a:pPr marL="628650" lvl="1" indent="-171450">
              <a:buFont typeface="Arial" panose="020B0604020202020204" pitchFamily="34" charset="0"/>
              <a:buChar char="•"/>
            </a:pPr>
            <a:r>
              <a:rPr lang="en-US" sz="1000" dirty="0" smtClean="0">
                <a:solidFill>
                  <a:schemeClr val="tx2"/>
                </a:solidFill>
              </a:rPr>
              <a:t>Refill of Digital/Smart Locker with HW stocks across remote locations</a:t>
            </a:r>
          </a:p>
          <a:p>
            <a:pPr marL="628650" lvl="1" indent="-171450">
              <a:buFont typeface="Arial" panose="020B0604020202020204" pitchFamily="34" charset="0"/>
              <a:buChar char="•"/>
            </a:pPr>
            <a:r>
              <a:rPr lang="en-US" sz="1000" dirty="0" smtClean="0">
                <a:solidFill>
                  <a:schemeClr val="tx2"/>
                </a:solidFill>
              </a:rPr>
              <a:t>UPS Maintenance</a:t>
            </a:r>
          </a:p>
          <a:p>
            <a:pPr lvl="1"/>
            <a:endParaRPr lang="en-US" sz="1000" dirty="0" smtClean="0">
              <a:solidFill>
                <a:schemeClr val="tx2"/>
              </a:solidFill>
            </a:endParaRPr>
          </a:p>
          <a:p>
            <a:pPr marL="171450" indent="-171450">
              <a:lnSpc>
                <a:spcPct val="150000"/>
              </a:lnSpc>
              <a:buFont typeface="Wingdings" panose="05000000000000000000" pitchFamily="2" charset="2"/>
              <a:buChar char="Ø"/>
            </a:pPr>
            <a:r>
              <a:rPr lang="en-US" sz="1200" b="1" dirty="0" smtClean="0">
                <a:solidFill>
                  <a:schemeClr val="tx2"/>
                </a:solidFill>
              </a:rPr>
              <a:t>MS Teams </a:t>
            </a:r>
          </a:p>
          <a:p>
            <a:pPr lvl="1"/>
            <a:r>
              <a:rPr lang="en-US" sz="1000" dirty="0" smtClean="0">
                <a:solidFill>
                  <a:schemeClr val="tx2"/>
                </a:solidFill>
              </a:rPr>
              <a:t>BHF is already implementing MS teams in a POD approach.  ~ 150 to 200 IT users currently uses MS Teams.  Cognizant is expected to take over the implementation and complete the same.  Understanding what BHF has done will be important when planning this transformation.  Dependency on HCL for Lucy chat integration has to be planned</a:t>
            </a:r>
          </a:p>
          <a:p>
            <a:endParaRPr lang="en-US" sz="1000" dirty="0" smtClean="0">
              <a:solidFill>
                <a:schemeClr val="tx2"/>
              </a:solidFill>
            </a:endParaRPr>
          </a:p>
          <a:p>
            <a:pPr marL="171450" indent="-171450">
              <a:lnSpc>
                <a:spcPct val="150000"/>
              </a:lnSpc>
              <a:buFont typeface="Wingdings" panose="05000000000000000000" pitchFamily="2" charset="2"/>
              <a:buChar char="Ø"/>
            </a:pPr>
            <a:r>
              <a:rPr lang="en-US" sz="1200" b="1" dirty="0" smtClean="0">
                <a:solidFill>
                  <a:schemeClr val="tx2"/>
                </a:solidFill>
              </a:rPr>
              <a:t>Azure WVD </a:t>
            </a:r>
            <a:endParaRPr lang="en-US" sz="1200" b="1" dirty="0">
              <a:solidFill>
                <a:schemeClr val="tx2"/>
              </a:solidFill>
            </a:endParaRPr>
          </a:p>
          <a:p>
            <a:pPr lvl="1"/>
            <a:r>
              <a:rPr lang="en-US" sz="1000" dirty="0" smtClean="0">
                <a:solidFill>
                  <a:schemeClr val="tx2"/>
                </a:solidFill>
              </a:rPr>
              <a:t>Key dependency on IBM for decommission of Horizon cloud needs to be planned.</a:t>
            </a:r>
          </a:p>
          <a:p>
            <a:endParaRPr lang="en-US" sz="1000" dirty="0">
              <a:solidFill>
                <a:schemeClr val="tx2"/>
              </a:solidFill>
            </a:endParaRPr>
          </a:p>
          <a:p>
            <a:pPr marL="171450" indent="-171450">
              <a:lnSpc>
                <a:spcPct val="150000"/>
              </a:lnSpc>
              <a:buFont typeface="Wingdings" panose="05000000000000000000" pitchFamily="2" charset="2"/>
              <a:buChar char="Ø"/>
            </a:pPr>
            <a:r>
              <a:rPr lang="en-US" sz="1200" b="1" dirty="0" smtClean="0">
                <a:solidFill>
                  <a:schemeClr val="tx2"/>
                </a:solidFill>
              </a:rPr>
              <a:t>Print Services</a:t>
            </a:r>
            <a:endParaRPr lang="en-US" sz="1200" b="1" dirty="0">
              <a:solidFill>
                <a:schemeClr val="tx2"/>
              </a:solidFill>
            </a:endParaRPr>
          </a:p>
          <a:p>
            <a:pPr lvl="1"/>
            <a:r>
              <a:rPr lang="en-US" sz="1000" dirty="0" smtClean="0">
                <a:solidFill>
                  <a:schemeClr val="tx2"/>
                </a:solidFill>
              </a:rPr>
              <a:t>Cognizant team is responsible for coordinating with Ricoh for any issues relating to Printers.</a:t>
            </a:r>
          </a:p>
          <a:p>
            <a:endParaRPr lang="en-US" sz="1000" dirty="0">
              <a:solidFill>
                <a:schemeClr val="tx2"/>
              </a:solidFill>
            </a:endParaRPr>
          </a:p>
          <a:p>
            <a:pPr marL="171450" indent="-171450">
              <a:lnSpc>
                <a:spcPct val="150000"/>
              </a:lnSpc>
              <a:buFont typeface="Wingdings" panose="05000000000000000000" pitchFamily="2" charset="2"/>
              <a:buChar char="Ø"/>
            </a:pPr>
            <a:r>
              <a:rPr lang="en-US" sz="1200" b="1" dirty="0" smtClean="0">
                <a:solidFill>
                  <a:schemeClr val="tx2"/>
                </a:solidFill>
              </a:rPr>
              <a:t>Shared Services</a:t>
            </a:r>
            <a:endParaRPr lang="en-US" sz="1200" b="1" dirty="0">
              <a:solidFill>
                <a:schemeClr val="tx2"/>
              </a:solidFill>
            </a:endParaRPr>
          </a:p>
          <a:p>
            <a:pPr lvl="1"/>
            <a:r>
              <a:rPr lang="en-US" sz="1000" dirty="0" smtClean="0">
                <a:solidFill>
                  <a:schemeClr val="tx2"/>
                </a:solidFill>
              </a:rPr>
              <a:t>App packaging will be provided in a shared service model.  Appropriate KT has to be planned accordingly.</a:t>
            </a:r>
            <a:endParaRPr lang="en-US" sz="1000" dirty="0">
              <a:solidFill>
                <a:schemeClr val="tx2"/>
              </a:solidFill>
            </a:endParaRPr>
          </a:p>
          <a:p>
            <a:endParaRPr lang="en-US" sz="1000" dirty="0">
              <a:solidFill>
                <a:schemeClr val="tx2"/>
              </a:solidFill>
            </a:endParaRPr>
          </a:p>
        </p:txBody>
      </p:sp>
    </p:spTree>
    <p:extLst>
      <p:ext uri="{BB962C8B-B14F-4D97-AF65-F5344CB8AC3E}">
        <p14:creationId xmlns:p14="http://schemas.microsoft.com/office/powerpoint/2010/main" val="387439570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b="1" dirty="0" smtClean="0">
                <a:solidFill>
                  <a:srgbClr val="0033A0"/>
                </a:solidFill>
              </a:rPr>
              <a:t>Security</a:t>
            </a:r>
            <a:endParaRPr lang="en-US" sz="2000" dirty="0">
              <a:solidFill>
                <a:srgbClr val="0033A0"/>
              </a:solidFill>
            </a:endParaRPr>
          </a:p>
        </p:txBody>
      </p:sp>
      <p:sp>
        <p:nvSpPr>
          <p:cNvPr id="16" name="Footer Placeholder 15"/>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33A0"/>
                </a:solidFill>
                <a:effectLst/>
                <a:uLnTx/>
                <a:uFillTx/>
                <a:latin typeface="Arial" panose="020B0604020202020204" pitchFamily="34" charset="0"/>
                <a:ea typeface="+mn-ea"/>
                <a:cs typeface="Arial" panose="020B0604020202020204" pitchFamily="34" charset="0"/>
              </a:rPr>
              <a:t>© 2020 Cognizant</a:t>
            </a:r>
            <a:endParaRPr kumimoji="0" lang="en-US" sz="800" b="0" i="0" u="none" strike="noStrike" kern="1200" cap="none" spc="0" normalizeH="0" baseline="0" noProof="0" dirty="0">
              <a:ln>
                <a:noFill/>
              </a:ln>
              <a:solidFill>
                <a:srgbClr val="0033A0"/>
              </a:solidFill>
              <a:effectLst/>
              <a:uLnTx/>
              <a:uFillTx/>
              <a:latin typeface="Arial" panose="020B0604020202020204" pitchFamily="34" charset="0"/>
              <a:ea typeface="+mn-ea"/>
              <a:cs typeface="Arial" panose="020B0604020202020204" pitchFamily="34" charset="0"/>
            </a:endParaRPr>
          </a:p>
        </p:txBody>
      </p:sp>
      <p:sp>
        <p:nvSpPr>
          <p:cNvPr id="17" name="Slide Number Placeholder 16"/>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EFEF571-C9B4-4D92-A7F7-315B894862A8}" type="slidenum">
              <a:rPr kumimoji="0" lang="en-US" sz="800" b="1" i="0" u="none" strike="noStrike" kern="1200" cap="none" spc="0" normalizeH="0" baseline="0" noProof="0" smtClean="0">
                <a:ln>
                  <a:noFill/>
                </a:ln>
                <a:solidFill>
                  <a:srgbClr val="0033A0"/>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32</a:t>
            </a:fld>
            <a:endParaRPr kumimoji="0" lang="en-US" sz="800" b="1" i="0" u="none" strike="noStrike" kern="1200" cap="none" spc="0" normalizeH="0" baseline="0" noProof="0" dirty="0">
              <a:ln>
                <a:noFill/>
              </a:ln>
              <a:solidFill>
                <a:srgbClr val="0033A0"/>
              </a:solidFill>
              <a:effectLst/>
              <a:uLnTx/>
              <a:uFillTx/>
              <a:latin typeface="Arial" panose="020B0604020202020204" pitchFamily="34" charset="0"/>
              <a:ea typeface="+mn-ea"/>
              <a:cs typeface="Arial" panose="020B0604020202020204" pitchFamily="34" charset="0"/>
            </a:endParaRPr>
          </a:p>
        </p:txBody>
      </p:sp>
      <p:sp>
        <p:nvSpPr>
          <p:cNvPr id="3" name="TextBox 2"/>
          <p:cNvSpPr txBox="1"/>
          <p:nvPr/>
        </p:nvSpPr>
        <p:spPr>
          <a:xfrm>
            <a:off x="384048" y="652975"/>
            <a:ext cx="7956986" cy="2677656"/>
          </a:xfrm>
          <a:prstGeom prst="rect">
            <a:avLst/>
          </a:prstGeom>
          <a:ln>
            <a:solidFill>
              <a:schemeClr val="tx2"/>
            </a:solidFill>
          </a:ln>
        </p:spPr>
        <p:txBody>
          <a:bodyPr wrap="square" lIns="0" tIns="0" rIns="0" bIns="0" rtlCol="0">
            <a:spAutoFit/>
          </a:bodyPr>
          <a:lstStyle/>
          <a:p>
            <a:pPr marL="171450" indent="-171450" algn="l">
              <a:lnSpc>
                <a:spcPct val="150000"/>
              </a:lnSpc>
              <a:buFont typeface="Wingdings" panose="05000000000000000000" pitchFamily="2" charset="2"/>
              <a:buChar char="Ø"/>
            </a:pPr>
            <a:r>
              <a:rPr lang="en-US" sz="1200" b="1" dirty="0" smtClean="0">
                <a:solidFill>
                  <a:schemeClr val="tx2"/>
                </a:solidFill>
              </a:rPr>
              <a:t>Cyber Threat Defense</a:t>
            </a:r>
            <a:endParaRPr lang="en-US" dirty="0" smtClean="0">
              <a:solidFill>
                <a:schemeClr val="tx2"/>
              </a:solidFill>
            </a:endParaRPr>
          </a:p>
          <a:p>
            <a:pPr lvl="1"/>
            <a:r>
              <a:rPr lang="en-US" sz="1000" dirty="0" smtClean="0">
                <a:solidFill>
                  <a:schemeClr val="tx2"/>
                </a:solidFill>
              </a:rPr>
              <a:t>Cognizant has committed that UEBA functionality will be available in Q3 2020.  It is delivery team responsibility to track this internal risk as it has commercial impact</a:t>
            </a:r>
          </a:p>
          <a:p>
            <a:pPr lvl="1"/>
            <a:endParaRPr lang="en-US" sz="1000" dirty="0" smtClean="0">
              <a:solidFill>
                <a:schemeClr val="tx2"/>
              </a:solidFill>
            </a:endParaRPr>
          </a:p>
          <a:p>
            <a:pPr marL="171450" indent="-171450">
              <a:lnSpc>
                <a:spcPct val="150000"/>
              </a:lnSpc>
              <a:buFont typeface="Wingdings" panose="05000000000000000000" pitchFamily="2" charset="2"/>
              <a:buChar char="Ø"/>
            </a:pPr>
            <a:r>
              <a:rPr lang="en-US" sz="1200" b="1" dirty="0" smtClean="0">
                <a:solidFill>
                  <a:schemeClr val="tx2"/>
                </a:solidFill>
              </a:rPr>
              <a:t>Shared Services</a:t>
            </a:r>
          </a:p>
          <a:p>
            <a:pPr lvl="1"/>
            <a:r>
              <a:rPr lang="en-US" sz="1000" dirty="0" smtClean="0">
                <a:solidFill>
                  <a:schemeClr val="tx2"/>
                </a:solidFill>
              </a:rPr>
              <a:t>CTD and </a:t>
            </a:r>
            <a:r>
              <a:rPr lang="en-US" sz="1000" dirty="0" err="1" smtClean="0">
                <a:solidFill>
                  <a:schemeClr val="tx2"/>
                </a:solidFill>
              </a:rPr>
              <a:t>VMaaS</a:t>
            </a:r>
            <a:r>
              <a:rPr lang="en-US" sz="1000" dirty="0" smtClean="0">
                <a:solidFill>
                  <a:schemeClr val="tx2"/>
                </a:solidFill>
              </a:rPr>
              <a:t> support will be provided in shared service model.  Cognizant is expected to provide the resource details for BHF to factor VDI, VPN, Service Now licenses </a:t>
            </a:r>
            <a:r>
              <a:rPr lang="en-US" sz="1000" dirty="0" err="1" smtClean="0">
                <a:solidFill>
                  <a:schemeClr val="tx2"/>
                </a:solidFill>
              </a:rPr>
              <a:t>etc</a:t>
            </a:r>
            <a:r>
              <a:rPr lang="en-US" sz="1000" dirty="0" smtClean="0">
                <a:solidFill>
                  <a:schemeClr val="tx2"/>
                </a:solidFill>
              </a:rPr>
              <a:t> for all Shared Service resources.</a:t>
            </a:r>
          </a:p>
          <a:p>
            <a:endParaRPr lang="en-US" sz="1000" dirty="0" smtClean="0">
              <a:solidFill>
                <a:schemeClr val="tx2"/>
              </a:solidFill>
            </a:endParaRPr>
          </a:p>
          <a:p>
            <a:pPr marL="171450" indent="-171450">
              <a:lnSpc>
                <a:spcPct val="150000"/>
              </a:lnSpc>
              <a:buFont typeface="Wingdings" panose="05000000000000000000" pitchFamily="2" charset="2"/>
              <a:buChar char="Ø"/>
            </a:pPr>
            <a:r>
              <a:rPr lang="en-US" sz="1200" b="1" dirty="0" smtClean="0">
                <a:solidFill>
                  <a:schemeClr val="tx2"/>
                </a:solidFill>
              </a:rPr>
              <a:t>Pending Solution</a:t>
            </a:r>
            <a:endParaRPr lang="en-US" sz="1200" b="1" dirty="0">
              <a:solidFill>
                <a:schemeClr val="tx2"/>
              </a:solidFill>
            </a:endParaRPr>
          </a:p>
          <a:p>
            <a:pPr lvl="1"/>
            <a:r>
              <a:rPr lang="en-US" sz="1000" dirty="0" smtClean="0">
                <a:solidFill>
                  <a:schemeClr val="tx2"/>
                </a:solidFill>
              </a:rPr>
              <a:t>Bid team (Stephen &amp; Ravi) will help in closing the pending solution clarity in the below areas:</a:t>
            </a:r>
          </a:p>
          <a:p>
            <a:pPr marL="628650" lvl="1" indent="-171450">
              <a:buFont typeface="Arial" panose="020B0604020202020204" pitchFamily="34" charset="0"/>
              <a:buChar char="•"/>
            </a:pPr>
            <a:r>
              <a:rPr lang="en-US" sz="1000" dirty="0" err="1" smtClean="0">
                <a:solidFill>
                  <a:schemeClr val="tx2"/>
                </a:solidFill>
              </a:rPr>
              <a:t>Proofpoint</a:t>
            </a:r>
            <a:r>
              <a:rPr lang="en-US" sz="1000" dirty="0" smtClean="0">
                <a:solidFill>
                  <a:schemeClr val="tx2"/>
                </a:solidFill>
              </a:rPr>
              <a:t> license ownership and Transformation (BAU already factored in steady state support)</a:t>
            </a:r>
          </a:p>
          <a:p>
            <a:pPr marL="628650" lvl="1" indent="-171450">
              <a:buFont typeface="Arial" panose="020B0604020202020204" pitchFamily="34" charset="0"/>
              <a:buChar char="•"/>
            </a:pPr>
            <a:r>
              <a:rPr lang="en-US" sz="1000" dirty="0" smtClean="0">
                <a:solidFill>
                  <a:schemeClr val="tx2"/>
                </a:solidFill>
              </a:rPr>
              <a:t>Palo Alto license ownership and timeline for implementation</a:t>
            </a:r>
          </a:p>
          <a:p>
            <a:pPr marL="628650" lvl="1" indent="-171450">
              <a:buFont typeface="Arial" panose="020B0604020202020204" pitchFamily="34" charset="0"/>
              <a:buChar char="•"/>
            </a:pPr>
            <a:r>
              <a:rPr lang="en-US" sz="1000" dirty="0" err="1" smtClean="0">
                <a:solidFill>
                  <a:schemeClr val="tx2"/>
                </a:solidFill>
              </a:rPr>
              <a:t>CyberArk</a:t>
            </a:r>
            <a:r>
              <a:rPr lang="en-US" sz="1000" dirty="0" smtClean="0">
                <a:solidFill>
                  <a:schemeClr val="tx2"/>
                </a:solidFill>
              </a:rPr>
              <a:t> license ownership (BAU already factored)</a:t>
            </a:r>
          </a:p>
          <a:p>
            <a:pPr marL="628650" lvl="1" indent="-171450">
              <a:buFont typeface="Arial" panose="020B0604020202020204" pitchFamily="34" charset="0"/>
              <a:buChar char="•"/>
            </a:pPr>
            <a:r>
              <a:rPr lang="en-US" sz="1000" dirty="0" smtClean="0">
                <a:solidFill>
                  <a:schemeClr val="tx2"/>
                </a:solidFill>
              </a:rPr>
              <a:t>Carbon Black solution finalization as Client is currently having Enterprise agreement for Carbon Black licenses.  Our proposed solution was on Advanced licensing option.</a:t>
            </a:r>
            <a:endParaRPr lang="en-US" sz="1000" dirty="0">
              <a:solidFill>
                <a:schemeClr val="tx2"/>
              </a:solidFill>
            </a:endParaRPr>
          </a:p>
        </p:txBody>
      </p:sp>
      <p:sp>
        <p:nvSpPr>
          <p:cNvPr id="6" name="TextBox 5"/>
          <p:cNvSpPr txBox="1"/>
          <p:nvPr/>
        </p:nvSpPr>
        <p:spPr>
          <a:xfrm>
            <a:off x="391028" y="3533963"/>
            <a:ext cx="7956986" cy="892552"/>
          </a:xfrm>
          <a:prstGeom prst="rect">
            <a:avLst/>
          </a:prstGeom>
          <a:ln>
            <a:solidFill>
              <a:schemeClr val="tx2"/>
            </a:solidFill>
          </a:ln>
        </p:spPr>
        <p:txBody>
          <a:bodyPr wrap="square" lIns="0" tIns="0" rIns="0" bIns="0" rtlCol="0">
            <a:spAutoFit/>
          </a:bodyPr>
          <a:lstStyle/>
          <a:p>
            <a:pPr marL="171450" indent="-171450" algn="l">
              <a:lnSpc>
                <a:spcPct val="150000"/>
              </a:lnSpc>
              <a:buFont typeface="Wingdings" panose="05000000000000000000" pitchFamily="2" charset="2"/>
              <a:buChar char="Ø"/>
            </a:pPr>
            <a:r>
              <a:rPr lang="en-US" sz="1200" b="1" dirty="0" smtClean="0">
                <a:solidFill>
                  <a:schemeClr val="tx2"/>
                </a:solidFill>
              </a:rPr>
              <a:t>Reporting requirement</a:t>
            </a:r>
            <a:endParaRPr lang="en-US" dirty="0" smtClean="0">
              <a:solidFill>
                <a:schemeClr val="tx2"/>
              </a:solidFill>
            </a:endParaRPr>
          </a:p>
          <a:p>
            <a:pPr lvl="1"/>
            <a:r>
              <a:rPr lang="en-US" sz="1000" dirty="0" smtClean="0">
                <a:solidFill>
                  <a:schemeClr val="tx2"/>
                </a:solidFill>
              </a:rPr>
              <a:t>Cognizant has proposed ELK enterprise for Reporting &amp; Management Dashboards.  Since this is a low priority item, Cognizant proposed to have 1 FTE to be added to Steady State for 1</a:t>
            </a:r>
            <a:r>
              <a:rPr lang="en-US" sz="1000" baseline="30000" dirty="0" smtClean="0">
                <a:solidFill>
                  <a:schemeClr val="tx2"/>
                </a:solidFill>
              </a:rPr>
              <a:t>st</a:t>
            </a:r>
            <a:r>
              <a:rPr lang="en-US" sz="1000" dirty="0" smtClean="0">
                <a:solidFill>
                  <a:schemeClr val="tx2"/>
                </a:solidFill>
              </a:rPr>
              <a:t> contractual year.  The SME needs to work with BHF stake holders and configure tower wise operational reports, create operational and management dashboards.  Delivery Manager to track the same for closure of deliverables.</a:t>
            </a:r>
            <a:endParaRPr lang="en-US" sz="1000" dirty="0">
              <a:solidFill>
                <a:schemeClr val="tx2"/>
              </a:solidFill>
            </a:endParaRPr>
          </a:p>
        </p:txBody>
      </p:sp>
    </p:spTree>
    <p:extLst>
      <p:ext uri="{BB962C8B-B14F-4D97-AF65-F5344CB8AC3E}">
        <p14:creationId xmlns:p14="http://schemas.microsoft.com/office/powerpoint/2010/main" val="125785550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lstStyle/>
          <a:p>
            <a:r>
              <a:rPr lang="en-US" dirty="0" smtClean="0"/>
              <a:t>Thank You</a:t>
            </a:r>
            <a:endParaRPr lang="en-US" dirty="0"/>
          </a:p>
        </p:txBody>
      </p:sp>
      <p:sp>
        <p:nvSpPr>
          <p:cNvPr id="2" name="Slide Number"/>
          <p:cNvSpPr txBox="1"/>
          <p:nvPr/>
        </p:nvSpPr>
        <p:spPr>
          <a:xfrm>
            <a:off x="285750" y="4886325"/>
            <a:ext cx="170117" cy="300082"/>
          </a:xfrm>
          <a:prstGeom prst="rect">
            <a:avLst/>
          </a:prstGeom>
          <a:noFill/>
        </p:spPr>
        <p:txBody>
          <a:bodyPr vert="horz" rtlCol="0">
            <a:spAutoFit/>
          </a:bodyPr>
          <a:lstStyle/>
          <a:p>
            <a:pPr algn="ctr"/>
            <a:r>
              <a:rPr lang="en-US" sz="675">
                <a:solidFill>
                  <a:srgbClr val="000000"/>
                </a:solidFill>
              </a:rPr>
              <a:t>13</a:t>
            </a:r>
          </a:p>
        </p:txBody>
      </p:sp>
    </p:spTree>
    <p:extLst>
      <p:ext uri="{BB962C8B-B14F-4D97-AF65-F5344CB8AC3E}">
        <p14:creationId xmlns:p14="http://schemas.microsoft.com/office/powerpoint/2010/main" val="83629487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048" y="99819"/>
            <a:ext cx="8417052" cy="621030"/>
          </a:xfrm>
        </p:spPr>
        <p:txBody>
          <a:bodyPr/>
          <a:lstStyle/>
          <a:p>
            <a:r>
              <a:rPr lang="en-US" dirty="0" err="1"/>
              <a:t>Brighthouse</a:t>
            </a:r>
            <a:r>
              <a:rPr lang="en-US" dirty="0"/>
              <a:t> Financial - Overview</a:t>
            </a:r>
          </a:p>
        </p:txBody>
      </p:sp>
      <p:sp>
        <p:nvSpPr>
          <p:cNvPr id="4" name="Footer Placeholder 3"/>
          <p:cNvSpPr>
            <a:spLocks noGrp="1"/>
          </p:cNvSpPr>
          <p:nvPr>
            <p:ph type="ftr" sz="quarter" idx="3"/>
          </p:nvPr>
        </p:nvSpPr>
        <p:spPr/>
        <p:txBody>
          <a:bodyPr/>
          <a:lstStyle/>
          <a:p>
            <a:r>
              <a:rPr lang="en-US" smtClean="0"/>
              <a:t>© 2020 Cognizant</a:t>
            </a:r>
            <a:endParaRPr lang="en-US" dirty="0"/>
          </a:p>
        </p:txBody>
      </p:sp>
      <p:sp>
        <p:nvSpPr>
          <p:cNvPr id="5" name="Slide Number Placeholder 4"/>
          <p:cNvSpPr>
            <a:spLocks noGrp="1"/>
          </p:cNvSpPr>
          <p:nvPr>
            <p:ph type="sldNum" sz="quarter" idx="4"/>
          </p:nvPr>
        </p:nvSpPr>
        <p:spPr/>
        <p:txBody>
          <a:bodyPr/>
          <a:lstStyle/>
          <a:p>
            <a:fld id="{2EFEF571-C9B4-4D92-A7F7-315B894862A8}" type="slidenum">
              <a:rPr lang="en-US" smtClean="0"/>
              <a:pPr/>
              <a:t>4</a:t>
            </a:fld>
            <a:endParaRPr lang="en-US" dirty="0"/>
          </a:p>
        </p:txBody>
      </p:sp>
      <p:grpSp>
        <p:nvGrpSpPr>
          <p:cNvPr id="6" name="Group 5"/>
          <p:cNvGrpSpPr/>
          <p:nvPr/>
        </p:nvGrpSpPr>
        <p:grpSpPr>
          <a:xfrm>
            <a:off x="347072" y="508216"/>
            <a:ext cx="8432602" cy="4132720"/>
            <a:chOff x="347072" y="508216"/>
            <a:chExt cx="8432602" cy="4132720"/>
          </a:xfrm>
        </p:grpSpPr>
        <p:sp>
          <p:nvSpPr>
            <p:cNvPr id="7" name="Rectangle 6"/>
            <p:cNvSpPr/>
            <p:nvPr/>
          </p:nvSpPr>
          <p:spPr>
            <a:xfrm>
              <a:off x="5097089" y="2727857"/>
              <a:ext cx="3672007" cy="19130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Rectangle 7"/>
            <p:cNvSpPr/>
            <p:nvPr/>
          </p:nvSpPr>
          <p:spPr>
            <a:xfrm>
              <a:off x="384048" y="755537"/>
              <a:ext cx="8395626" cy="1665035"/>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TextBox 8"/>
            <p:cNvSpPr txBox="1"/>
            <p:nvPr/>
          </p:nvSpPr>
          <p:spPr>
            <a:xfrm>
              <a:off x="347072" y="508216"/>
              <a:ext cx="4632333"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smtClean="0">
                  <a:ln>
                    <a:noFill/>
                  </a:ln>
                  <a:solidFill>
                    <a:srgbClr val="00B140"/>
                  </a:solidFill>
                  <a:effectLst/>
                  <a:uLnTx/>
                  <a:uFillTx/>
                  <a:latin typeface="Arial" panose="020B0604020202020204"/>
                  <a:ea typeface="+mn-ea"/>
                  <a:cs typeface="Arial" panose="020B0604020202020204" pitchFamily="34" charset="0"/>
                </a:rPr>
                <a:t>Snapshot</a:t>
              </a:r>
            </a:p>
          </p:txBody>
        </p:sp>
        <p:sp>
          <p:nvSpPr>
            <p:cNvPr id="10" name="Rectangle 9"/>
            <p:cNvSpPr/>
            <p:nvPr/>
          </p:nvSpPr>
          <p:spPr>
            <a:xfrm>
              <a:off x="362664" y="2891499"/>
              <a:ext cx="4471611" cy="938719"/>
            </a:xfrm>
            <a:prstGeom prst="rect">
              <a:avLst/>
            </a:prstGeom>
            <a:solidFill>
              <a:schemeClr val="bg1">
                <a:lumMod val="95000"/>
              </a:schemeClr>
            </a:solidFill>
            <a:ln>
              <a:solidFill>
                <a:schemeClr val="tx1">
                  <a:lumMod val="75000"/>
                </a:schemeClr>
              </a:solidFill>
              <a:prstDash val="solid"/>
            </a:ln>
          </p:spPr>
          <p:txBody>
            <a:bodyPr wrap="square">
              <a:spAutoFit/>
            </a:bodyPr>
            <a:lstStyle/>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Brighthouse Financial, </a:t>
              </a: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mn-cs"/>
                </a:rPr>
                <a:t>is one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of the largest annuity and life insurance providers in the U.S </a:t>
              </a:r>
              <a:endPar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mn-cs"/>
              </a:endParaRP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mn-cs"/>
                </a:rPr>
                <a:t>Company offers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two types of products: </a:t>
              </a: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mn-cs"/>
                </a:rPr>
                <a:t>Annuities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and </a:t>
              </a: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mn-cs"/>
                </a:rPr>
                <a:t>Life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insurance</a:t>
              </a: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mn-cs"/>
                </a:rPr>
                <a:t>Product &amp; services :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shield, variable, guaranteed, income, and fixed annuities, </a:t>
              </a: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mn-cs"/>
                </a:rPr>
                <a:t>life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insurance, retirement planning, and financial advisory </a:t>
              </a: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mn-cs"/>
                </a:rPr>
                <a:t>services</a:t>
              </a:r>
            </a:p>
          </p:txBody>
        </p:sp>
        <p:pic>
          <p:nvPicPr>
            <p:cNvPr id="11" name="Picture 10"/>
            <p:cNvPicPr>
              <a:picLocks noChangeAspect="1"/>
            </p:cNvPicPr>
            <p:nvPr/>
          </p:nvPicPr>
          <p:blipFill>
            <a:blip r:embed="rId2" cstate="email">
              <a:biLevel thresh="75000"/>
              <a:extLst>
                <a:ext uri="{28A0092B-C50C-407E-A947-70E740481C1C}">
                  <a14:useLocalDpi xmlns:a14="http://schemas.microsoft.com/office/drawing/2010/main"/>
                </a:ext>
              </a:extLst>
            </a:blip>
            <a:stretch>
              <a:fillRect/>
            </a:stretch>
          </p:blipFill>
          <p:spPr>
            <a:xfrm>
              <a:off x="391648" y="906427"/>
              <a:ext cx="465435" cy="347564"/>
            </a:xfrm>
            <a:prstGeom prst="rect">
              <a:avLst/>
            </a:prstGeom>
          </p:spPr>
        </p:pic>
        <p:cxnSp>
          <p:nvCxnSpPr>
            <p:cNvPr id="12" name="Straight Connector 11"/>
            <p:cNvCxnSpPr/>
            <p:nvPr/>
          </p:nvCxnSpPr>
          <p:spPr>
            <a:xfrm>
              <a:off x="384048" y="1436183"/>
              <a:ext cx="8385048" cy="12288"/>
            </a:xfrm>
            <a:prstGeom prst="line">
              <a:avLst/>
            </a:prstGeom>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3"/>
            <a:stretch>
              <a:fillRect/>
            </a:stretch>
          </p:blipFill>
          <p:spPr>
            <a:xfrm>
              <a:off x="1608544" y="904640"/>
              <a:ext cx="598870" cy="331968"/>
            </a:xfrm>
            <a:prstGeom prst="rect">
              <a:avLst/>
            </a:prstGeom>
          </p:spPr>
        </p:pic>
        <p:sp>
          <p:nvSpPr>
            <p:cNvPr id="14" name="TextBox 13"/>
            <p:cNvSpPr txBox="1"/>
            <p:nvPr/>
          </p:nvSpPr>
          <p:spPr>
            <a:xfrm>
              <a:off x="2012164" y="904640"/>
              <a:ext cx="1243360"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srgbClr val="000000"/>
                  </a:solidFill>
                  <a:effectLst/>
                  <a:uLnTx/>
                  <a:uFillTx/>
                  <a:latin typeface="Arial" panose="020B0604020202020204"/>
                  <a:ea typeface="+mn-ea"/>
                  <a:cs typeface="Arial" panose="020B0604020202020204" pitchFamily="34" charset="0"/>
                </a:rPr>
                <a:t>Headquarters: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Charlotte, North Carolina, </a:t>
              </a: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Arial" panose="020B0604020202020204" pitchFamily="34" charset="0"/>
                </a:rPr>
                <a:t>US</a:t>
              </a:r>
            </a:p>
          </p:txBody>
        </p:sp>
        <p:cxnSp>
          <p:nvCxnSpPr>
            <p:cNvPr id="15" name="Straight Connector 14"/>
            <p:cNvCxnSpPr/>
            <p:nvPr/>
          </p:nvCxnSpPr>
          <p:spPr>
            <a:xfrm>
              <a:off x="1704867" y="768219"/>
              <a:ext cx="3793" cy="672677"/>
            </a:xfrm>
            <a:prstGeom prst="line">
              <a:avLst/>
            </a:prstGeom>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4"/>
            <a:stretch>
              <a:fillRect/>
            </a:stretch>
          </p:blipFill>
          <p:spPr>
            <a:xfrm>
              <a:off x="3419217" y="834282"/>
              <a:ext cx="524867" cy="524867"/>
            </a:xfrm>
            <a:prstGeom prst="rect">
              <a:avLst/>
            </a:prstGeom>
          </p:spPr>
        </p:pic>
        <p:sp>
          <p:nvSpPr>
            <p:cNvPr id="17" name="Rectangle 16"/>
            <p:cNvSpPr/>
            <p:nvPr/>
          </p:nvSpPr>
          <p:spPr>
            <a:xfrm>
              <a:off x="3948953" y="947210"/>
              <a:ext cx="943039"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Employees: </a:t>
              </a: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Arial" panose="020B0604020202020204" pitchFamily="34" charset="0"/>
                </a:rPr>
                <a:t>1260</a:t>
              </a:r>
              <a:endPar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endParaRPr>
            </a:p>
          </p:txBody>
        </p:sp>
        <p:cxnSp>
          <p:nvCxnSpPr>
            <p:cNvPr id="18" name="Straight Connector 17"/>
            <p:cNvCxnSpPr/>
            <p:nvPr/>
          </p:nvCxnSpPr>
          <p:spPr>
            <a:xfrm flipH="1">
              <a:off x="3419688" y="755537"/>
              <a:ext cx="950" cy="685359"/>
            </a:xfrm>
            <a:prstGeom prst="line">
              <a:avLst/>
            </a:prstGeom>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761291" y="952769"/>
              <a:ext cx="1077755"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srgbClr val="000000"/>
                  </a:solidFill>
                  <a:effectLst/>
                  <a:uLnTx/>
                  <a:uFillTx/>
                  <a:latin typeface="Arial" panose="020B0604020202020204"/>
                  <a:ea typeface="+mn-ea"/>
                  <a:cs typeface="Arial" panose="020B0604020202020204" pitchFamily="34" charset="0"/>
                </a:rPr>
                <a:t>Founded: </a:t>
              </a: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Arial" panose="020B0604020202020204" pitchFamily="34" charset="0"/>
                </a:rPr>
                <a:t>2016</a:t>
              </a:r>
            </a:p>
          </p:txBody>
        </p:sp>
        <p:sp>
          <p:nvSpPr>
            <p:cNvPr id="20" name="Rectangle 19"/>
            <p:cNvSpPr/>
            <p:nvPr/>
          </p:nvSpPr>
          <p:spPr>
            <a:xfrm>
              <a:off x="347072" y="1752680"/>
              <a:ext cx="723275" cy="369332"/>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Key </a:t>
              </a:r>
              <a:r>
                <a:rPr kumimoji="0" lang="en-US" sz="900" b="1" i="0" u="none" strike="noStrike" kern="1200" cap="none" spc="0" normalizeH="0" baseline="0" noProof="0" dirty="0" smtClean="0">
                  <a:ln>
                    <a:noFill/>
                  </a:ln>
                  <a:solidFill>
                    <a:srgbClr val="000000"/>
                  </a:solidFill>
                  <a:effectLst/>
                  <a:uLnTx/>
                  <a:uFillTx/>
                  <a:latin typeface="Arial" panose="020B0604020202020204"/>
                  <a:ea typeface="+mn-ea"/>
                  <a:cs typeface="+mn-cs"/>
                </a:rPr>
                <a:t/>
              </a:r>
              <a:br>
                <a:rPr kumimoji="0" lang="en-US" sz="900" b="1" i="0" u="none" strike="noStrike" kern="1200" cap="none" spc="0" normalizeH="0" baseline="0" noProof="0" dirty="0" smtClean="0">
                  <a:ln>
                    <a:noFill/>
                  </a:ln>
                  <a:solidFill>
                    <a:srgbClr val="000000"/>
                  </a:solidFill>
                  <a:effectLst/>
                  <a:uLnTx/>
                  <a:uFillTx/>
                  <a:latin typeface="Arial" panose="020B0604020202020204"/>
                  <a:ea typeface="+mn-ea"/>
                  <a:cs typeface="+mn-cs"/>
                </a:rPr>
              </a:br>
              <a:r>
                <a:rPr kumimoji="0" lang="en-US" sz="900" b="1" i="0" u="none" strike="noStrike" kern="1200" cap="none" spc="0" normalizeH="0" baseline="0" noProof="0" dirty="0" smtClean="0">
                  <a:ln>
                    <a:noFill/>
                  </a:ln>
                  <a:solidFill>
                    <a:srgbClr val="000000"/>
                  </a:solidFill>
                  <a:effectLst/>
                  <a:uLnTx/>
                  <a:uFillTx/>
                  <a:latin typeface="Arial" panose="020B0604020202020204"/>
                  <a:ea typeface="+mn-ea"/>
                  <a:cs typeface="+mn-cs"/>
                </a:rPr>
                <a:t>Executive</a:t>
              </a:r>
              <a:endPar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 name="TextBox 20"/>
            <p:cNvSpPr txBox="1"/>
            <p:nvPr/>
          </p:nvSpPr>
          <p:spPr>
            <a:xfrm>
              <a:off x="1022065" y="1532112"/>
              <a:ext cx="3002077" cy="846386"/>
            </a:xfrm>
            <a:prstGeom prst="rect">
              <a:avLst/>
            </a:prstGeom>
          </p:spPr>
          <p:txBody>
            <a:bodyPr wrap="square" lIns="0" tIns="0" rIns="0" bIns="0" rtlCol="0">
              <a:spAutoFit/>
            </a:bodyPr>
            <a:lstStyle/>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Eric T. Steigerwalt</a:t>
              </a:r>
              <a:r>
                <a:rPr kumimoji="0" lang="en-US" sz="900" b="1" i="0" u="none" strike="noStrike" kern="1200" cap="none" spc="0" normalizeH="0" baseline="0" noProof="0" dirty="0" smtClean="0">
                  <a:ln>
                    <a:noFill/>
                  </a:ln>
                  <a:solidFill>
                    <a:srgbClr val="000000"/>
                  </a:solidFill>
                  <a:effectLst/>
                  <a:uLnTx/>
                  <a:uFillTx/>
                  <a:latin typeface="Arial" panose="020B0604020202020204"/>
                  <a:ea typeface="+mn-ea"/>
                  <a:cs typeface="+mn-cs"/>
                </a:rPr>
                <a:t>, President, Chief Executive Officer</a:t>
              </a:r>
              <a:endPar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Conor Murphy</a:t>
              </a: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 Executive Vice </a:t>
              </a:r>
              <a:r>
                <a:rPr kumimoji="0" lang="en-US" sz="900" b="1" i="0" u="none" strike="noStrike" kern="1200" cap="none" spc="0" normalizeH="0" baseline="0" noProof="0" dirty="0" smtClean="0">
                  <a:ln>
                    <a:noFill/>
                  </a:ln>
                  <a:solidFill>
                    <a:srgbClr val="000000"/>
                  </a:solidFill>
                  <a:effectLst/>
                  <a:uLnTx/>
                  <a:uFillTx/>
                  <a:latin typeface="Arial" panose="020B0604020202020204"/>
                  <a:ea typeface="+mn-ea"/>
                  <a:cs typeface="+mn-cs"/>
                </a:rPr>
                <a:t>President, Chief </a:t>
              </a: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Operating Officer</a:t>
              </a:r>
              <a:endParaRPr kumimoji="0" lang="en-US" sz="900" b="1" i="0" u="none" strike="noStrike" kern="1200" cap="none" spc="0" normalizeH="0" baseline="0" noProof="0" dirty="0" smtClean="0">
                <a:ln>
                  <a:noFill/>
                </a:ln>
                <a:solidFill>
                  <a:srgbClr val="000000"/>
                </a:solidFill>
                <a:effectLst/>
                <a:uLnTx/>
                <a:uFillTx/>
                <a:latin typeface="Arial" panose="020B0604020202020204"/>
                <a:ea typeface="+mn-ea"/>
                <a:cs typeface="+mn-cs"/>
              </a:endParaRP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Edward Spehar, </a:t>
              </a: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Executive Vice President and Chief Financial Officer</a:t>
              </a:r>
            </a:p>
          </p:txBody>
        </p:sp>
        <p:cxnSp>
          <p:nvCxnSpPr>
            <p:cNvPr id="22" name="Straight Connector 21"/>
            <p:cNvCxnSpPr/>
            <p:nvPr/>
          </p:nvCxnSpPr>
          <p:spPr>
            <a:xfrm>
              <a:off x="5392079" y="1437260"/>
              <a:ext cx="0" cy="973307"/>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4729282" y="754437"/>
              <a:ext cx="950" cy="685359"/>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4" name="Chart 23"/>
            <p:cNvGraphicFramePr>
              <a:graphicFrameLocks/>
            </p:cNvGraphicFramePr>
            <p:nvPr>
              <p:extLst>
                <p:ext uri="{D42A27DB-BD31-4B8C-83A1-F6EECF244321}">
                  <p14:modId xmlns:p14="http://schemas.microsoft.com/office/powerpoint/2010/main" val="3082628159"/>
                </p:ext>
              </p:extLst>
            </p:nvPr>
          </p:nvGraphicFramePr>
          <p:xfrm>
            <a:off x="5107667" y="2777193"/>
            <a:ext cx="3594097" cy="1863743"/>
          </p:xfrm>
          <a:graphic>
            <a:graphicData uri="http://schemas.openxmlformats.org/drawingml/2006/chart">
              <c:chart xmlns:c="http://schemas.openxmlformats.org/drawingml/2006/chart" xmlns:r="http://schemas.openxmlformats.org/officeDocument/2006/relationships" r:id="rId5"/>
            </a:graphicData>
          </a:graphic>
        </p:graphicFrame>
        <p:sp>
          <p:nvSpPr>
            <p:cNvPr id="25" name="Rectangle 24"/>
            <p:cNvSpPr/>
            <p:nvPr/>
          </p:nvSpPr>
          <p:spPr>
            <a:xfrm>
              <a:off x="5097088" y="2469907"/>
              <a:ext cx="3672008" cy="257951"/>
            </a:xfrm>
            <a:prstGeom prst="rect">
              <a:avLst/>
            </a:prstGeom>
            <a:solidFill>
              <a:srgbClr val="308A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dirty="0" smtClean="0">
                  <a:ln>
                    <a:noFill/>
                  </a:ln>
                  <a:solidFill>
                    <a:srgbClr val="FFFFFF"/>
                  </a:solidFill>
                  <a:effectLst/>
                  <a:uLnTx/>
                  <a:uFillTx/>
                  <a:latin typeface="Arial" panose="020B0604020202020204"/>
                  <a:ea typeface="Verdana" panose="020B0604030504040204" pitchFamily="34" charset="0"/>
                  <a:cs typeface="Verdana" panose="020B0604030504040204" pitchFamily="34" charset="0"/>
                  <a:sym typeface="Verdana"/>
                </a:rPr>
                <a:t>Premiums (USD MN) (2014 - 2018)</a:t>
              </a:r>
              <a:endParaRPr kumimoji="0" lang="fr-FR" sz="900" b="1" i="0" u="none" strike="noStrike" kern="1200" cap="none" spc="0" normalizeH="0" baseline="0" noProof="0" dirty="0">
                <a:ln>
                  <a:noFill/>
                </a:ln>
                <a:solidFill>
                  <a:srgbClr val="FFFFFF"/>
                </a:solidFill>
                <a:effectLst/>
                <a:uLnTx/>
                <a:uFillTx/>
                <a:latin typeface="Arial" panose="020B0604020202020204"/>
                <a:ea typeface="Verdana" panose="020B0604030504040204" pitchFamily="34" charset="0"/>
                <a:cs typeface="Verdana" panose="020B0604030504040204" pitchFamily="34" charset="0"/>
                <a:sym typeface="Verdana"/>
              </a:endParaRPr>
            </a:p>
          </p:txBody>
        </p:sp>
        <p:pic>
          <p:nvPicPr>
            <p:cNvPr id="26" name="Picture 25"/>
            <p:cNvPicPr>
              <a:picLocks noChangeAspect="1"/>
            </p:cNvPicPr>
            <p:nvPr/>
          </p:nvPicPr>
          <p:blipFill>
            <a:blip r:embed="rId6"/>
            <a:stretch>
              <a:fillRect/>
            </a:stretch>
          </p:blipFill>
          <p:spPr>
            <a:xfrm>
              <a:off x="5484108" y="1550560"/>
              <a:ext cx="498378" cy="459238"/>
            </a:xfrm>
            <a:prstGeom prst="rect">
              <a:avLst/>
            </a:prstGeom>
          </p:spPr>
        </p:pic>
        <p:sp>
          <p:nvSpPr>
            <p:cNvPr id="27" name="TextBox 26"/>
            <p:cNvSpPr txBox="1"/>
            <p:nvPr/>
          </p:nvSpPr>
          <p:spPr>
            <a:xfrm>
              <a:off x="6054346" y="1615317"/>
              <a:ext cx="1066301"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ssets Under Administration: </a:t>
              </a: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Arial" panose="020B0604020202020204" pitchFamily="34" charset="0"/>
                </a:rPr>
                <a:t>USD 201 bn</a:t>
              </a:r>
            </a:p>
          </p:txBody>
        </p:sp>
        <p:cxnSp>
          <p:nvCxnSpPr>
            <p:cNvPr id="28" name="Straight Connector 27"/>
            <p:cNvCxnSpPr/>
            <p:nvPr/>
          </p:nvCxnSpPr>
          <p:spPr>
            <a:xfrm>
              <a:off x="4040360" y="1436183"/>
              <a:ext cx="0" cy="985902"/>
            </a:xfrm>
            <a:prstGeom prst="line">
              <a:avLst/>
            </a:prstGeom>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4569427" y="1706741"/>
              <a:ext cx="903990"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srgbClr val="000000"/>
                  </a:solidFill>
                  <a:effectLst/>
                  <a:uLnTx/>
                  <a:uFillTx/>
                  <a:latin typeface="Arial" panose="020B0604020202020204"/>
                  <a:ea typeface="+mn-ea"/>
                  <a:cs typeface="Arial" panose="020B0604020202020204" pitchFamily="34" charset="0"/>
                </a:rPr>
                <a:t>Customers: </a:t>
              </a: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Arial" panose="020B0604020202020204" pitchFamily="34" charset="0"/>
                </a:rPr>
                <a:t>2 mn</a:t>
              </a:r>
              <a:endPar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endParaRPr>
            </a:p>
          </p:txBody>
        </p:sp>
        <p:grpSp>
          <p:nvGrpSpPr>
            <p:cNvPr id="30" name="Group 29"/>
            <p:cNvGrpSpPr/>
            <p:nvPr/>
          </p:nvGrpSpPr>
          <p:grpSpPr>
            <a:xfrm>
              <a:off x="5448469" y="844263"/>
              <a:ext cx="3274978" cy="466397"/>
              <a:chOff x="5162145" y="1577317"/>
              <a:chExt cx="3539619" cy="647074"/>
            </a:xfrm>
          </p:grpSpPr>
          <p:sp>
            <p:nvSpPr>
              <p:cNvPr id="39" name="Rectangle 38"/>
              <p:cNvSpPr/>
              <p:nvPr/>
            </p:nvSpPr>
            <p:spPr>
              <a:xfrm>
                <a:off x="5162145" y="1577317"/>
                <a:ext cx="3539619" cy="647074"/>
              </a:xfrm>
              <a:prstGeom prst="rect">
                <a:avLst/>
              </a:prstGeom>
              <a:solidFill>
                <a:srgbClr val="308A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40" name="Straight Connector 39"/>
              <p:cNvCxnSpPr/>
              <p:nvPr/>
            </p:nvCxnSpPr>
            <p:spPr>
              <a:xfrm>
                <a:off x="5992238" y="1685021"/>
                <a:ext cx="0" cy="4852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6886320" y="1663865"/>
                <a:ext cx="0" cy="4852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7801584" y="1654595"/>
                <a:ext cx="0" cy="4852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5393725" y="1768209"/>
                <a:ext cx="300355" cy="307777"/>
              </a:xfrm>
              <a:prstGeom prst="rect">
                <a:avLst/>
              </a:prstGeom>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FFFFFF"/>
                    </a:solidFill>
                    <a:effectLst/>
                    <a:uLnTx/>
                    <a:uFillTx/>
                    <a:latin typeface="Arial" panose="020B0604020202020204"/>
                    <a:ea typeface="+mn-ea"/>
                    <a:cs typeface="+mn-cs"/>
                  </a:rPr>
                  <a:t>S&amp;P</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FFFFFF"/>
                    </a:solidFill>
                    <a:effectLst/>
                    <a:uLnTx/>
                    <a:uFillTx/>
                    <a:latin typeface="Arial" panose="020B0604020202020204"/>
                    <a:ea typeface="+mn-ea"/>
                    <a:cs typeface="+mn-cs"/>
                  </a:rPr>
                  <a:t>A+</a:t>
                </a:r>
              </a:p>
            </p:txBody>
          </p:sp>
          <p:sp>
            <p:nvSpPr>
              <p:cNvPr id="44" name="TextBox 43"/>
              <p:cNvSpPr txBox="1"/>
              <p:nvPr/>
            </p:nvSpPr>
            <p:spPr>
              <a:xfrm>
                <a:off x="6170269" y="1752680"/>
                <a:ext cx="593127" cy="307777"/>
              </a:xfrm>
              <a:prstGeom prst="rect">
                <a:avLst/>
              </a:prstGeom>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FFFFFF"/>
                    </a:solidFill>
                    <a:effectLst/>
                    <a:uLnTx/>
                    <a:uFillTx/>
                    <a:latin typeface="Arial" panose="020B0604020202020204"/>
                    <a:ea typeface="+mn-ea"/>
                    <a:cs typeface="+mn-cs"/>
                  </a:rPr>
                  <a:t>A.M. Bes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FFFFFF"/>
                    </a:solidFill>
                    <a:effectLst/>
                    <a:uLnTx/>
                    <a:uFillTx/>
                    <a:latin typeface="Arial" panose="020B0604020202020204"/>
                    <a:ea typeface="+mn-ea"/>
                    <a:cs typeface="+mn-cs"/>
                  </a:rPr>
                  <a:t>A</a:t>
                </a:r>
              </a:p>
            </p:txBody>
          </p:sp>
          <p:sp>
            <p:nvSpPr>
              <p:cNvPr id="45" name="TextBox 44"/>
              <p:cNvSpPr txBox="1"/>
              <p:nvPr/>
            </p:nvSpPr>
            <p:spPr>
              <a:xfrm>
                <a:off x="7041311" y="1743306"/>
                <a:ext cx="593127" cy="307777"/>
              </a:xfrm>
              <a:prstGeom prst="rect">
                <a:avLst/>
              </a:prstGeom>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FFFFFF"/>
                    </a:solidFill>
                    <a:effectLst/>
                    <a:uLnTx/>
                    <a:uFillTx/>
                    <a:latin typeface="Arial" panose="020B0604020202020204"/>
                    <a:ea typeface="+mn-ea"/>
                    <a:cs typeface="+mn-cs"/>
                  </a:rPr>
                  <a:t>Moody’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FFFFFF"/>
                    </a:solidFill>
                    <a:effectLst/>
                    <a:uLnTx/>
                    <a:uFillTx/>
                    <a:latin typeface="Arial" panose="020B0604020202020204"/>
                    <a:ea typeface="+mn-ea"/>
                    <a:cs typeface="+mn-cs"/>
                  </a:rPr>
                  <a:t>A3</a:t>
                </a:r>
              </a:p>
            </p:txBody>
          </p:sp>
          <p:sp>
            <p:nvSpPr>
              <p:cNvPr id="46" name="TextBox 45"/>
              <p:cNvSpPr txBox="1"/>
              <p:nvPr/>
            </p:nvSpPr>
            <p:spPr>
              <a:xfrm>
                <a:off x="7928939" y="1752680"/>
                <a:ext cx="593127" cy="307777"/>
              </a:xfrm>
              <a:prstGeom prst="rect">
                <a:avLst/>
              </a:prstGeom>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FFFFFF"/>
                    </a:solidFill>
                    <a:effectLst/>
                    <a:uLnTx/>
                    <a:uFillTx/>
                    <a:latin typeface="Arial" panose="020B0604020202020204"/>
                    <a:ea typeface="+mn-ea"/>
                    <a:cs typeface="+mn-cs"/>
                  </a:rPr>
                  <a:t>Fitch</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FFFFFF"/>
                    </a:solidFill>
                    <a:effectLst/>
                    <a:uLnTx/>
                    <a:uFillTx/>
                    <a:latin typeface="Arial" panose="020B0604020202020204"/>
                    <a:ea typeface="+mn-ea"/>
                    <a:cs typeface="+mn-cs"/>
                  </a:rPr>
                  <a:t>A</a:t>
                </a:r>
              </a:p>
            </p:txBody>
          </p:sp>
        </p:grpSp>
        <p:pic>
          <p:nvPicPr>
            <p:cNvPr id="31" name="Picture 30"/>
            <p:cNvPicPr>
              <a:picLocks noChangeAspect="1"/>
            </p:cNvPicPr>
            <p:nvPr/>
          </p:nvPicPr>
          <p:blipFill>
            <a:blip r:embed="rId7"/>
            <a:stretch>
              <a:fillRect/>
            </a:stretch>
          </p:blipFill>
          <p:spPr>
            <a:xfrm>
              <a:off x="4834275" y="830229"/>
              <a:ext cx="408340" cy="554569"/>
            </a:xfrm>
            <a:prstGeom prst="rect">
              <a:avLst/>
            </a:prstGeom>
          </p:spPr>
        </p:pic>
        <p:cxnSp>
          <p:nvCxnSpPr>
            <p:cNvPr id="32" name="Straight Connector 31"/>
            <p:cNvCxnSpPr/>
            <p:nvPr/>
          </p:nvCxnSpPr>
          <p:spPr>
            <a:xfrm>
              <a:off x="7043735" y="1437456"/>
              <a:ext cx="0" cy="973307"/>
            </a:xfrm>
            <a:prstGeom prst="line">
              <a:avLst/>
            </a:prstGeom>
          </p:spPr>
          <p:style>
            <a:lnRef idx="1">
              <a:schemeClr val="accent1"/>
            </a:lnRef>
            <a:fillRef idx="0">
              <a:schemeClr val="accent1"/>
            </a:fillRef>
            <a:effectRef idx="0">
              <a:schemeClr val="accent1"/>
            </a:effectRef>
            <a:fontRef idx="minor">
              <a:schemeClr val="tx1"/>
            </a:fontRef>
          </p:style>
        </p:cxnSp>
        <p:pic>
          <p:nvPicPr>
            <p:cNvPr id="33" name="Picture 32"/>
            <p:cNvPicPr>
              <a:picLocks noChangeAspect="1"/>
            </p:cNvPicPr>
            <p:nvPr/>
          </p:nvPicPr>
          <p:blipFill>
            <a:blip r:embed="rId8"/>
            <a:stretch>
              <a:fillRect/>
            </a:stretch>
          </p:blipFill>
          <p:spPr>
            <a:xfrm>
              <a:off x="7279073" y="1533820"/>
              <a:ext cx="1145698" cy="159865"/>
            </a:xfrm>
            <a:prstGeom prst="rect">
              <a:avLst/>
            </a:prstGeom>
          </p:spPr>
        </p:pic>
        <p:sp>
          <p:nvSpPr>
            <p:cNvPr id="34" name="TextBox 33"/>
            <p:cNvSpPr txBox="1"/>
            <p:nvPr/>
          </p:nvSpPr>
          <p:spPr>
            <a:xfrm>
              <a:off x="7238484" y="1672861"/>
              <a:ext cx="1381210" cy="78483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Arial" panose="020B0604020202020204" pitchFamily="34" charset="0"/>
                </a:rPr>
                <a:t>Company is included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number 342 on the 2019 FORTUNE 500 list, </a:t>
              </a: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Arial" panose="020B0604020202020204" pitchFamily="34" charset="0"/>
                </a:rPr>
                <a:t>based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on total revenues</a:t>
              </a:r>
              <a:endPar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Arial" panose="020B0604020202020204" pitchFamily="34" charset="0"/>
              </a:endParaRPr>
            </a:p>
          </p:txBody>
        </p:sp>
        <p:pic>
          <p:nvPicPr>
            <p:cNvPr id="35" name="Picture 34"/>
            <p:cNvPicPr>
              <a:picLocks noChangeAspect="1"/>
            </p:cNvPicPr>
            <p:nvPr/>
          </p:nvPicPr>
          <p:blipFill>
            <a:blip r:embed="rId9"/>
            <a:stretch>
              <a:fillRect/>
            </a:stretch>
          </p:blipFill>
          <p:spPr>
            <a:xfrm>
              <a:off x="4051985" y="1621456"/>
              <a:ext cx="539974" cy="683100"/>
            </a:xfrm>
            <a:prstGeom prst="rect">
              <a:avLst/>
            </a:prstGeom>
          </p:spPr>
        </p:pic>
        <p:sp>
          <p:nvSpPr>
            <p:cNvPr id="36" name="TextBox 35"/>
            <p:cNvSpPr txBox="1"/>
            <p:nvPr/>
          </p:nvSpPr>
          <p:spPr>
            <a:xfrm>
              <a:off x="418963" y="2577738"/>
              <a:ext cx="4632333"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smtClean="0">
                  <a:ln>
                    <a:noFill/>
                  </a:ln>
                  <a:solidFill>
                    <a:srgbClr val="00B140"/>
                  </a:solidFill>
                  <a:effectLst/>
                  <a:uLnTx/>
                  <a:uFillTx/>
                  <a:latin typeface="Arial" panose="020B0604020202020204"/>
                  <a:ea typeface="+mn-ea"/>
                  <a:cs typeface="Arial" panose="020B0604020202020204" pitchFamily="34" charset="0"/>
                </a:rPr>
                <a:t>About the Company</a:t>
              </a:r>
            </a:p>
          </p:txBody>
        </p:sp>
        <p:sp>
          <p:nvSpPr>
            <p:cNvPr id="37" name="Rectangle 36"/>
            <p:cNvSpPr/>
            <p:nvPr/>
          </p:nvSpPr>
          <p:spPr>
            <a:xfrm>
              <a:off x="418963" y="3927763"/>
              <a:ext cx="1285904" cy="671942"/>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000000"/>
                  </a:solidFill>
                  <a:effectLst/>
                  <a:uLnTx/>
                  <a:uFillTx/>
                  <a:latin typeface="Arial" panose="020B0604020202020204"/>
                  <a:ea typeface="+mn-ea"/>
                  <a:cs typeface="+mn-cs"/>
                </a:rPr>
                <a:t>40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solidFill>
                    <a:srgbClr val="000000"/>
                  </a:solidFill>
                  <a:effectLst/>
                  <a:uLnTx/>
                  <a:uFillTx/>
                  <a:latin typeface="Arial" panose="020B0604020202020204"/>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mn-cs"/>
                </a:rPr>
                <a:t>Independent Distribution partners</a:t>
              </a:r>
              <a:endPar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8" name="Rectangle 37"/>
            <p:cNvSpPr/>
            <p:nvPr/>
          </p:nvSpPr>
          <p:spPr>
            <a:xfrm>
              <a:off x="1839046" y="3927029"/>
              <a:ext cx="1285904" cy="671942"/>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000000"/>
                  </a:solidFill>
                  <a:effectLst/>
                  <a:uLnTx/>
                  <a:uFillTx/>
                  <a:latin typeface="Arial" panose="020B0604020202020204"/>
                  <a:ea typeface="+mn-ea"/>
                  <a:cs typeface="+mn-cs"/>
                </a:rPr>
                <a:t>$418B</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solidFill>
                    <a:srgbClr val="000000"/>
                  </a:solidFill>
                  <a:effectLst/>
                  <a:uLnTx/>
                  <a:uFillTx/>
                  <a:latin typeface="Arial" panose="020B0604020202020204"/>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mn-cs"/>
                </a:rPr>
                <a:t>Life Insurance In-force</a:t>
              </a:r>
              <a:endPar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64183657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428" y="127739"/>
            <a:ext cx="8417052" cy="621030"/>
          </a:xfrm>
        </p:spPr>
        <p:txBody>
          <a:bodyPr/>
          <a:lstStyle/>
          <a:p>
            <a:r>
              <a:rPr lang="en-US" dirty="0" err="1"/>
              <a:t>Brighthouse</a:t>
            </a:r>
            <a:r>
              <a:rPr lang="en-US" dirty="0"/>
              <a:t> Financial - Timeline</a:t>
            </a:r>
          </a:p>
        </p:txBody>
      </p:sp>
      <p:sp>
        <p:nvSpPr>
          <p:cNvPr id="4" name="Footer Placeholder 3"/>
          <p:cNvSpPr>
            <a:spLocks noGrp="1"/>
          </p:cNvSpPr>
          <p:nvPr>
            <p:ph type="ftr" sz="quarter" idx="3"/>
          </p:nvPr>
        </p:nvSpPr>
        <p:spPr/>
        <p:txBody>
          <a:bodyPr/>
          <a:lstStyle/>
          <a:p>
            <a:r>
              <a:rPr lang="en-US" smtClean="0"/>
              <a:t>© 2020 Cognizant</a:t>
            </a:r>
            <a:endParaRPr lang="en-US" dirty="0"/>
          </a:p>
        </p:txBody>
      </p:sp>
      <p:sp>
        <p:nvSpPr>
          <p:cNvPr id="5" name="Slide Number Placeholder 4"/>
          <p:cNvSpPr>
            <a:spLocks noGrp="1"/>
          </p:cNvSpPr>
          <p:nvPr>
            <p:ph type="sldNum" sz="quarter" idx="4"/>
          </p:nvPr>
        </p:nvSpPr>
        <p:spPr/>
        <p:txBody>
          <a:bodyPr/>
          <a:lstStyle/>
          <a:p>
            <a:fld id="{2EFEF571-C9B4-4D92-A7F7-315B894862A8}" type="slidenum">
              <a:rPr lang="en-US" smtClean="0"/>
              <a:pPr/>
              <a:t>5</a:t>
            </a:fld>
            <a:endParaRPr lang="en-US" dirty="0"/>
          </a:p>
        </p:txBody>
      </p:sp>
      <p:grpSp>
        <p:nvGrpSpPr>
          <p:cNvPr id="6" name="Group 5"/>
          <p:cNvGrpSpPr/>
          <p:nvPr/>
        </p:nvGrpSpPr>
        <p:grpSpPr>
          <a:xfrm>
            <a:off x="213004" y="747218"/>
            <a:ext cx="5617919" cy="3921944"/>
            <a:chOff x="498348" y="732238"/>
            <a:chExt cx="5617919" cy="3921944"/>
          </a:xfrm>
        </p:grpSpPr>
        <p:sp>
          <p:nvSpPr>
            <p:cNvPr id="7" name="Freeform 6"/>
            <p:cNvSpPr/>
            <p:nvPr/>
          </p:nvSpPr>
          <p:spPr>
            <a:xfrm>
              <a:off x="498348" y="768096"/>
              <a:ext cx="675365" cy="389007"/>
            </a:xfrm>
            <a:custGeom>
              <a:avLst/>
              <a:gdLst>
                <a:gd name="connsiteX0" fmla="*/ 0 w 739703"/>
                <a:gd name="connsiteY0" fmla="*/ 86312 h 517768"/>
                <a:gd name="connsiteX1" fmla="*/ 86312 w 739703"/>
                <a:gd name="connsiteY1" fmla="*/ 0 h 517768"/>
                <a:gd name="connsiteX2" fmla="*/ 653391 w 739703"/>
                <a:gd name="connsiteY2" fmla="*/ 0 h 517768"/>
                <a:gd name="connsiteX3" fmla="*/ 739703 w 739703"/>
                <a:gd name="connsiteY3" fmla="*/ 86312 h 517768"/>
                <a:gd name="connsiteX4" fmla="*/ 739703 w 739703"/>
                <a:gd name="connsiteY4" fmla="*/ 431456 h 517768"/>
                <a:gd name="connsiteX5" fmla="*/ 653391 w 739703"/>
                <a:gd name="connsiteY5" fmla="*/ 517768 h 517768"/>
                <a:gd name="connsiteX6" fmla="*/ 86312 w 739703"/>
                <a:gd name="connsiteY6" fmla="*/ 517768 h 517768"/>
                <a:gd name="connsiteX7" fmla="*/ 0 w 739703"/>
                <a:gd name="connsiteY7" fmla="*/ 431456 h 517768"/>
                <a:gd name="connsiteX8" fmla="*/ 0 w 739703"/>
                <a:gd name="connsiteY8" fmla="*/ 86312 h 51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9703" h="517768">
                  <a:moveTo>
                    <a:pt x="0" y="86312"/>
                  </a:moveTo>
                  <a:cubicBezTo>
                    <a:pt x="0" y="38643"/>
                    <a:pt x="38643" y="0"/>
                    <a:pt x="86312" y="0"/>
                  </a:cubicBezTo>
                  <a:lnTo>
                    <a:pt x="653391" y="0"/>
                  </a:lnTo>
                  <a:cubicBezTo>
                    <a:pt x="701060" y="0"/>
                    <a:pt x="739703" y="38643"/>
                    <a:pt x="739703" y="86312"/>
                  </a:cubicBezTo>
                  <a:lnTo>
                    <a:pt x="739703" y="431456"/>
                  </a:lnTo>
                  <a:cubicBezTo>
                    <a:pt x="739703" y="479125"/>
                    <a:pt x="701060" y="517768"/>
                    <a:pt x="653391" y="517768"/>
                  </a:cubicBezTo>
                  <a:lnTo>
                    <a:pt x="86312" y="517768"/>
                  </a:lnTo>
                  <a:cubicBezTo>
                    <a:pt x="38643" y="517768"/>
                    <a:pt x="0" y="479125"/>
                    <a:pt x="0" y="431456"/>
                  </a:cubicBezTo>
                  <a:lnTo>
                    <a:pt x="0" y="86312"/>
                  </a:lnTo>
                  <a:close/>
                </a:path>
              </a:pathLst>
            </a:custGeom>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9570" tIns="59570" rIns="59570" bIns="5957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1" i="0" u="none" strike="noStrike" kern="1200" cap="none" spc="0" normalizeH="0" baseline="0" noProof="0" dirty="0" smtClean="0">
                  <a:ln>
                    <a:noFill/>
                  </a:ln>
                  <a:solidFill>
                    <a:srgbClr val="2C2C2C"/>
                  </a:solidFill>
                  <a:effectLst/>
                  <a:uLnTx/>
                  <a:uFillTx/>
                  <a:latin typeface="Arial" panose="020B0604020202020204"/>
                  <a:ea typeface="+mn-ea"/>
                  <a:cs typeface="+mn-cs"/>
                </a:rPr>
                <a:t>Jun 1863</a:t>
              </a:r>
              <a:endParaRPr kumimoji="0" lang="en-US" sz="900" b="1" i="0" u="none" strike="noStrike" kern="1200" cap="none" spc="0" normalizeH="0" baseline="0" noProof="0" dirty="0">
                <a:ln>
                  <a:noFill/>
                </a:ln>
                <a:solidFill>
                  <a:srgbClr val="2C2C2C"/>
                </a:solidFill>
                <a:effectLst/>
                <a:uLnTx/>
                <a:uFillTx/>
                <a:latin typeface="Arial" panose="020B0604020202020204"/>
                <a:ea typeface="+mn-ea"/>
                <a:cs typeface="+mn-cs"/>
              </a:endParaRPr>
            </a:p>
          </p:txBody>
        </p:sp>
        <p:sp>
          <p:nvSpPr>
            <p:cNvPr id="8" name="Freeform 7"/>
            <p:cNvSpPr/>
            <p:nvPr/>
          </p:nvSpPr>
          <p:spPr>
            <a:xfrm>
              <a:off x="1173713" y="732238"/>
              <a:ext cx="4886923" cy="460330"/>
            </a:xfrm>
            <a:custGeom>
              <a:avLst/>
              <a:gdLst>
                <a:gd name="connsiteX0" fmla="*/ 0 w 537989"/>
                <a:gd name="connsiteY0" fmla="*/ 0 h 418483"/>
                <a:gd name="connsiteX1" fmla="*/ 537989 w 537989"/>
                <a:gd name="connsiteY1" fmla="*/ 0 h 418483"/>
                <a:gd name="connsiteX2" fmla="*/ 537989 w 537989"/>
                <a:gd name="connsiteY2" fmla="*/ 418483 h 418483"/>
                <a:gd name="connsiteX3" fmla="*/ 0 w 537989"/>
                <a:gd name="connsiteY3" fmla="*/ 418483 h 418483"/>
                <a:gd name="connsiteX4" fmla="*/ 0 w 537989"/>
                <a:gd name="connsiteY4" fmla="*/ 0 h 4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989" h="418483">
                  <a:moveTo>
                    <a:pt x="0" y="0"/>
                  </a:moveTo>
                  <a:lnTo>
                    <a:pt x="537989" y="0"/>
                  </a:lnTo>
                  <a:lnTo>
                    <a:pt x="537989" y="418483"/>
                  </a:lnTo>
                  <a:lnTo>
                    <a:pt x="0" y="41848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The company Brighthouse Financial traces its roots back to, Travelers Insurance Company, is founded in Hartford, CT</a:t>
              </a:r>
            </a:p>
          </p:txBody>
        </p:sp>
        <p:sp>
          <p:nvSpPr>
            <p:cNvPr id="9" name="Freeform 8"/>
            <p:cNvSpPr/>
            <p:nvPr/>
          </p:nvSpPr>
          <p:spPr>
            <a:xfrm>
              <a:off x="750077" y="1205079"/>
              <a:ext cx="675365" cy="389007"/>
            </a:xfrm>
            <a:custGeom>
              <a:avLst/>
              <a:gdLst>
                <a:gd name="connsiteX0" fmla="*/ 0 w 739703"/>
                <a:gd name="connsiteY0" fmla="*/ 86312 h 517768"/>
                <a:gd name="connsiteX1" fmla="*/ 86312 w 739703"/>
                <a:gd name="connsiteY1" fmla="*/ 0 h 517768"/>
                <a:gd name="connsiteX2" fmla="*/ 653391 w 739703"/>
                <a:gd name="connsiteY2" fmla="*/ 0 h 517768"/>
                <a:gd name="connsiteX3" fmla="*/ 739703 w 739703"/>
                <a:gd name="connsiteY3" fmla="*/ 86312 h 517768"/>
                <a:gd name="connsiteX4" fmla="*/ 739703 w 739703"/>
                <a:gd name="connsiteY4" fmla="*/ 431456 h 517768"/>
                <a:gd name="connsiteX5" fmla="*/ 653391 w 739703"/>
                <a:gd name="connsiteY5" fmla="*/ 517768 h 517768"/>
                <a:gd name="connsiteX6" fmla="*/ 86312 w 739703"/>
                <a:gd name="connsiteY6" fmla="*/ 517768 h 517768"/>
                <a:gd name="connsiteX7" fmla="*/ 0 w 739703"/>
                <a:gd name="connsiteY7" fmla="*/ 431456 h 517768"/>
                <a:gd name="connsiteX8" fmla="*/ 0 w 739703"/>
                <a:gd name="connsiteY8" fmla="*/ 86312 h 51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9703" h="517768">
                  <a:moveTo>
                    <a:pt x="0" y="86312"/>
                  </a:moveTo>
                  <a:cubicBezTo>
                    <a:pt x="0" y="38643"/>
                    <a:pt x="38643" y="0"/>
                    <a:pt x="86312" y="0"/>
                  </a:cubicBezTo>
                  <a:lnTo>
                    <a:pt x="653391" y="0"/>
                  </a:lnTo>
                  <a:cubicBezTo>
                    <a:pt x="701060" y="0"/>
                    <a:pt x="739703" y="38643"/>
                    <a:pt x="739703" y="86312"/>
                  </a:cubicBezTo>
                  <a:lnTo>
                    <a:pt x="739703" y="431456"/>
                  </a:lnTo>
                  <a:cubicBezTo>
                    <a:pt x="739703" y="479125"/>
                    <a:pt x="701060" y="517768"/>
                    <a:pt x="653391" y="517768"/>
                  </a:cubicBezTo>
                  <a:lnTo>
                    <a:pt x="86312" y="517768"/>
                  </a:lnTo>
                  <a:cubicBezTo>
                    <a:pt x="38643" y="517768"/>
                    <a:pt x="0" y="479125"/>
                    <a:pt x="0" y="431456"/>
                  </a:cubicBezTo>
                  <a:lnTo>
                    <a:pt x="0" y="86312"/>
                  </a:lnTo>
                  <a:close/>
                </a:path>
              </a:pathLst>
            </a:custGeom>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9570" tIns="59570" rIns="59570" bIns="5957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1" i="0" u="none" strike="noStrike" kern="1200" cap="none" spc="0" normalizeH="0" baseline="0" noProof="0" dirty="0" smtClean="0">
                  <a:ln>
                    <a:noFill/>
                  </a:ln>
                  <a:solidFill>
                    <a:srgbClr val="2C2C2C"/>
                  </a:solidFill>
                  <a:effectLst/>
                  <a:uLnTx/>
                  <a:uFillTx/>
                  <a:latin typeface="Arial" panose="020B0604020202020204"/>
                  <a:ea typeface="+mn-ea"/>
                  <a:cs typeface="+mn-cs"/>
                </a:rPr>
                <a:t>Feb 1923</a:t>
              </a:r>
              <a:endParaRPr kumimoji="0" lang="en-US" sz="900" b="1" i="0" u="none" strike="noStrike" kern="1200" cap="none" spc="0" normalizeH="0" baseline="0" noProof="0" dirty="0">
                <a:ln>
                  <a:noFill/>
                </a:ln>
                <a:solidFill>
                  <a:srgbClr val="2C2C2C"/>
                </a:solidFill>
                <a:effectLst/>
                <a:uLnTx/>
                <a:uFillTx/>
                <a:latin typeface="Arial" panose="020B0604020202020204"/>
                <a:ea typeface="+mn-ea"/>
                <a:cs typeface="+mn-cs"/>
              </a:endParaRPr>
            </a:p>
          </p:txBody>
        </p:sp>
        <p:sp>
          <p:nvSpPr>
            <p:cNvPr id="10" name="Freeform 9"/>
            <p:cNvSpPr/>
            <p:nvPr/>
          </p:nvSpPr>
          <p:spPr>
            <a:xfrm>
              <a:off x="1435717" y="1196033"/>
              <a:ext cx="4566863" cy="314412"/>
            </a:xfrm>
            <a:custGeom>
              <a:avLst/>
              <a:gdLst>
                <a:gd name="connsiteX0" fmla="*/ 0 w 537989"/>
                <a:gd name="connsiteY0" fmla="*/ 0 h 418483"/>
                <a:gd name="connsiteX1" fmla="*/ 537989 w 537989"/>
                <a:gd name="connsiteY1" fmla="*/ 0 h 418483"/>
                <a:gd name="connsiteX2" fmla="*/ 537989 w 537989"/>
                <a:gd name="connsiteY2" fmla="*/ 418483 h 418483"/>
                <a:gd name="connsiteX3" fmla="*/ 0 w 537989"/>
                <a:gd name="connsiteY3" fmla="*/ 418483 h 418483"/>
                <a:gd name="connsiteX4" fmla="*/ 0 w 537989"/>
                <a:gd name="connsiteY4" fmla="*/ 0 h 4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989" h="418483">
                  <a:moveTo>
                    <a:pt x="0" y="0"/>
                  </a:moveTo>
                  <a:lnTo>
                    <a:pt x="537989" y="0"/>
                  </a:lnTo>
                  <a:lnTo>
                    <a:pt x="537989" y="418483"/>
                  </a:lnTo>
                  <a:lnTo>
                    <a:pt x="0" y="41848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Travelers Insurance Company </a:t>
              </a:r>
              <a:r>
                <a:rPr kumimoji="0" lang="en-US" sz="800" b="0" i="0" u="none" strike="noStrike" kern="1200" cap="none" spc="0" normalizeH="0" baseline="0" noProof="0" dirty="0" smtClean="0">
                  <a:ln>
                    <a:noFill/>
                  </a:ln>
                  <a:solidFill>
                    <a:srgbClr val="000000"/>
                  </a:solidFill>
                  <a:effectLst/>
                  <a:uLnTx/>
                  <a:uFillTx/>
                  <a:latin typeface="Arial" panose="020B0604020202020204"/>
                  <a:ea typeface="+mn-ea"/>
                  <a:cs typeface="+mn-cs"/>
                </a:rPr>
                <a:t>issued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life insurance policy</a:t>
              </a:r>
            </a:p>
          </p:txBody>
        </p:sp>
        <p:sp>
          <p:nvSpPr>
            <p:cNvPr id="11" name="Freeform 10"/>
            <p:cNvSpPr/>
            <p:nvPr/>
          </p:nvSpPr>
          <p:spPr>
            <a:xfrm>
              <a:off x="1012081" y="1642062"/>
              <a:ext cx="675365" cy="389007"/>
            </a:xfrm>
            <a:custGeom>
              <a:avLst/>
              <a:gdLst>
                <a:gd name="connsiteX0" fmla="*/ 0 w 739703"/>
                <a:gd name="connsiteY0" fmla="*/ 86312 h 517768"/>
                <a:gd name="connsiteX1" fmla="*/ 86312 w 739703"/>
                <a:gd name="connsiteY1" fmla="*/ 0 h 517768"/>
                <a:gd name="connsiteX2" fmla="*/ 653391 w 739703"/>
                <a:gd name="connsiteY2" fmla="*/ 0 h 517768"/>
                <a:gd name="connsiteX3" fmla="*/ 739703 w 739703"/>
                <a:gd name="connsiteY3" fmla="*/ 86312 h 517768"/>
                <a:gd name="connsiteX4" fmla="*/ 739703 w 739703"/>
                <a:gd name="connsiteY4" fmla="*/ 431456 h 517768"/>
                <a:gd name="connsiteX5" fmla="*/ 653391 w 739703"/>
                <a:gd name="connsiteY5" fmla="*/ 517768 h 517768"/>
                <a:gd name="connsiteX6" fmla="*/ 86312 w 739703"/>
                <a:gd name="connsiteY6" fmla="*/ 517768 h 517768"/>
                <a:gd name="connsiteX7" fmla="*/ 0 w 739703"/>
                <a:gd name="connsiteY7" fmla="*/ 431456 h 517768"/>
                <a:gd name="connsiteX8" fmla="*/ 0 w 739703"/>
                <a:gd name="connsiteY8" fmla="*/ 86312 h 51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9703" h="517768">
                  <a:moveTo>
                    <a:pt x="0" y="86312"/>
                  </a:moveTo>
                  <a:cubicBezTo>
                    <a:pt x="0" y="38643"/>
                    <a:pt x="38643" y="0"/>
                    <a:pt x="86312" y="0"/>
                  </a:cubicBezTo>
                  <a:lnTo>
                    <a:pt x="653391" y="0"/>
                  </a:lnTo>
                  <a:cubicBezTo>
                    <a:pt x="701060" y="0"/>
                    <a:pt x="739703" y="38643"/>
                    <a:pt x="739703" y="86312"/>
                  </a:cubicBezTo>
                  <a:lnTo>
                    <a:pt x="739703" y="431456"/>
                  </a:lnTo>
                  <a:cubicBezTo>
                    <a:pt x="739703" y="479125"/>
                    <a:pt x="701060" y="517768"/>
                    <a:pt x="653391" y="517768"/>
                  </a:cubicBezTo>
                  <a:lnTo>
                    <a:pt x="86312" y="517768"/>
                  </a:lnTo>
                  <a:cubicBezTo>
                    <a:pt x="38643" y="517768"/>
                    <a:pt x="0" y="479125"/>
                    <a:pt x="0" y="431456"/>
                  </a:cubicBezTo>
                  <a:lnTo>
                    <a:pt x="0" y="86312"/>
                  </a:lnTo>
                  <a:close/>
                </a:path>
              </a:pathLst>
            </a:custGeom>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9570" tIns="59570" rIns="59570" bIns="5957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1" i="0" u="none" strike="noStrike" kern="1200" cap="none" spc="0" normalizeH="0" baseline="0" noProof="0" dirty="0" smtClean="0">
                  <a:ln>
                    <a:noFill/>
                  </a:ln>
                  <a:solidFill>
                    <a:srgbClr val="2C2C2C"/>
                  </a:solidFill>
                  <a:effectLst/>
                  <a:uLnTx/>
                  <a:uFillTx/>
                  <a:latin typeface="Arial" panose="020B0604020202020204"/>
                  <a:ea typeface="+mn-ea"/>
                  <a:cs typeface="+mn-cs"/>
                </a:rPr>
                <a:t>Feb 1938</a:t>
              </a:r>
              <a:endParaRPr kumimoji="0" lang="en-US" sz="900" b="1" i="0" u="none" strike="noStrike" kern="1200" cap="none" spc="0" normalizeH="0" baseline="0" noProof="0" dirty="0">
                <a:ln>
                  <a:noFill/>
                </a:ln>
                <a:solidFill>
                  <a:srgbClr val="2C2C2C"/>
                </a:solidFill>
                <a:effectLst/>
                <a:uLnTx/>
                <a:uFillTx/>
                <a:latin typeface="Arial" panose="020B0604020202020204"/>
                <a:ea typeface="+mn-ea"/>
                <a:cs typeface="+mn-cs"/>
              </a:endParaRPr>
            </a:p>
          </p:txBody>
        </p:sp>
        <p:sp>
          <p:nvSpPr>
            <p:cNvPr id="12" name="Freeform 11"/>
            <p:cNvSpPr/>
            <p:nvPr/>
          </p:nvSpPr>
          <p:spPr>
            <a:xfrm>
              <a:off x="1693917" y="1654673"/>
              <a:ext cx="4166216" cy="314412"/>
            </a:xfrm>
            <a:custGeom>
              <a:avLst/>
              <a:gdLst>
                <a:gd name="connsiteX0" fmla="*/ 0 w 537989"/>
                <a:gd name="connsiteY0" fmla="*/ 0 h 418483"/>
                <a:gd name="connsiteX1" fmla="*/ 537989 w 537989"/>
                <a:gd name="connsiteY1" fmla="*/ 0 h 418483"/>
                <a:gd name="connsiteX2" fmla="*/ 537989 w 537989"/>
                <a:gd name="connsiteY2" fmla="*/ 418483 h 418483"/>
                <a:gd name="connsiteX3" fmla="*/ 0 w 537989"/>
                <a:gd name="connsiteY3" fmla="*/ 418483 h 418483"/>
                <a:gd name="connsiteX4" fmla="*/ 0 w 537989"/>
                <a:gd name="connsiteY4" fmla="*/ 0 h 4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989" h="418483">
                  <a:moveTo>
                    <a:pt x="0" y="0"/>
                  </a:moveTo>
                  <a:lnTo>
                    <a:pt x="537989" y="0"/>
                  </a:lnTo>
                  <a:lnTo>
                    <a:pt x="537989" y="418483"/>
                  </a:lnTo>
                  <a:lnTo>
                    <a:pt x="0" y="41848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First annuity contract sold through Travelers Insurance Company, </a:t>
              </a:r>
              <a:r>
                <a:rPr kumimoji="0" lang="en-US" sz="800" b="0" i="0" u="none" strike="noStrike" kern="1200" cap="none" spc="0" normalizeH="0" baseline="0" noProof="0" dirty="0" smtClean="0">
                  <a:ln>
                    <a:noFill/>
                  </a:ln>
                  <a:solidFill>
                    <a:srgbClr val="000000"/>
                  </a:solidFill>
                  <a:effectLst/>
                  <a:uLnTx/>
                  <a:uFillTx/>
                  <a:latin typeface="Arial" panose="020B0604020202020204"/>
                  <a:ea typeface="+mn-ea"/>
                  <a:cs typeface="+mn-cs"/>
                </a:rPr>
                <a:t>started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the annuity and life insurance product mix</a:t>
              </a:r>
            </a:p>
          </p:txBody>
        </p:sp>
        <p:sp>
          <p:nvSpPr>
            <p:cNvPr id="13" name="Freeform 12"/>
            <p:cNvSpPr/>
            <p:nvPr/>
          </p:nvSpPr>
          <p:spPr>
            <a:xfrm>
              <a:off x="1284357" y="2079045"/>
              <a:ext cx="675365" cy="389007"/>
            </a:xfrm>
            <a:custGeom>
              <a:avLst/>
              <a:gdLst>
                <a:gd name="connsiteX0" fmla="*/ 0 w 739703"/>
                <a:gd name="connsiteY0" fmla="*/ 86312 h 517768"/>
                <a:gd name="connsiteX1" fmla="*/ 86312 w 739703"/>
                <a:gd name="connsiteY1" fmla="*/ 0 h 517768"/>
                <a:gd name="connsiteX2" fmla="*/ 653391 w 739703"/>
                <a:gd name="connsiteY2" fmla="*/ 0 h 517768"/>
                <a:gd name="connsiteX3" fmla="*/ 739703 w 739703"/>
                <a:gd name="connsiteY3" fmla="*/ 86312 h 517768"/>
                <a:gd name="connsiteX4" fmla="*/ 739703 w 739703"/>
                <a:gd name="connsiteY4" fmla="*/ 431456 h 517768"/>
                <a:gd name="connsiteX5" fmla="*/ 653391 w 739703"/>
                <a:gd name="connsiteY5" fmla="*/ 517768 h 517768"/>
                <a:gd name="connsiteX6" fmla="*/ 86312 w 739703"/>
                <a:gd name="connsiteY6" fmla="*/ 517768 h 517768"/>
                <a:gd name="connsiteX7" fmla="*/ 0 w 739703"/>
                <a:gd name="connsiteY7" fmla="*/ 431456 h 517768"/>
                <a:gd name="connsiteX8" fmla="*/ 0 w 739703"/>
                <a:gd name="connsiteY8" fmla="*/ 86312 h 51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9703" h="517768">
                  <a:moveTo>
                    <a:pt x="0" y="86312"/>
                  </a:moveTo>
                  <a:cubicBezTo>
                    <a:pt x="0" y="38643"/>
                    <a:pt x="38643" y="0"/>
                    <a:pt x="86312" y="0"/>
                  </a:cubicBezTo>
                  <a:lnTo>
                    <a:pt x="653391" y="0"/>
                  </a:lnTo>
                  <a:cubicBezTo>
                    <a:pt x="701060" y="0"/>
                    <a:pt x="739703" y="38643"/>
                    <a:pt x="739703" y="86312"/>
                  </a:cubicBezTo>
                  <a:lnTo>
                    <a:pt x="739703" y="431456"/>
                  </a:lnTo>
                  <a:cubicBezTo>
                    <a:pt x="739703" y="479125"/>
                    <a:pt x="701060" y="517768"/>
                    <a:pt x="653391" y="517768"/>
                  </a:cubicBezTo>
                  <a:lnTo>
                    <a:pt x="86312" y="517768"/>
                  </a:lnTo>
                  <a:cubicBezTo>
                    <a:pt x="38643" y="517768"/>
                    <a:pt x="0" y="479125"/>
                    <a:pt x="0" y="431456"/>
                  </a:cubicBezTo>
                  <a:lnTo>
                    <a:pt x="0" y="86312"/>
                  </a:lnTo>
                  <a:close/>
                </a:path>
              </a:pathLst>
            </a:custGeom>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9570" tIns="59570" rIns="59570" bIns="5957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1" i="0" u="none" strike="noStrike" kern="1200" cap="none" spc="0" normalizeH="0" baseline="0" noProof="0" dirty="0" smtClean="0">
                  <a:ln>
                    <a:noFill/>
                  </a:ln>
                  <a:solidFill>
                    <a:srgbClr val="2C2C2C"/>
                  </a:solidFill>
                  <a:effectLst/>
                  <a:uLnTx/>
                  <a:uFillTx/>
                  <a:latin typeface="Arial" panose="020B0604020202020204"/>
                  <a:ea typeface="+mn-ea"/>
                  <a:cs typeface="+mn-cs"/>
                </a:rPr>
                <a:t>Mar 1960</a:t>
              </a:r>
              <a:endParaRPr kumimoji="0" lang="en-US" sz="900" b="1" i="0" u="none" strike="noStrike" kern="1200" cap="none" spc="0" normalizeH="0" baseline="0" noProof="0" dirty="0">
                <a:ln>
                  <a:noFill/>
                </a:ln>
                <a:solidFill>
                  <a:srgbClr val="2C2C2C"/>
                </a:solidFill>
                <a:effectLst/>
                <a:uLnTx/>
                <a:uFillTx/>
                <a:latin typeface="Arial" panose="020B0604020202020204"/>
                <a:ea typeface="+mn-ea"/>
                <a:cs typeface="+mn-cs"/>
              </a:endParaRPr>
            </a:p>
          </p:txBody>
        </p:sp>
        <p:sp>
          <p:nvSpPr>
            <p:cNvPr id="14" name="Freeform 13"/>
            <p:cNvSpPr/>
            <p:nvPr/>
          </p:nvSpPr>
          <p:spPr>
            <a:xfrm>
              <a:off x="1967090" y="2065298"/>
              <a:ext cx="4032584" cy="314412"/>
            </a:xfrm>
            <a:custGeom>
              <a:avLst/>
              <a:gdLst>
                <a:gd name="connsiteX0" fmla="*/ 0 w 537989"/>
                <a:gd name="connsiteY0" fmla="*/ 0 h 418483"/>
                <a:gd name="connsiteX1" fmla="*/ 537989 w 537989"/>
                <a:gd name="connsiteY1" fmla="*/ 0 h 418483"/>
                <a:gd name="connsiteX2" fmla="*/ 537989 w 537989"/>
                <a:gd name="connsiteY2" fmla="*/ 418483 h 418483"/>
                <a:gd name="connsiteX3" fmla="*/ 0 w 537989"/>
                <a:gd name="connsiteY3" fmla="*/ 418483 h 418483"/>
                <a:gd name="connsiteX4" fmla="*/ 0 w 537989"/>
                <a:gd name="connsiteY4" fmla="*/ 0 h 4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989" h="418483">
                  <a:moveTo>
                    <a:pt x="0" y="0"/>
                  </a:moveTo>
                  <a:lnTo>
                    <a:pt x="537989" y="0"/>
                  </a:lnTo>
                  <a:lnTo>
                    <a:pt x="537989" y="418483"/>
                  </a:lnTo>
                  <a:lnTo>
                    <a:pt x="0" y="41848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57150" marR="0" lvl="1" indent="-57150" algn="l" defTabSz="400050" rtl="0" eaLnBrk="1" fontAlgn="auto" latinLnBrk="0" hangingPunct="1">
                <a:lnSpc>
                  <a:spcPct val="90000"/>
                </a:lnSpc>
                <a:spcBef>
                  <a:spcPct val="0"/>
                </a:spcBef>
                <a:spcAft>
                  <a:spcPct val="15000"/>
                </a:spcAft>
                <a:buClrTx/>
                <a:buSzTx/>
                <a:buFontTx/>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Travelers Insurance Company </a:t>
              </a:r>
              <a:r>
                <a:rPr kumimoji="0" lang="en-US" sz="800" b="0" i="0" u="none" strike="noStrike" kern="1200" cap="none" spc="0" normalizeH="0" baseline="0" noProof="0" dirty="0" smtClean="0">
                  <a:ln>
                    <a:noFill/>
                  </a:ln>
                  <a:solidFill>
                    <a:srgbClr val="000000"/>
                  </a:solidFill>
                  <a:effectLst/>
                  <a:uLnTx/>
                  <a:uFillTx/>
                  <a:latin typeface="Arial" panose="020B0604020202020204"/>
                  <a:ea typeface="+mn-ea"/>
                  <a:cs typeface="+mn-cs"/>
                </a:rPr>
                <a:t>issued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annuity contract</a:t>
              </a:r>
              <a:endParaRPr kumimoji="0" lang="en-US" sz="800" b="0" i="0" u="none" strike="noStrike" kern="1200" cap="none" spc="0" normalizeH="0" baseline="0" noProof="0" dirty="0">
                <a:ln>
                  <a:noFill/>
                </a:ln>
                <a:solidFill>
                  <a:srgbClr val="2C2C2C"/>
                </a:solidFill>
                <a:effectLst/>
                <a:uLnTx/>
                <a:uFillTx/>
                <a:latin typeface="Arial" panose="020B0604020202020204"/>
                <a:ea typeface="+mn-ea"/>
                <a:cs typeface="+mn-cs"/>
              </a:endParaRPr>
            </a:p>
          </p:txBody>
        </p:sp>
        <p:sp>
          <p:nvSpPr>
            <p:cNvPr id="15" name="Freeform 14"/>
            <p:cNvSpPr/>
            <p:nvPr/>
          </p:nvSpPr>
          <p:spPr>
            <a:xfrm>
              <a:off x="1556635" y="2516029"/>
              <a:ext cx="675365" cy="389007"/>
            </a:xfrm>
            <a:custGeom>
              <a:avLst/>
              <a:gdLst>
                <a:gd name="connsiteX0" fmla="*/ 0 w 739703"/>
                <a:gd name="connsiteY0" fmla="*/ 86312 h 517768"/>
                <a:gd name="connsiteX1" fmla="*/ 86312 w 739703"/>
                <a:gd name="connsiteY1" fmla="*/ 0 h 517768"/>
                <a:gd name="connsiteX2" fmla="*/ 653391 w 739703"/>
                <a:gd name="connsiteY2" fmla="*/ 0 h 517768"/>
                <a:gd name="connsiteX3" fmla="*/ 739703 w 739703"/>
                <a:gd name="connsiteY3" fmla="*/ 86312 h 517768"/>
                <a:gd name="connsiteX4" fmla="*/ 739703 w 739703"/>
                <a:gd name="connsiteY4" fmla="*/ 431456 h 517768"/>
                <a:gd name="connsiteX5" fmla="*/ 653391 w 739703"/>
                <a:gd name="connsiteY5" fmla="*/ 517768 h 517768"/>
                <a:gd name="connsiteX6" fmla="*/ 86312 w 739703"/>
                <a:gd name="connsiteY6" fmla="*/ 517768 h 517768"/>
                <a:gd name="connsiteX7" fmla="*/ 0 w 739703"/>
                <a:gd name="connsiteY7" fmla="*/ 431456 h 517768"/>
                <a:gd name="connsiteX8" fmla="*/ 0 w 739703"/>
                <a:gd name="connsiteY8" fmla="*/ 86312 h 51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9703" h="517768">
                  <a:moveTo>
                    <a:pt x="0" y="86312"/>
                  </a:moveTo>
                  <a:cubicBezTo>
                    <a:pt x="0" y="38643"/>
                    <a:pt x="38643" y="0"/>
                    <a:pt x="86312" y="0"/>
                  </a:cubicBezTo>
                  <a:lnTo>
                    <a:pt x="653391" y="0"/>
                  </a:lnTo>
                  <a:cubicBezTo>
                    <a:pt x="701060" y="0"/>
                    <a:pt x="739703" y="38643"/>
                    <a:pt x="739703" y="86312"/>
                  </a:cubicBezTo>
                  <a:lnTo>
                    <a:pt x="739703" y="431456"/>
                  </a:lnTo>
                  <a:cubicBezTo>
                    <a:pt x="739703" y="479125"/>
                    <a:pt x="701060" y="517768"/>
                    <a:pt x="653391" y="517768"/>
                  </a:cubicBezTo>
                  <a:lnTo>
                    <a:pt x="86312" y="517768"/>
                  </a:lnTo>
                  <a:cubicBezTo>
                    <a:pt x="38643" y="517768"/>
                    <a:pt x="0" y="479125"/>
                    <a:pt x="0" y="431456"/>
                  </a:cubicBezTo>
                  <a:lnTo>
                    <a:pt x="0" y="86312"/>
                  </a:lnTo>
                  <a:close/>
                </a:path>
              </a:pathLst>
            </a:custGeom>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9570" tIns="59570" rIns="59570" bIns="5957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1" i="0" u="none" strike="noStrike" kern="1200" cap="none" spc="0" normalizeH="0" baseline="0" noProof="0" dirty="0" smtClean="0">
                  <a:ln>
                    <a:noFill/>
                  </a:ln>
                  <a:solidFill>
                    <a:srgbClr val="2C2C2C"/>
                  </a:solidFill>
                  <a:effectLst/>
                  <a:uLnTx/>
                  <a:uFillTx/>
                  <a:latin typeface="Arial" panose="020B0604020202020204"/>
                  <a:ea typeface="+mn-ea"/>
                  <a:cs typeface="+mn-cs"/>
                </a:rPr>
                <a:t>Aug 1996</a:t>
              </a:r>
              <a:endParaRPr kumimoji="0" lang="en-US" sz="900" b="1" i="0" u="none" strike="noStrike" kern="1200" cap="none" spc="0" normalizeH="0" baseline="0" noProof="0" dirty="0">
                <a:ln>
                  <a:noFill/>
                </a:ln>
                <a:solidFill>
                  <a:srgbClr val="2C2C2C"/>
                </a:solidFill>
                <a:effectLst/>
                <a:uLnTx/>
                <a:uFillTx/>
                <a:latin typeface="Arial" panose="020B0604020202020204"/>
                <a:ea typeface="+mn-ea"/>
                <a:cs typeface="+mn-cs"/>
              </a:endParaRPr>
            </a:p>
          </p:txBody>
        </p:sp>
        <p:sp>
          <p:nvSpPr>
            <p:cNvPr id="16" name="Freeform 15"/>
            <p:cNvSpPr/>
            <p:nvPr/>
          </p:nvSpPr>
          <p:spPr>
            <a:xfrm>
              <a:off x="2287631" y="2462188"/>
              <a:ext cx="3828636" cy="439924"/>
            </a:xfrm>
            <a:custGeom>
              <a:avLst/>
              <a:gdLst>
                <a:gd name="connsiteX0" fmla="*/ 0 w 537989"/>
                <a:gd name="connsiteY0" fmla="*/ 0 h 418483"/>
                <a:gd name="connsiteX1" fmla="*/ 537989 w 537989"/>
                <a:gd name="connsiteY1" fmla="*/ 0 h 418483"/>
                <a:gd name="connsiteX2" fmla="*/ 537989 w 537989"/>
                <a:gd name="connsiteY2" fmla="*/ 418483 h 418483"/>
                <a:gd name="connsiteX3" fmla="*/ 0 w 537989"/>
                <a:gd name="connsiteY3" fmla="*/ 418483 h 418483"/>
                <a:gd name="connsiteX4" fmla="*/ 0 w 537989"/>
                <a:gd name="connsiteY4" fmla="*/ 0 h 4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989" h="418483">
                  <a:moveTo>
                    <a:pt x="0" y="0"/>
                  </a:moveTo>
                  <a:lnTo>
                    <a:pt x="537989" y="0"/>
                  </a:lnTo>
                  <a:lnTo>
                    <a:pt x="537989" y="418483"/>
                  </a:lnTo>
                  <a:lnTo>
                    <a:pt x="0" y="41848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57150" marR="0" lvl="1" indent="-57150" algn="l" defTabSz="400050" rtl="0" eaLnBrk="1" fontAlgn="auto" latinLnBrk="0" hangingPunct="1">
                <a:lnSpc>
                  <a:spcPct val="90000"/>
                </a:lnSpc>
                <a:spcBef>
                  <a:spcPct val="0"/>
                </a:spcBef>
                <a:spcAft>
                  <a:spcPct val="15000"/>
                </a:spcAft>
                <a:buClrTx/>
                <a:buSzTx/>
                <a:buFontTx/>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Metropolitan Life Insurance Company </a:t>
              </a:r>
              <a:r>
                <a:rPr kumimoji="0" lang="en-US" sz="800" b="0" i="0" u="none" strike="noStrike" kern="1200" cap="none" spc="0" normalizeH="0" baseline="0" noProof="0" dirty="0" smtClean="0">
                  <a:ln>
                    <a:noFill/>
                  </a:ln>
                  <a:solidFill>
                    <a:srgbClr val="000000"/>
                  </a:solidFill>
                  <a:effectLst/>
                  <a:uLnTx/>
                  <a:uFillTx/>
                  <a:latin typeface="Arial" panose="020B0604020202020204"/>
                  <a:ea typeface="+mn-ea"/>
                  <a:cs typeface="+mn-cs"/>
                </a:rPr>
                <a:t>merged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with the then-parent company of New England Life Insurance Company (</a:t>
              </a:r>
              <a:r>
                <a:rPr kumimoji="0" lang="en-US" sz="800" b="0" i="0" u="none" strike="noStrike" kern="1200" cap="none" spc="0" normalizeH="0" baseline="0" noProof="0" dirty="0" smtClean="0">
                  <a:ln>
                    <a:noFill/>
                  </a:ln>
                  <a:solidFill>
                    <a:srgbClr val="000000"/>
                  </a:solidFill>
                  <a:effectLst/>
                  <a:uLnTx/>
                  <a:uFillTx/>
                  <a:latin typeface="Arial" panose="020B0604020202020204"/>
                  <a:ea typeface="+mn-ea"/>
                  <a:cs typeface="+mn-cs"/>
                </a:rPr>
                <a:t>NELICO) which later on </a:t>
              </a:r>
              <a:r>
                <a:rPr kumimoji="0" lang="en-US" sz="800" b="0" i="0" u="none" strike="noStrike" kern="1200" cap="none" spc="0" normalizeH="0" baseline="0" noProof="0" dirty="0" smtClean="0">
                  <a:ln>
                    <a:noFill/>
                  </a:ln>
                  <a:solidFill>
                    <a:srgbClr val="2C2C2C"/>
                  </a:solidFill>
                  <a:effectLst/>
                  <a:uLnTx/>
                  <a:uFillTx/>
                  <a:latin typeface="Arial" panose="020B0604020202020204"/>
                  <a:ea typeface="+mn-ea"/>
                  <a:cs typeface="+mn-cs"/>
                </a:rPr>
                <a:t>became </a:t>
              </a:r>
              <a:r>
                <a:rPr kumimoji="0" lang="en-US" sz="800" b="0" i="0" u="none" strike="noStrike" kern="1200" cap="none" spc="0" normalizeH="0" baseline="0" noProof="0" dirty="0">
                  <a:ln>
                    <a:noFill/>
                  </a:ln>
                  <a:solidFill>
                    <a:srgbClr val="2C2C2C"/>
                  </a:solidFill>
                  <a:effectLst/>
                  <a:uLnTx/>
                  <a:uFillTx/>
                  <a:latin typeface="Arial" panose="020B0604020202020204"/>
                  <a:ea typeface="+mn-ea"/>
                  <a:cs typeface="+mn-cs"/>
                </a:rPr>
                <a:t>one of the insurance company subsidiaries of Brighthouse Financial, Inc.</a:t>
              </a:r>
            </a:p>
          </p:txBody>
        </p:sp>
        <p:sp>
          <p:nvSpPr>
            <p:cNvPr id="17" name="Freeform 16"/>
            <p:cNvSpPr/>
            <p:nvPr/>
          </p:nvSpPr>
          <p:spPr>
            <a:xfrm>
              <a:off x="1859730" y="2953012"/>
              <a:ext cx="675365" cy="389007"/>
            </a:xfrm>
            <a:custGeom>
              <a:avLst/>
              <a:gdLst>
                <a:gd name="connsiteX0" fmla="*/ 0 w 739703"/>
                <a:gd name="connsiteY0" fmla="*/ 86312 h 517768"/>
                <a:gd name="connsiteX1" fmla="*/ 86312 w 739703"/>
                <a:gd name="connsiteY1" fmla="*/ 0 h 517768"/>
                <a:gd name="connsiteX2" fmla="*/ 653391 w 739703"/>
                <a:gd name="connsiteY2" fmla="*/ 0 h 517768"/>
                <a:gd name="connsiteX3" fmla="*/ 739703 w 739703"/>
                <a:gd name="connsiteY3" fmla="*/ 86312 h 517768"/>
                <a:gd name="connsiteX4" fmla="*/ 739703 w 739703"/>
                <a:gd name="connsiteY4" fmla="*/ 431456 h 517768"/>
                <a:gd name="connsiteX5" fmla="*/ 653391 w 739703"/>
                <a:gd name="connsiteY5" fmla="*/ 517768 h 517768"/>
                <a:gd name="connsiteX6" fmla="*/ 86312 w 739703"/>
                <a:gd name="connsiteY6" fmla="*/ 517768 h 517768"/>
                <a:gd name="connsiteX7" fmla="*/ 0 w 739703"/>
                <a:gd name="connsiteY7" fmla="*/ 431456 h 517768"/>
                <a:gd name="connsiteX8" fmla="*/ 0 w 739703"/>
                <a:gd name="connsiteY8" fmla="*/ 86312 h 51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9703" h="517768">
                  <a:moveTo>
                    <a:pt x="0" y="86312"/>
                  </a:moveTo>
                  <a:cubicBezTo>
                    <a:pt x="0" y="38643"/>
                    <a:pt x="38643" y="0"/>
                    <a:pt x="86312" y="0"/>
                  </a:cubicBezTo>
                  <a:lnTo>
                    <a:pt x="653391" y="0"/>
                  </a:lnTo>
                  <a:cubicBezTo>
                    <a:pt x="701060" y="0"/>
                    <a:pt x="739703" y="38643"/>
                    <a:pt x="739703" y="86312"/>
                  </a:cubicBezTo>
                  <a:lnTo>
                    <a:pt x="739703" y="431456"/>
                  </a:lnTo>
                  <a:cubicBezTo>
                    <a:pt x="739703" y="479125"/>
                    <a:pt x="701060" y="517768"/>
                    <a:pt x="653391" y="517768"/>
                  </a:cubicBezTo>
                  <a:lnTo>
                    <a:pt x="86312" y="517768"/>
                  </a:lnTo>
                  <a:cubicBezTo>
                    <a:pt x="38643" y="517768"/>
                    <a:pt x="0" y="479125"/>
                    <a:pt x="0" y="431456"/>
                  </a:cubicBezTo>
                  <a:lnTo>
                    <a:pt x="0" y="86312"/>
                  </a:lnTo>
                  <a:close/>
                </a:path>
              </a:pathLst>
            </a:custGeom>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9570" tIns="59570" rIns="59570" bIns="5957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1" i="0" u="none" strike="noStrike" kern="1200" cap="none" spc="0" normalizeH="0" baseline="0" noProof="0" dirty="0" smtClean="0">
                  <a:ln>
                    <a:noFill/>
                  </a:ln>
                  <a:solidFill>
                    <a:srgbClr val="2C2C2C"/>
                  </a:solidFill>
                  <a:effectLst/>
                  <a:uLnTx/>
                  <a:uFillTx/>
                  <a:latin typeface="Arial" panose="020B0604020202020204"/>
                  <a:ea typeface="+mn-ea"/>
                  <a:cs typeface="+mn-cs"/>
                </a:rPr>
                <a:t>1997</a:t>
              </a:r>
              <a:endParaRPr kumimoji="0" lang="en-US" sz="900" b="1" i="0" u="none" strike="noStrike" kern="1200" cap="none" spc="0" normalizeH="0" baseline="0" noProof="0" dirty="0">
                <a:ln>
                  <a:noFill/>
                </a:ln>
                <a:solidFill>
                  <a:srgbClr val="2C2C2C"/>
                </a:solidFill>
                <a:effectLst/>
                <a:uLnTx/>
                <a:uFillTx/>
                <a:latin typeface="Arial" panose="020B0604020202020204"/>
                <a:ea typeface="+mn-ea"/>
                <a:cs typeface="+mn-cs"/>
              </a:endParaRPr>
            </a:p>
          </p:txBody>
        </p:sp>
        <p:sp>
          <p:nvSpPr>
            <p:cNvPr id="18" name="Freeform 17"/>
            <p:cNvSpPr/>
            <p:nvPr/>
          </p:nvSpPr>
          <p:spPr>
            <a:xfrm>
              <a:off x="2559790" y="2990113"/>
              <a:ext cx="3442790" cy="311855"/>
            </a:xfrm>
            <a:custGeom>
              <a:avLst/>
              <a:gdLst>
                <a:gd name="connsiteX0" fmla="*/ 0 w 537989"/>
                <a:gd name="connsiteY0" fmla="*/ 0 h 418483"/>
                <a:gd name="connsiteX1" fmla="*/ 537989 w 537989"/>
                <a:gd name="connsiteY1" fmla="*/ 0 h 418483"/>
                <a:gd name="connsiteX2" fmla="*/ 537989 w 537989"/>
                <a:gd name="connsiteY2" fmla="*/ 418483 h 418483"/>
                <a:gd name="connsiteX3" fmla="*/ 0 w 537989"/>
                <a:gd name="connsiteY3" fmla="*/ 418483 h 418483"/>
                <a:gd name="connsiteX4" fmla="*/ 0 w 537989"/>
                <a:gd name="connsiteY4" fmla="*/ 0 h 4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989" h="418483">
                  <a:moveTo>
                    <a:pt x="0" y="0"/>
                  </a:moveTo>
                  <a:lnTo>
                    <a:pt x="537989" y="0"/>
                  </a:lnTo>
                  <a:lnTo>
                    <a:pt x="537989" y="418483"/>
                  </a:lnTo>
                  <a:lnTo>
                    <a:pt x="0" y="41848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57150" marR="0" lvl="1" indent="-57150" algn="l" defTabSz="400050" rtl="0" eaLnBrk="1" fontAlgn="auto" latinLnBrk="0" hangingPunct="1">
                <a:lnSpc>
                  <a:spcPct val="90000"/>
                </a:lnSpc>
                <a:spcBef>
                  <a:spcPct val="0"/>
                </a:spcBef>
                <a:spcAft>
                  <a:spcPct val="15000"/>
                </a:spcAft>
                <a:buClrTx/>
                <a:buSzTx/>
                <a:buFontTx/>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Metropolitan Life Insurance Company </a:t>
              </a:r>
              <a:r>
                <a:rPr kumimoji="0" lang="en-US" sz="800" b="0" i="0" u="none" strike="noStrike" kern="1200" cap="none" spc="0" normalizeH="0" baseline="0" noProof="0" dirty="0" smtClean="0">
                  <a:ln>
                    <a:noFill/>
                  </a:ln>
                  <a:solidFill>
                    <a:srgbClr val="000000"/>
                  </a:solidFill>
                  <a:effectLst/>
                  <a:uLnTx/>
                  <a:uFillTx/>
                  <a:latin typeface="Arial" panose="020B0604020202020204"/>
                  <a:ea typeface="+mn-ea"/>
                  <a:cs typeface="+mn-cs"/>
                </a:rPr>
                <a:t>acquired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annuity manufacturer Security First Group, </a:t>
              </a:r>
              <a:r>
                <a:rPr kumimoji="0" lang="en-US" sz="800" b="0" i="0" u="none" strike="noStrike" kern="1200" cap="none" spc="0" normalizeH="0" baseline="0" noProof="0" dirty="0" smtClean="0">
                  <a:ln>
                    <a:noFill/>
                  </a:ln>
                  <a:solidFill>
                    <a:srgbClr val="000000"/>
                  </a:solidFill>
                  <a:effectLst/>
                  <a:uLnTx/>
                  <a:uFillTx/>
                  <a:latin typeface="Arial" panose="020B0604020202020204"/>
                  <a:ea typeface="+mn-ea"/>
                  <a:cs typeface="+mn-cs"/>
                </a:rPr>
                <a:t>Inc,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which are later renamed MetLife Investors Insurance Company and MetLife Investors USA Insurance Company</a:t>
              </a:r>
              <a:endParaRPr kumimoji="0" lang="en-US" sz="800" b="0" i="0" u="none" strike="noStrike" kern="1200" cap="none" spc="0" normalizeH="0" baseline="0" noProof="0" dirty="0">
                <a:ln>
                  <a:noFill/>
                </a:ln>
                <a:solidFill>
                  <a:srgbClr val="2C2C2C"/>
                </a:solidFill>
                <a:effectLst/>
                <a:uLnTx/>
                <a:uFillTx/>
                <a:latin typeface="Arial" panose="020B0604020202020204"/>
                <a:ea typeface="+mn-ea"/>
                <a:cs typeface="+mn-cs"/>
              </a:endParaRPr>
            </a:p>
          </p:txBody>
        </p:sp>
        <p:sp>
          <p:nvSpPr>
            <p:cNvPr id="19" name="Freeform 18"/>
            <p:cNvSpPr/>
            <p:nvPr/>
          </p:nvSpPr>
          <p:spPr>
            <a:xfrm>
              <a:off x="2090531" y="3392386"/>
              <a:ext cx="675365" cy="389007"/>
            </a:xfrm>
            <a:custGeom>
              <a:avLst/>
              <a:gdLst>
                <a:gd name="connsiteX0" fmla="*/ 0 w 739703"/>
                <a:gd name="connsiteY0" fmla="*/ 86312 h 517768"/>
                <a:gd name="connsiteX1" fmla="*/ 86312 w 739703"/>
                <a:gd name="connsiteY1" fmla="*/ 0 h 517768"/>
                <a:gd name="connsiteX2" fmla="*/ 653391 w 739703"/>
                <a:gd name="connsiteY2" fmla="*/ 0 h 517768"/>
                <a:gd name="connsiteX3" fmla="*/ 739703 w 739703"/>
                <a:gd name="connsiteY3" fmla="*/ 86312 h 517768"/>
                <a:gd name="connsiteX4" fmla="*/ 739703 w 739703"/>
                <a:gd name="connsiteY4" fmla="*/ 431456 h 517768"/>
                <a:gd name="connsiteX5" fmla="*/ 653391 w 739703"/>
                <a:gd name="connsiteY5" fmla="*/ 517768 h 517768"/>
                <a:gd name="connsiteX6" fmla="*/ 86312 w 739703"/>
                <a:gd name="connsiteY6" fmla="*/ 517768 h 517768"/>
                <a:gd name="connsiteX7" fmla="*/ 0 w 739703"/>
                <a:gd name="connsiteY7" fmla="*/ 431456 h 517768"/>
                <a:gd name="connsiteX8" fmla="*/ 0 w 739703"/>
                <a:gd name="connsiteY8" fmla="*/ 86312 h 51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9703" h="517768">
                  <a:moveTo>
                    <a:pt x="0" y="86312"/>
                  </a:moveTo>
                  <a:cubicBezTo>
                    <a:pt x="0" y="38643"/>
                    <a:pt x="38643" y="0"/>
                    <a:pt x="86312" y="0"/>
                  </a:cubicBezTo>
                  <a:lnTo>
                    <a:pt x="653391" y="0"/>
                  </a:lnTo>
                  <a:cubicBezTo>
                    <a:pt x="701060" y="0"/>
                    <a:pt x="739703" y="38643"/>
                    <a:pt x="739703" y="86312"/>
                  </a:cubicBezTo>
                  <a:lnTo>
                    <a:pt x="739703" y="431456"/>
                  </a:lnTo>
                  <a:cubicBezTo>
                    <a:pt x="739703" y="479125"/>
                    <a:pt x="701060" y="517768"/>
                    <a:pt x="653391" y="517768"/>
                  </a:cubicBezTo>
                  <a:lnTo>
                    <a:pt x="86312" y="517768"/>
                  </a:lnTo>
                  <a:cubicBezTo>
                    <a:pt x="38643" y="517768"/>
                    <a:pt x="0" y="479125"/>
                    <a:pt x="0" y="431456"/>
                  </a:cubicBezTo>
                  <a:lnTo>
                    <a:pt x="0" y="86312"/>
                  </a:lnTo>
                  <a:close/>
                </a:path>
              </a:pathLst>
            </a:custGeom>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9570" tIns="59570" rIns="59570" bIns="5957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1" i="0" u="none" strike="noStrike" kern="1200" cap="none" spc="0" normalizeH="0" baseline="0" noProof="0" dirty="0" smtClean="0">
                  <a:ln>
                    <a:noFill/>
                  </a:ln>
                  <a:solidFill>
                    <a:srgbClr val="2C2C2C"/>
                  </a:solidFill>
                  <a:effectLst/>
                  <a:uLnTx/>
                  <a:uFillTx/>
                  <a:latin typeface="Arial" panose="020B0604020202020204"/>
                  <a:ea typeface="+mn-ea"/>
                  <a:cs typeface="+mn-cs"/>
                </a:rPr>
                <a:t>Feb 2001</a:t>
              </a:r>
              <a:endParaRPr kumimoji="0" lang="en-US" sz="900" b="1" i="0" u="none" strike="noStrike" kern="1200" cap="none" spc="0" normalizeH="0" baseline="0" noProof="0" dirty="0">
                <a:ln>
                  <a:noFill/>
                </a:ln>
                <a:solidFill>
                  <a:srgbClr val="2C2C2C"/>
                </a:solidFill>
                <a:effectLst/>
                <a:uLnTx/>
                <a:uFillTx/>
                <a:latin typeface="Arial" panose="020B0604020202020204"/>
                <a:ea typeface="+mn-ea"/>
                <a:cs typeface="+mn-cs"/>
              </a:endParaRPr>
            </a:p>
          </p:txBody>
        </p:sp>
        <p:sp>
          <p:nvSpPr>
            <p:cNvPr id="20" name="Freeform 19"/>
            <p:cNvSpPr/>
            <p:nvPr/>
          </p:nvSpPr>
          <p:spPr>
            <a:xfrm>
              <a:off x="2790590" y="3429487"/>
              <a:ext cx="3270046" cy="314412"/>
            </a:xfrm>
            <a:custGeom>
              <a:avLst/>
              <a:gdLst>
                <a:gd name="connsiteX0" fmla="*/ 0 w 537989"/>
                <a:gd name="connsiteY0" fmla="*/ 0 h 418483"/>
                <a:gd name="connsiteX1" fmla="*/ 537989 w 537989"/>
                <a:gd name="connsiteY1" fmla="*/ 0 h 418483"/>
                <a:gd name="connsiteX2" fmla="*/ 537989 w 537989"/>
                <a:gd name="connsiteY2" fmla="*/ 418483 h 418483"/>
                <a:gd name="connsiteX3" fmla="*/ 0 w 537989"/>
                <a:gd name="connsiteY3" fmla="*/ 418483 h 418483"/>
                <a:gd name="connsiteX4" fmla="*/ 0 w 537989"/>
                <a:gd name="connsiteY4" fmla="*/ 0 h 4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989" h="418483">
                  <a:moveTo>
                    <a:pt x="0" y="0"/>
                  </a:moveTo>
                  <a:lnTo>
                    <a:pt x="537989" y="0"/>
                  </a:lnTo>
                  <a:lnTo>
                    <a:pt x="537989" y="418483"/>
                  </a:lnTo>
                  <a:lnTo>
                    <a:pt x="0" y="41848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MetLife, Inc. </a:t>
              </a:r>
              <a:r>
                <a:rPr kumimoji="0" lang="en-US" sz="800" b="0" i="0" u="none" strike="noStrike" kern="1200" cap="none" spc="0" normalizeH="0" baseline="0" noProof="0" dirty="0" smtClean="0">
                  <a:ln>
                    <a:noFill/>
                  </a:ln>
                  <a:solidFill>
                    <a:srgbClr val="000000"/>
                  </a:solidFill>
                  <a:effectLst/>
                  <a:uLnTx/>
                  <a:uFillTx/>
                  <a:latin typeface="Arial" panose="020B0604020202020204"/>
                  <a:ea typeface="+mn-ea"/>
                  <a:cs typeface="+mn-cs"/>
                </a:rPr>
                <a:t>launched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a third-party distribution model</a:t>
              </a:r>
            </a:p>
          </p:txBody>
        </p:sp>
        <p:sp>
          <p:nvSpPr>
            <p:cNvPr id="21" name="Freeform 20"/>
            <p:cNvSpPr/>
            <p:nvPr/>
          </p:nvSpPr>
          <p:spPr>
            <a:xfrm>
              <a:off x="2348089" y="3826979"/>
              <a:ext cx="675365" cy="389007"/>
            </a:xfrm>
            <a:custGeom>
              <a:avLst/>
              <a:gdLst>
                <a:gd name="connsiteX0" fmla="*/ 0 w 739703"/>
                <a:gd name="connsiteY0" fmla="*/ 86312 h 517768"/>
                <a:gd name="connsiteX1" fmla="*/ 86312 w 739703"/>
                <a:gd name="connsiteY1" fmla="*/ 0 h 517768"/>
                <a:gd name="connsiteX2" fmla="*/ 653391 w 739703"/>
                <a:gd name="connsiteY2" fmla="*/ 0 h 517768"/>
                <a:gd name="connsiteX3" fmla="*/ 739703 w 739703"/>
                <a:gd name="connsiteY3" fmla="*/ 86312 h 517768"/>
                <a:gd name="connsiteX4" fmla="*/ 739703 w 739703"/>
                <a:gd name="connsiteY4" fmla="*/ 431456 h 517768"/>
                <a:gd name="connsiteX5" fmla="*/ 653391 w 739703"/>
                <a:gd name="connsiteY5" fmla="*/ 517768 h 517768"/>
                <a:gd name="connsiteX6" fmla="*/ 86312 w 739703"/>
                <a:gd name="connsiteY6" fmla="*/ 517768 h 517768"/>
                <a:gd name="connsiteX7" fmla="*/ 0 w 739703"/>
                <a:gd name="connsiteY7" fmla="*/ 431456 h 517768"/>
                <a:gd name="connsiteX8" fmla="*/ 0 w 739703"/>
                <a:gd name="connsiteY8" fmla="*/ 86312 h 51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9703" h="517768">
                  <a:moveTo>
                    <a:pt x="0" y="86312"/>
                  </a:moveTo>
                  <a:cubicBezTo>
                    <a:pt x="0" y="38643"/>
                    <a:pt x="38643" y="0"/>
                    <a:pt x="86312" y="0"/>
                  </a:cubicBezTo>
                  <a:lnTo>
                    <a:pt x="653391" y="0"/>
                  </a:lnTo>
                  <a:cubicBezTo>
                    <a:pt x="701060" y="0"/>
                    <a:pt x="739703" y="38643"/>
                    <a:pt x="739703" y="86312"/>
                  </a:cubicBezTo>
                  <a:lnTo>
                    <a:pt x="739703" y="431456"/>
                  </a:lnTo>
                  <a:cubicBezTo>
                    <a:pt x="739703" y="479125"/>
                    <a:pt x="701060" y="517768"/>
                    <a:pt x="653391" y="517768"/>
                  </a:cubicBezTo>
                  <a:lnTo>
                    <a:pt x="86312" y="517768"/>
                  </a:lnTo>
                  <a:cubicBezTo>
                    <a:pt x="38643" y="517768"/>
                    <a:pt x="0" y="479125"/>
                    <a:pt x="0" y="431456"/>
                  </a:cubicBezTo>
                  <a:lnTo>
                    <a:pt x="0" y="86312"/>
                  </a:lnTo>
                  <a:close/>
                </a:path>
              </a:pathLst>
            </a:custGeom>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9570" tIns="59570" rIns="59570" bIns="5957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1" i="0" u="none" strike="noStrike" kern="1200" cap="none" spc="0" normalizeH="0" baseline="0" noProof="0" dirty="0" smtClean="0">
                  <a:ln>
                    <a:noFill/>
                  </a:ln>
                  <a:solidFill>
                    <a:srgbClr val="2C2C2C"/>
                  </a:solidFill>
                  <a:effectLst/>
                  <a:uLnTx/>
                  <a:uFillTx/>
                  <a:latin typeface="Arial" panose="020B0604020202020204"/>
                  <a:ea typeface="+mn-ea"/>
                  <a:cs typeface="+mn-cs"/>
                </a:rPr>
                <a:t>Jul 2005</a:t>
              </a:r>
              <a:endParaRPr kumimoji="0" lang="en-US" sz="900" b="1" i="0" u="none" strike="noStrike" kern="1200" cap="none" spc="0" normalizeH="0" baseline="0" noProof="0" dirty="0">
                <a:ln>
                  <a:noFill/>
                </a:ln>
                <a:solidFill>
                  <a:srgbClr val="2C2C2C"/>
                </a:solidFill>
                <a:effectLst/>
                <a:uLnTx/>
                <a:uFillTx/>
                <a:latin typeface="Arial" panose="020B0604020202020204"/>
                <a:ea typeface="+mn-ea"/>
                <a:cs typeface="+mn-cs"/>
              </a:endParaRPr>
            </a:p>
          </p:txBody>
        </p:sp>
        <p:sp>
          <p:nvSpPr>
            <p:cNvPr id="22" name="Freeform 21"/>
            <p:cNvSpPr/>
            <p:nvPr/>
          </p:nvSpPr>
          <p:spPr>
            <a:xfrm>
              <a:off x="3048149" y="3864080"/>
              <a:ext cx="3013604" cy="314412"/>
            </a:xfrm>
            <a:custGeom>
              <a:avLst/>
              <a:gdLst>
                <a:gd name="connsiteX0" fmla="*/ 0 w 537989"/>
                <a:gd name="connsiteY0" fmla="*/ 0 h 418483"/>
                <a:gd name="connsiteX1" fmla="*/ 537989 w 537989"/>
                <a:gd name="connsiteY1" fmla="*/ 0 h 418483"/>
                <a:gd name="connsiteX2" fmla="*/ 537989 w 537989"/>
                <a:gd name="connsiteY2" fmla="*/ 418483 h 418483"/>
                <a:gd name="connsiteX3" fmla="*/ 0 w 537989"/>
                <a:gd name="connsiteY3" fmla="*/ 418483 h 418483"/>
                <a:gd name="connsiteX4" fmla="*/ 0 w 537989"/>
                <a:gd name="connsiteY4" fmla="*/ 0 h 4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989" h="418483">
                  <a:moveTo>
                    <a:pt x="0" y="0"/>
                  </a:moveTo>
                  <a:lnTo>
                    <a:pt x="537989" y="0"/>
                  </a:lnTo>
                  <a:lnTo>
                    <a:pt x="537989" y="418483"/>
                  </a:lnTo>
                  <a:lnTo>
                    <a:pt x="0" y="41848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57150" marR="0" lvl="1" indent="-57150" algn="l" defTabSz="400050" rtl="0" eaLnBrk="1" fontAlgn="auto" latinLnBrk="0" hangingPunct="1">
                <a:lnSpc>
                  <a:spcPct val="90000"/>
                </a:lnSpc>
                <a:spcBef>
                  <a:spcPct val="0"/>
                </a:spcBef>
                <a:spcAft>
                  <a:spcPct val="15000"/>
                </a:spcAft>
                <a:buClrTx/>
                <a:buSzTx/>
                <a:buFontTx/>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MetLife, Inc. </a:t>
              </a:r>
              <a:r>
                <a:rPr kumimoji="0" lang="en-US" sz="800" b="0" i="0" u="none" strike="noStrike" kern="1200" cap="none" spc="0" normalizeH="0" baseline="0" noProof="0" dirty="0" smtClean="0">
                  <a:ln>
                    <a:noFill/>
                  </a:ln>
                  <a:solidFill>
                    <a:srgbClr val="000000"/>
                  </a:solidFill>
                  <a:effectLst/>
                  <a:uLnTx/>
                  <a:uFillTx/>
                  <a:latin typeface="Arial" panose="020B0604020202020204"/>
                  <a:ea typeface="+mn-ea"/>
                  <a:cs typeface="+mn-cs"/>
                </a:rPr>
                <a:t>acquired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Travelers Life Insurance Company and Travelers Life &amp; Annuity Company which are later consolidated as MetLife Insurance Company of </a:t>
              </a:r>
              <a:r>
                <a:rPr kumimoji="0" lang="en-US" sz="800" b="0" i="0" u="none" strike="noStrike" kern="1200" cap="none" spc="0" normalizeH="0" baseline="0" noProof="0" dirty="0" smtClean="0">
                  <a:ln>
                    <a:noFill/>
                  </a:ln>
                  <a:solidFill>
                    <a:srgbClr val="000000"/>
                  </a:solidFill>
                  <a:effectLst/>
                  <a:uLnTx/>
                  <a:uFillTx/>
                  <a:latin typeface="Arial" panose="020B0604020202020204"/>
                  <a:ea typeface="+mn-ea"/>
                  <a:cs typeface="+mn-cs"/>
                </a:rPr>
                <a:t>Connecticut(MICC)</a:t>
              </a:r>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 name="Freeform 22"/>
            <p:cNvSpPr/>
            <p:nvPr/>
          </p:nvSpPr>
          <p:spPr>
            <a:xfrm>
              <a:off x="2643323" y="4265175"/>
              <a:ext cx="675365" cy="389007"/>
            </a:xfrm>
            <a:custGeom>
              <a:avLst/>
              <a:gdLst>
                <a:gd name="connsiteX0" fmla="*/ 0 w 739703"/>
                <a:gd name="connsiteY0" fmla="*/ 86312 h 517768"/>
                <a:gd name="connsiteX1" fmla="*/ 86312 w 739703"/>
                <a:gd name="connsiteY1" fmla="*/ 0 h 517768"/>
                <a:gd name="connsiteX2" fmla="*/ 653391 w 739703"/>
                <a:gd name="connsiteY2" fmla="*/ 0 h 517768"/>
                <a:gd name="connsiteX3" fmla="*/ 739703 w 739703"/>
                <a:gd name="connsiteY3" fmla="*/ 86312 h 517768"/>
                <a:gd name="connsiteX4" fmla="*/ 739703 w 739703"/>
                <a:gd name="connsiteY4" fmla="*/ 431456 h 517768"/>
                <a:gd name="connsiteX5" fmla="*/ 653391 w 739703"/>
                <a:gd name="connsiteY5" fmla="*/ 517768 h 517768"/>
                <a:gd name="connsiteX6" fmla="*/ 86312 w 739703"/>
                <a:gd name="connsiteY6" fmla="*/ 517768 h 517768"/>
                <a:gd name="connsiteX7" fmla="*/ 0 w 739703"/>
                <a:gd name="connsiteY7" fmla="*/ 431456 h 517768"/>
                <a:gd name="connsiteX8" fmla="*/ 0 w 739703"/>
                <a:gd name="connsiteY8" fmla="*/ 86312 h 51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9703" h="517768">
                  <a:moveTo>
                    <a:pt x="0" y="86312"/>
                  </a:moveTo>
                  <a:cubicBezTo>
                    <a:pt x="0" y="38643"/>
                    <a:pt x="38643" y="0"/>
                    <a:pt x="86312" y="0"/>
                  </a:cubicBezTo>
                  <a:lnTo>
                    <a:pt x="653391" y="0"/>
                  </a:lnTo>
                  <a:cubicBezTo>
                    <a:pt x="701060" y="0"/>
                    <a:pt x="739703" y="38643"/>
                    <a:pt x="739703" y="86312"/>
                  </a:cubicBezTo>
                  <a:lnTo>
                    <a:pt x="739703" y="431456"/>
                  </a:lnTo>
                  <a:cubicBezTo>
                    <a:pt x="739703" y="479125"/>
                    <a:pt x="701060" y="517768"/>
                    <a:pt x="653391" y="517768"/>
                  </a:cubicBezTo>
                  <a:lnTo>
                    <a:pt x="86312" y="517768"/>
                  </a:lnTo>
                  <a:cubicBezTo>
                    <a:pt x="38643" y="517768"/>
                    <a:pt x="0" y="479125"/>
                    <a:pt x="0" y="431456"/>
                  </a:cubicBezTo>
                  <a:lnTo>
                    <a:pt x="0" y="86312"/>
                  </a:lnTo>
                  <a:close/>
                </a:path>
              </a:pathLst>
            </a:custGeom>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9570" tIns="59570" rIns="59570" bIns="5957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1" i="0" u="none" strike="noStrike" kern="1200" cap="none" spc="0" normalizeH="0" baseline="0" noProof="0" dirty="0" smtClean="0">
                  <a:ln>
                    <a:noFill/>
                  </a:ln>
                  <a:solidFill>
                    <a:srgbClr val="2C2C2C"/>
                  </a:solidFill>
                  <a:effectLst/>
                  <a:uLnTx/>
                  <a:uFillTx/>
                  <a:latin typeface="Arial" panose="020B0604020202020204"/>
                  <a:ea typeface="+mn-ea"/>
                  <a:cs typeface="+mn-cs"/>
                </a:rPr>
                <a:t>Jul 2013</a:t>
              </a:r>
              <a:endParaRPr kumimoji="0" lang="en-US" sz="900" b="1" i="0" u="none" strike="noStrike" kern="1200" cap="none" spc="0" normalizeH="0" baseline="0" noProof="0" dirty="0">
                <a:ln>
                  <a:noFill/>
                </a:ln>
                <a:solidFill>
                  <a:srgbClr val="2C2C2C"/>
                </a:solidFill>
                <a:effectLst/>
                <a:uLnTx/>
                <a:uFillTx/>
                <a:latin typeface="Arial" panose="020B0604020202020204"/>
                <a:ea typeface="+mn-ea"/>
                <a:cs typeface="+mn-cs"/>
              </a:endParaRPr>
            </a:p>
          </p:txBody>
        </p:sp>
        <p:sp>
          <p:nvSpPr>
            <p:cNvPr id="24" name="Freeform 23"/>
            <p:cNvSpPr/>
            <p:nvPr/>
          </p:nvSpPr>
          <p:spPr>
            <a:xfrm>
              <a:off x="3343383" y="4302276"/>
              <a:ext cx="2318114" cy="314412"/>
            </a:xfrm>
            <a:custGeom>
              <a:avLst/>
              <a:gdLst>
                <a:gd name="connsiteX0" fmla="*/ 0 w 537989"/>
                <a:gd name="connsiteY0" fmla="*/ 0 h 418483"/>
                <a:gd name="connsiteX1" fmla="*/ 537989 w 537989"/>
                <a:gd name="connsiteY1" fmla="*/ 0 h 418483"/>
                <a:gd name="connsiteX2" fmla="*/ 537989 w 537989"/>
                <a:gd name="connsiteY2" fmla="*/ 418483 h 418483"/>
                <a:gd name="connsiteX3" fmla="*/ 0 w 537989"/>
                <a:gd name="connsiteY3" fmla="*/ 418483 h 418483"/>
                <a:gd name="connsiteX4" fmla="*/ 0 w 537989"/>
                <a:gd name="connsiteY4" fmla="*/ 0 h 41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989" h="418483">
                  <a:moveTo>
                    <a:pt x="0" y="0"/>
                  </a:moveTo>
                  <a:lnTo>
                    <a:pt x="537989" y="0"/>
                  </a:lnTo>
                  <a:lnTo>
                    <a:pt x="537989" y="418483"/>
                  </a:lnTo>
                  <a:lnTo>
                    <a:pt x="0" y="41848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57150" marR="0" lvl="1" indent="-57150" algn="l" defTabSz="400050" rtl="0" eaLnBrk="1" fontAlgn="auto" latinLnBrk="0" hangingPunct="1">
                <a:lnSpc>
                  <a:spcPct val="90000"/>
                </a:lnSpc>
                <a:spcBef>
                  <a:spcPct val="0"/>
                </a:spcBef>
                <a:spcAft>
                  <a:spcPct val="15000"/>
                </a:spcAft>
                <a:buClrTx/>
                <a:buSzTx/>
                <a:buFontTx/>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MetLife, Inc.’s U.S. Retail business </a:t>
              </a:r>
              <a:r>
                <a:rPr kumimoji="0" lang="en-US" sz="800" b="0" i="0" u="none" strike="noStrike" kern="1200" cap="none" spc="0" normalizeH="0" baseline="0" noProof="0" dirty="0" smtClean="0">
                  <a:ln>
                    <a:noFill/>
                  </a:ln>
                  <a:solidFill>
                    <a:srgbClr val="000000"/>
                  </a:solidFill>
                  <a:effectLst/>
                  <a:uLnTx/>
                  <a:uFillTx/>
                  <a:latin typeface="Arial" panose="020B0604020202020204"/>
                  <a:ea typeface="+mn-ea"/>
                  <a:cs typeface="+mn-cs"/>
                </a:rPr>
                <a:t>relocated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its primary business operations to Charlotte, NC</a:t>
              </a:r>
            </a:p>
          </p:txBody>
        </p:sp>
        <p:sp>
          <p:nvSpPr>
            <p:cNvPr id="25" name="Bent-Up Arrow 24"/>
            <p:cNvSpPr/>
            <p:nvPr/>
          </p:nvSpPr>
          <p:spPr>
            <a:xfrm rot="5400000">
              <a:off x="545335" y="1179519"/>
              <a:ext cx="225485" cy="193701"/>
            </a:xfrm>
            <a:prstGeom prst="bentUpArrow">
              <a:avLst>
                <a:gd name="adj1" fmla="val 32840"/>
                <a:gd name="adj2" fmla="val 25000"/>
                <a:gd name="adj3" fmla="val 35780"/>
              </a:avLst>
            </a:prstGeom>
          </p:spPr>
          <p:style>
            <a:lnRef idx="2">
              <a:schemeClr val="accent2">
                <a:shade val="80000"/>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26" name="Bent-Up Arrow 25"/>
            <p:cNvSpPr/>
            <p:nvPr/>
          </p:nvSpPr>
          <p:spPr>
            <a:xfrm rot="5400000">
              <a:off x="789316" y="1609978"/>
              <a:ext cx="225485" cy="193701"/>
            </a:xfrm>
            <a:prstGeom prst="bentUpArrow">
              <a:avLst>
                <a:gd name="adj1" fmla="val 32840"/>
                <a:gd name="adj2" fmla="val 25000"/>
                <a:gd name="adj3" fmla="val 35780"/>
              </a:avLst>
            </a:prstGeom>
          </p:spPr>
          <p:style>
            <a:lnRef idx="2">
              <a:schemeClr val="accent2">
                <a:shade val="80000"/>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27" name="Bent-Up Arrow 26"/>
            <p:cNvSpPr/>
            <p:nvPr/>
          </p:nvSpPr>
          <p:spPr>
            <a:xfrm rot="5400000">
              <a:off x="1056532" y="2046961"/>
              <a:ext cx="225485" cy="193701"/>
            </a:xfrm>
            <a:prstGeom prst="bentUpArrow">
              <a:avLst>
                <a:gd name="adj1" fmla="val 32840"/>
                <a:gd name="adj2" fmla="val 25000"/>
                <a:gd name="adj3" fmla="val 35780"/>
              </a:avLst>
            </a:prstGeom>
          </p:spPr>
          <p:style>
            <a:lnRef idx="2">
              <a:schemeClr val="accent2">
                <a:shade val="80000"/>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28" name="Bent-Up Arrow 27"/>
            <p:cNvSpPr/>
            <p:nvPr/>
          </p:nvSpPr>
          <p:spPr>
            <a:xfrm rot="5400000">
              <a:off x="1333871" y="2478691"/>
              <a:ext cx="225485" cy="193701"/>
            </a:xfrm>
            <a:prstGeom prst="bentUpArrow">
              <a:avLst>
                <a:gd name="adj1" fmla="val 32840"/>
                <a:gd name="adj2" fmla="val 25000"/>
                <a:gd name="adj3" fmla="val 35780"/>
              </a:avLst>
            </a:prstGeom>
          </p:spPr>
          <p:style>
            <a:lnRef idx="2">
              <a:schemeClr val="accent2">
                <a:shade val="80000"/>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29" name="Bent-Up Arrow 28"/>
            <p:cNvSpPr/>
            <p:nvPr/>
          </p:nvSpPr>
          <p:spPr>
            <a:xfrm rot="5400000">
              <a:off x="1626771" y="2919825"/>
              <a:ext cx="225485" cy="193701"/>
            </a:xfrm>
            <a:prstGeom prst="bentUpArrow">
              <a:avLst>
                <a:gd name="adj1" fmla="val 32840"/>
                <a:gd name="adj2" fmla="val 25000"/>
                <a:gd name="adj3" fmla="val 35780"/>
              </a:avLst>
            </a:prstGeom>
          </p:spPr>
          <p:style>
            <a:lnRef idx="2">
              <a:schemeClr val="accent2">
                <a:shade val="80000"/>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30" name="Bent-Up Arrow 29"/>
            <p:cNvSpPr/>
            <p:nvPr/>
          </p:nvSpPr>
          <p:spPr>
            <a:xfrm rot="5400000">
              <a:off x="1870752" y="3350284"/>
              <a:ext cx="225485" cy="193701"/>
            </a:xfrm>
            <a:prstGeom prst="bentUpArrow">
              <a:avLst>
                <a:gd name="adj1" fmla="val 32840"/>
                <a:gd name="adj2" fmla="val 25000"/>
                <a:gd name="adj3" fmla="val 35780"/>
              </a:avLst>
            </a:prstGeom>
          </p:spPr>
          <p:style>
            <a:lnRef idx="2">
              <a:schemeClr val="accent2">
                <a:shade val="80000"/>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31" name="Bent-Up Arrow 30"/>
            <p:cNvSpPr/>
            <p:nvPr/>
          </p:nvSpPr>
          <p:spPr>
            <a:xfrm rot="5400000">
              <a:off x="2137968" y="3797541"/>
              <a:ext cx="225485" cy="193701"/>
            </a:xfrm>
            <a:prstGeom prst="bentUpArrow">
              <a:avLst>
                <a:gd name="adj1" fmla="val 32840"/>
                <a:gd name="adj2" fmla="val 25000"/>
                <a:gd name="adj3" fmla="val 35780"/>
              </a:avLst>
            </a:prstGeom>
          </p:spPr>
          <p:style>
            <a:lnRef idx="2">
              <a:schemeClr val="accent2">
                <a:shade val="80000"/>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32" name="Bent-Up Arrow 31"/>
            <p:cNvSpPr/>
            <p:nvPr/>
          </p:nvSpPr>
          <p:spPr>
            <a:xfrm rot="5400000">
              <a:off x="2415307" y="4229271"/>
              <a:ext cx="225485" cy="193701"/>
            </a:xfrm>
            <a:prstGeom prst="bentUpArrow">
              <a:avLst>
                <a:gd name="adj1" fmla="val 32840"/>
                <a:gd name="adj2" fmla="val 25000"/>
                <a:gd name="adj3" fmla="val 35780"/>
              </a:avLst>
            </a:prstGeom>
          </p:spPr>
          <p:style>
            <a:lnRef idx="2">
              <a:schemeClr val="accent2">
                <a:shade val="80000"/>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lt1">
                <a:hueOff val="0"/>
                <a:satOff val="0"/>
                <a:lumOff val="0"/>
                <a:alphaOff val="0"/>
              </a:schemeClr>
            </a:fontRef>
          </p:style>
        </p:sp>
      </p:grpSp>
      <p:sp>
        <p:nvSpPr>
          <p:cNvPr id="33" name="Right Arrow 32"/>
          <p:cNvSpPr/>
          <p:nvPr/>
        </p:nvSpPr>
        <p:spPr>
          <a:xfrm>
            <a:off x="5338407" y="4544888"/>
            <a:ext cx="751845" cy="124274"/>
          </a:xfrm>
          <a:prstGeom prst="rightArrow">
            <a:avLst/>
          </a:prstGeom>
        </p:spPr>
        <p:style>
          <a:lnRef idx="2">
            <a:schemeClr val="accent2">
              <a:shade val="80000"/>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lt1">
              <a:hueOff val="0"/>
              <a:satOff val="0"/>
              <a:lumOff val="0"/>
              <a:alphaOff val="0"/>
            </a:schemeClr>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hueOff val="0"/>
                  <a:satOff val="0"/>
                  <a:lumOff val="0"/>
                  <a:alphaOff val="0"/>
                </a:srgbClr>
              </a:solidFill>
              <a:effectLst/>
              <a:uLnTx/>
              <a:uFillTx/>
              <a:latin typeface="Arial" panose="020B0604020202020204"/>
              <a:ea typeface="+mn-ea"/>
              <a:cs typeface="+mn-cs"/>
            </a:endParaRPr>
          </a:p>
        </p:txBody>
      </p:sp>
      <p:graphicFrame>
        <p:nvGraphicFramePr>
          <p:cNvPr id="34" name="Table 33"/>
          <p:cNvGraphicFramePr>
            <a:graphicFrameLocks noGrp="1"/>
          </p:cNvGraphicFramePr>
          <p:nvPr>
            <p:extLst/>
          </p:nvPr>
        </p:nvGraphicFramePr>
        <p:xfrm>
          <a:off x="6022414" y="729003"/>
          <a:ext cx="2766516" cy="3745786"/>
        </p:xfrm>
        <a:graphic>
          <a:graphicData uri="http://schemas.openxmlformats.org/drawingml/2006/table">
            <a:tbl>
              <a:tblPr firstRow="1" bandRow="1">
                <a:tableStyleId>{D27102A9-8310-4765-A935-A1911B00CA55}</a:tableStyleId>
              </a:tblPr>
              <a:tblGrid>
                <a:gridCol w="2766516">
                  <a:extLst>
                    <a:ext uri="{9D8B030D-6E8A-4147-A177-3AD203B41FA5}">
                      <a16:colId xmlns:a16="http://schemas.microsoft.com/office/drawing/2014/main" val="20000"/>
                    </a:ext>
                  </a:extLst>
                </a:gridCol>
              </a:tblGrid>
              <a:tr h="214456">
                <a:tc>
                  <a:txBody>
                    <a:bodyPr/>
                    <a:lstStyle/>
                    <a:p>
                      <a:pPr marL="171450" indent="-171450" algn="l">
                        <a:spcBef>
                          <a:spcPts val="200"/>
                        </a:spcBef>
                        <a:spcAft>
                          <a:spcPts val="200"/>
                        </a:spcAft>
                        <a:buFont typeface="Wingdings" panose="05000000000000000000" pitchFamily="2" charset="2"/>
                        <a:buChar char="v"/>
                      </a:pPr>
                      <a:r>
                        <a:rPr lang="en-US" sz="800" b="1" dirty="0" smtClean="0">
                          <a:solidFill>
                            <a:schemeClr val="tx2"/>
                          </a:solidFill>
                          <a:latin typeface="+mn-lt"/>
                        </a:rPr>
                        <a:t>May 2019:</a:t>
                      </a:r>
                      <a:r>
                        <a:rPr lang="en-US" sz="800" b="0" baseline="0" dirty="0" smtClean="0">
                          <a:solidFill>
                            <a:schemeClr val="tx2"/>
                          </a:solidFill>
                          <a:latin typeface="+mn-lt"/>
                        </a:rPr>
                        <a:t> Brighthouse Financial is included on the FORTUNE® 500 list for the first time, ranking number 342.</a:t>
                      </a:r>
                      <a:endParaRPr lang="en-US" sz="800" b="0" dirty="0" smtClean="0">
                        <a:solidFill>
                          <a:schemeClr val="tx2"/>
                        </a:solidFill>
                        <a:latin typeface="+mn-lt"/>
                      </a:endParaRPr>
                    </a:p>
                  </a:txBody>
                  <a:tcPr marL="68580" marR="68580" marT="34290" marB="3429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532825137"/>
                  </a:ext>
                </a:extLst>
              </a:tr>
              <a:tr h="214456">
                <a:tc>
                  <a:txBody>
                    <a:bodyPr/>
                    <a:lstStyle/>
                    <a:p>
                      <a:pPr marL="171450" indent="-171450" algn="l">
                        <a:spcBef>
                          <a:spcPts val="200"/>
                        </a:spcBef>
                        <a:spcAft>
                          <a:spcPts val="200"/>
                        </a:spcAft>
                        <a:buFont typeface="Wingdings" panose="05000000000000000000" pitchFamily="2" charset="2"/>
                        <a:buChar char="v"/>
                      </a:pPr>
                      <a:r>
                        <a:rPr lang="en-US" sz="800" b="1" dirty="0" smtClean="0">
                          <a:solidFill>
                            <a:schemeClr val="tx2"/>
                          </a:solidFill>
                          <a:latin typeface="+mn-lt"/>
                        </a:rPr>
                        <a:t>Aug 2018: </a:t>
                      </a:r>
                      <a:r>
                        <a:rPr lang="en-US" sz="800" b="0" dirty="0" smtClean="0">
                          <a:solidFill>
                            <a:schemeClr val="tx2"/>
                          </a:solidFill>
                          <a:latin typeface="+mn-lt"/>
                        </a:rPr>
                        <a:t>Brighthouse Foundation launched, offering financial support to non-profit organizations that work to improve the lives of people in each of our communities</a:t>
                      </a:r>
                    </a:p>
                  </a:txBody>
                  <a:tcPr marL="68580" marR="68580" marT="34290" marB="3429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14456">
                <a:tc>
                  <a:txBody>
                    <a:bodyPr/>
                    <a:lstStyle/>
                    <a:p>
                      <a:pPr marL="171450" indent="-171450" algn="l">
                        <a:spcBef>
                          <a:spcPts val="200"/>
                        </a:spcBef>
                        <a:spcAft>
                          <a:spcPts val="200"/>
                        </a:spcAft>
                        <a:buFont typeface="Wingdings" panose="05000000000000000000" pitchFamily="2" charset="2"/>
                        <a:buChar char="v"/>
                      </a:pPr>
                      <a:r>
                        <a:rPr lang="en-US" sz="800" b="1" dirty="0" smtClean="0">
                          <a:solidFill>
                            <a:schemeClr val="tx2"/>
                          </a:solidFill>
                          <a:latin typeface="+mn-lt"/>
                        </a:rPr>
                        <a:t>Aug 2017: </a:t>
                      </a:r>
                      <a:r>
                        <a:rPr lang="en-US" sz="800" b="0" dirty="0" smtClean="0">
                          <a:solidFill>
                            <a:schemeClr val="tx2"/>
                          </a:solidFill>
                          <a:latin typeface="+mn-lt"/>
                        </a:rPr>
                        <a:t>Brighthouse Financial, Inc. began trading on Nasdaq under the symbol “BHF”.</a:t>
                      </a:r>
                    </a:p>
                  </a:txBody>
                  <a:tcPr marL="68580" marR="68580" marT="34290" marB="3429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14456">
                <a:tc>
                  <a:txBody>
                    <a:bodyPr/>
                    <a:lstStyle/>
                    <a:p>
                      <a:pPr marL="171450" indent="-171450" algn="l">
                        <a:spcBef>
                          <a:spcPts val="200"/>
                        </a:spcBef>
                        <a:spcAft>
                          <a:spcPts val="200"/>
                        </a:spcAft>
                        <a:buFont typeface="Wingdings" panose="05000000000000000000" pitchFamily="2" charset="2"/>
                        <a:buChar char="v"/>
                      </a:pPr>
                      <a:r>
                        <a:rPr lang="en-US" sz="800" b="1" dirty="0" smtClean="0">
                          <a:solidFill>
                            <a:schemeClr val="tx2"/>
                          </a:solidFill>
                          <a:latin typeface="+mn-lt"/>
                        </a:rPr>
                        <a:t>Aug 2017: </a:t>
                      </a:r>
                      <a:r>
                        <a:rPr lang="en-US" sz="800" b="0" dirty="0" smtClean="0">
                          <a:solidFill>
                            <a:schemeClr val="tx2"/>
                          </a:solidFill>
                          <a:latin typeface="+mn-lt"/>
                        </a:rPr>
                        <a:t>Brighthouse Financial completed its separation from MetLife, Inc. and became an independent company with operations headquartered in Charlotte, NC.</a:t>
                      </a:r>
                    </a:p>
                  </a:txBody>
                  <a:tcPr marL="68580" marR="68580" marT="34290" marB="3429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57426">
                <a:tc>
                  <a:txBody>
                    <a:bodyPr/>
                    <a:lstStyle/>
                    <a:p>
                      <a:pPr marL="171450" indent="-171450" algn="l">
                        <a:spcBef>
                          <a:spcPts val="200"/>
                        </a:spcBef>
                        <a:spcAft>
                          <a:spcPts val="200"/>
                        </a:spcAft>
                        <a:buFont typeface="Wingdings" panose="05000000000000000000" pitchFamily="2" charset="2"/>
                        <a:buChar char="v"/>
                      </a:pPr>
                      <a:r>
                        <a:rPr lang="en-US" sz="800" b="1" dirty="0" smtClean="0">
                          <a:solidFill>
                            <a:schemeClr val="tx2"/>
                          </a:solidFill>
                          <a:latin typeface="+mn-lt"/>
                        </a:rPr>
                        <a:t>Apr</a:t>
                      </a:r>
                      <a:r>
                        <a:rPr lang="en-US" sz="800" b="1" baseline="0" dirty="0" smtClean="0">
                          <a:solidFill>
                            <a:schemeClr val="tx2"/>
                          </a:solidFill>
                          <a:latin typeface="+mn-lt"/>
                        </a:rPr>
                        <a:t> 2017</a:t>
                      </a:r>
                      <a:r>
                        <a:rPr lang="en-US" sz="800" b="1" dirty="0" smtClean="0">
                          <a:solidFill>
                            <a:schemeClr val="tx2"/>
                          </a:solidFill>
                          <a:latin typeface="+mn-lt"/>
                        </a:rPr>
                        <a:t>: </a:t>
                      </a:r>
                      <a:r>
                        <a:rPr lang="en-US" sz="800" b="0" dirty="0" smtClean="0">
                          <a:solidFill>
                            <a:schemeClr val="tx2"/>
                          </a:solidFill>
                          <a:latin typeface="+mn-lt"/>
                        </a:rPr>
                        <a:t>First commercial aired for the newly launched Brighthouse Financial brand</a:t>
                      </a:r>
                    </a:p>
                  </a:txBody>
                  <a:tcPr marL="68580" marR="68580" marT="34290" marB="3429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00396">
                <a:tc>
                  <a:txBody>
                    <a:bodyPr/>
                    <a:lstStyle/>
                    <a:p>
                      <a:pPr marL="171450" indent="-171450" algn="l">
                        <a:spcBef>
                          <a:spcPts val="200"/>
                        </a:spcBef>
                        <a:spcAft>
                          <a:spcPts val="200"/>
                        </a:spcAft>
                        <a:buFont typeface="Wingdings" panose="05000000000000000000" pitchFamily="2" charset="2"/>
                        <a:buChar char="v"/>
                      </a:pPr>
                      <a:r>
                        <a:rPr lang="en-US" sz="800" b="1" dirty="0" smtClean="0">
                          <a:solidFill>
                            <a:schemeClr val="tx2"/>
                          </a:solidFill>
                          <a:latin typeface="+mn-lt"/>
                        </a:rPr>
                        <a:t>Jan 2016: </a:t>
                      </a:r>
                      <a:r>
                        <a:rPr lang="en-US" sz="800" b="0" dirty="0" smtClean="0">
                          <a:solidFill>
                            <a:schemeClr val="tx2"/>
                          </a:solidFill>
                          <a:latin typeface="+mn-lt"/>
                        </a:rPr>
                        <a:t>MetLife, Inc. announced its plans to separate a substantial portion of its U.S. Retail business</a:t>
                      </a:r>
                    </a:p>
                    <a:p>
                      <a:pPr marL="628650" lvl="1" indent="-171450" algn="l">
                        <a:spcBef>
                          <a:spcPts val="200"/>
                        </a:spcBef>
                        <a:spcAft>
                          <a:spcPts val="200"/>
                        </a:spcAft>
                        <a:buFont typeface="Courier New" panose="02070309020205020404" pitchFamily="49" charset="0"/>
                        <a:buChar char="o"/>
                      </a:pPr>
                      <a:r>
                        <a:rPr lang="en-US" sz="800" b="0" dirty="0" smtClean="0">
                          <a:solidFill>
                            <a:schemeClr val="tx2"/>
                          </a:solidFill>
                          <a:latin typeface="+mn-lt"/>
                        </a:rPr>
                        <a:t>As a separate entity, the new company will specialize in a streamlined suite of products to deliver value to customers</a:t>
                      </a:r>
                    </a:p>
                  </a:txBody>
                  <a:tcPr marL="68580" marR="68580" marT="34290" marB="3429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14456">
                <a:tc>
                  <a:txBody>
                    <a:bodyPr/>
                    <a:lstStyle/>
                    <a:p>
                      <a:pPr marL="171450" indent="-171450" algn="l">
                        <a:spcBef>
                          <a:spcPts val="200"/>
                        </a:spcBef>
                        <a:spcAft>
                          <a:spcPts val="200"/>
                        </a:spcAft>
                        <a:buFont typeface="Wingdings" panose="05000000000000000000" pitchFamily="2" charset="2"/>
                        <a:buChar char="v"/>
                      </a:pPr>
                      <a:r>
                        <a:rPr lang="en-US" sz="800" b="1" dirty="0" smtClean="0">
                          <a:solidFill>
                            <a:schemeClr val="tx2"/>
                          </a:solidFill>
                          <a:latin typeface="+mn-lt"/>
                        </a:rPr>
                        <a:t>Nov 2014: </a:t>
                      </a:r>
                      <a:r>
                        <a:rPr lang="en-US" sz="800" b="0" dirty="0" smtClean="0">
                          <a:solidFill>
                            <a:schemeClr val="tx2"/>
                          </a:solidFill>
                          <a:latin typeface="+mn-lt"/>
                        </a:rPr>
                        <a:t>Through a series of mergers, MetLife Insurance Company USA is formed as an insurance company, which includes MICC, MetLife Investors Insurance Company and MetLife Investors USA Insurance Company</a:t>
                      </a:r>
                    </a:p>
                  </a:txBody>
                  <a:tcPr marL="68580" marR="68580" marT="34290" marB="3429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cxnSp>
        <p:nvCxnSpPr>
          <p:cNvPr id="35" name="Straight Arrow Connector 34"/>
          <p:cNvCxnSpPr/>
          <p:nvPr/>
        </p:nvCxnSpPr>
        <p:spPr>
          <a:xfrm flipV="1">
            <a:off x="6120794" y="599857"/>
            <a:ext cx="0" cy="3949517"/>
          </a:xfrm>
          <a:prstGeom prst="straightConnector1">
            <a:avLst/>
          </a:prstGeom>
          <a:ln w="19050">
            <a:solidFill>
              <a:schemeClr val="accent4"/>
            </a:solidFill>
            <a:prstDash val="sysDash"/>
            <a:tailEnd type="triangle"/>
          </a:ln>
          <a:effectLst/>
        </p:spPr>
        <p:style>
          <a:lnRef idx="2">
            <a:schemeClr val="accent1"/>
          </a:lnRef>
          <a:fillRef idx="0">
            <a:schemeClr val="accent1"/>
          </a:fillRef>
          <a:effectRef idx="1">
            <a:schemeClr val="accent1"/>
          </a:effectRef>
          <a:fontRef idx="minor">
            <a:schemeClr val="tx1"/>
          </a:fontRef>
        </p:style>
      </p:cxnSp>
      <p:sp>
        <p:nvSpPr>
          <p:cNvPr id="36" name="Rectangle 35"/>
          <p:cNvSpPr/>
          <p:nvPr/>
        </p:nvSpPr>
        <p:spPr>
          <a:xfrm>
            <a:off x="120004" y="546579"/>
            <a:ext cx="1888830" cy="246221"/>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1" u="sng" strike="noStrike" kern="1200" cap="none" spc="0" normalizeH="0" baseline="0" noProof="0" dirty="0" smtClean="0">
                <a:ln>
                  <a:noFill/>
                </a:ln>
                <a:solidFill>
                  <a:srgbClr val="CC6600"/>
                </a:solidFill>
                <a:effectLst/>
                <a:uLnTx/>
                <a:uFillTx/>
                <a:latin typeface="Arial" panose="020B0604020202020204"/>
                <a:ea typeface="+mn-ea"/>
                <a:cs typeface="+mn-cs"/>
              </a:rPr>
              <a:t>The beginning</a:t>
            </a:r>
            <a:endParaRPr kumimoji="0" lang="en-US" sz="1000" b="1" i="0" u="none" strike="noStrike" kern="1200" cap="none" spc="0" normalizeH="0" baseline="0" noProof="0" dirty="0">
              <a:ln>
                <a:noFill/>
              </a:ln>
              <a:solidFill>
                <a:srgbClr val="0033A0"/>
              </a:solidFill>
              <a:effectLst/>
              <a:uLnTx/>
              <a:uFillTx/>
              <a:latin typeface="Arial" panose="020B0604020202020204"/>
              <a:ea typeface="+mn-ea"/>
              <a:cs typeface="+mn-cs"/>
            </a:endParaRPr>
          </a:p>
        </p:txBody>
      </p:sp>
      <p:sp>
        <p:nvSpPr>
          <p:cNvPr id="37" name="Rectangle 36"/>
          <p:cNvSpPr/>
          <p:nvPr/>
        </p:nvSpPr>
        <p:spPr>
          <a:xfrm>
            <a:off x="216994" y="2828682"/>
            <a:ext cx="1207829" cy="553998"/>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1" u="sng" strike="noStrike" kern="1200" cap="none" spc="0" normalizeH="0" baseline="0" noProof="0" dirty="0" smtClean="0">
                <a:ln>
                  <a:noFill/>
                </a:ln>
                <a:solidFill>
                  <a:srgbClr val="CC6600"/>
                </a:solidFill>
                <a:effectLst/>
                <a:uLnTx/>
                <a:uFillTx/>
                <a:latin typeface="Arial" panose="020B0604020202020204"/>
                <a:ea typeface="+mn-ea"/>
                <a:cs typeface="+mn-cs"/>
              </a:rPr>
              <a:t>Mergers and Acquisitions</a:t>
            </a:r>
            <a:r>
              <a:rPr kumimoji="0" lang="en-US" sz="1000" b="1" i="0" u="none" strike="noStrike" kern="1200" cap="none" spc="0" normalizeH="0" baseline="0" noProof="0" dirty="0" smtClean="0">
                <a:ln>
                  <a:noFill/>
                </a:ln>
                <a:solidFill>
                  <a:srgbClr val="0033A0"/>
                </a:solidFill>
                <a:effectLst/>
                <a:uLnTx/>
                <a:uFillTx/>
                <a:latin typeface="Arial" panose="020B0604020202020204"/>
                <a:ea typeface="+mn-ea"/>
                <a:cs typeface="+mn-cs"/>
              </a:rPr>
              <a:t/>
            </a:r>
            <a:br>
              <a:rPr kumimoji="0" lang="en-US" sz="1000" b="1" i="0" u="none" strike="noStrike" kern="1200" cap="none" spc="0" normalizeH="0" baseline="0" noProof="0" dirty="0" smtClean="0">
                <a:ln>
                  <a:noFill/>
                </a:ln>
                <a:solidFill>
                  <a:srgbClr val="0033A0"/>
                </a:solidFill>
                <a:effectLst/>
                <a:uLnTx/>
                <a:uFillTx/>
                <a:latin typeface="Arial" panose="020B0604020202020204"/>
                <a:ea typeface="+mn-ea"/>
                <a:cs typeface="+mn-cs"/>
              </a:rPr>
            </a:br>
            <a:endParaRPr kumimoji="0" lang="en-US" sz="1000" b="1" i="0" u="none" strike="noStrike" kern="1200" cap="none" spc="0" normalizeH="0" baseline="0" noProof="0" dirty="0">
              <a:ln>
                <a:noFill/>
              </a:ln>
              <a:solidFill>
                <a:srgbClr val="0033A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25099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428" y="141701"/>
            <a:ext cx="8417052" cy="621030"/>
          </a:xfrm>
        </p:spPr>
        <p:txBody>
          <a:bodyPr/>
          <a:lstStyle/>
          <a:p>
            <a:r>
              <a:rPr lang="en-US" sz="2200" dirty="0"/>
              <a:t>BHF comparison with peers as per 2017 Asset under mgmt. data </a:t>
            </a:r>
          </a:p>
        </p:txBody>
      </p:sp>
      <p:sp>
        <p:nvSpPr>
          <p:cNvPr id="4" name="Footer Placeholder 3"/>
          <p:cNvSpPr>
            <a:spLocks noGrp="1"/>
          </p:cNvSpPr>
          <p:nvPr>
            <p:ph type="ftr" sz="quarter" idx="3"/>
          </p:nvPr>
        </p:nvSpPr>
        <p:spPr/>
        <p:txBody>
          <a:bodyPr/>
          <a:lstStyle/>
          <a:p>
            <a:r>
              <a:rPr lang="en-US" smtClean="0"/>
              <a:t>© 2020 Cognizant</a:t>
            </a:r>
            <a:endParaRPr lang="en-US" dirty="0"/>
          </a:p>
        </p:txBody>
      </p:sp>
      <p:sp>
        <p:nvSpPr>
          <p:cNvPr id="5" name="Slide Number Placeholder 4"/>
          <p:cNvSpPr>
            <a:spLocks noGrp="1"/>
          </p:cNvSpPr>
          <p:nvPr>
            <p:ph type="sldNum" sz="quarter" idx="4"/>
          </p:nvPr>
        </p:nvSpPr>
        <p:spPr/>
        <p:txBody>
          <a:bodyPr/>
          <a:lstStyle/>
          <a:p>
            <a:fld id="{2EFEF571-C9B4-4D92-A7F7-315B894862A8}" type="slidenum">
              <a:rPr lang="en-US" smtClean="0"/>
              <a:pPr/>
              <a:t>6</a:t>
            </a:fld>
            <a:endParaRPr lang="en-US" dirty="0"/>
          </a:p>
        </p:txBody>
      </p:sp>
      <p:pic>
        <p:nvPicPr>
          <p:cNvPr id="6" name="Picture 5"/>
          <p:cNvPicPr>
            <a:picLocks noChangeAspect="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Lst>
          </a:blip>
          <a:srcRect l="7365" t="24010" r="44846" b="14323"/>
          <a:stretch/>
        </p:blipFill>
        <p:spPr>
          <a:xfrm>
            <a:off x="1463998" y="707514"/>
            <a:ext cx="5407512" cy="3923096"/>
          </a:xfrm>
          <a:prstGeom prst="rect">
            <a:avLst/>
          </a:prstGeom>
        </p:spPr>
      </p:pic>
    </p:spTree>
    <p:extLst>
      <p:ext uri="{BB962C8B-B14F-4D97-AF65-F5344CB8AC3E}">
        <p14:creationId xmlns:p14="http://schemas.microsoft.com/office/powerpoint/2010/main" val="419370263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128" y="141701"/>
            <a:ext cx="8417052" cy="621030"/>
          </a:xfrm>
        </p:spPr>
        <p:txBody>
          <a:bodyPr/>
          <a:lstStyle/>
          <a:p>
            <a:r>
              <a:rPr lang="en-US" dirty="0"/>
              <a:t>Business and Digital Strategy</a:t>
            </a:r>
          </a:p>
        </p:txBody>
      </p:sp>
      <p:sp>
        <p:nvSpPr>
          <p:cNvPr id="4" name="Footer Placeholder 3"/>
          <p:cNvSpPr>
            <a:spLocks noGrp="1"/>
          </p:cNvSpPr>
          <p:nvPr>
            <p:ph type="ftr" sz="quarter" idx="3"/>
          </p:nvPr>
        </p:nvSpPr>
        <p:spPr/>
        <p:txBody>
          <a:bodyPr/>
          <a:lstStyle/>
          <a:p>
            <a:r>
              <a:rPr lang="en-US" smtClean="0"/>
              <a:t>© 2020 Cognizant</a:t>
            </a:r>
            <a:endParaRPr lang="en-US" dirty="0"/>
          </a:p>
        </p:txBody>
      </p:sp>
      <p:sp>
        <p:nvSpPr>
          <p:cNvPr id="5" name="Slide Number Placeholder 4"/>
          <p:cNvSpPr>
            <a:spLocks noGrp="1"/>
          </p:cNvSpPr>
          <p:nvPr>
            <p:ph type="sldNum" sz="quarter" idx="4"/>
          </p:nvPr>
        </p:nvSpPr>
        <p:spPr/>
        <p:txBody>
          <a:bodyPr/>
          <a:lstStyle/>
          <a:p>
            <a:fld id="{2EFEF571-C9B4-4D92-A7F7-315B894862A8}" type="slidenum">
              <a:rPr lang="en-US" smtClean="0"/>
              <a:pPr/>
              <a:t>7</a:t>
            </a:fld>
            <a:endParaRPr lang="en-US" dirty="0"/>
          </a:p>
        </p:txBody>
      </p:sp>
      <p:grpSp>
        <p:nvGrpSpPr>
          <p:cNvPr id="6" name="Group 5"/>
          <p:cNvGrpSpPr/>
          <p:nvPr/>
        </p:nvGrpSpPr>
        <p:grpSpPr>
          <a:xfrm>
            <a:off x="400120" y="979580"/>
            <a:ext cx="8257498" cy="3691506"/>
            <a:chOff x="400120" y="979580"/>
            <a:chExt cx="8257498" cy="3691506"/>
          </a:xfrm>
        </p:grpSpPr>
        <p:sp>
          <p:nvSpPr>
            <p:cNvPr id="7" name="Freeform 6"/>
            <p:cNvSpPr/>
            <p:nvPr/>
          </p:nvSpPr>
          <p:spPr>
            <a:xfrm flipH="1">
              <a:off x="1338550" y="2654550"/>
              <a:ext cx="3149142" cy="321513"/>
            </a:xfrm>
            <a:custGeom>
              <a:avLst/>
              <a:gdLst>
                <a:gd name="connsiteX0" fmla="*/ 241201 w 5421260"/>
                <a:gd name="connsiteY0" fmla="*/ 988554 h 1454751"/>
                <a:gd name="connsiteX1" fmla="*/ 149761 w 5421260"/>
                <a:gd name="connsiteY1" fmla="*/ 1079994 h 1454751"/>
                <a:gd name="connsiteX2" fmla="*/ 241201 w 5421260"/>
                <a:gd name="connsiteY2" fmla="*/ 1171434 h 1454751"/>
                <a:gd name="connsiteX3" fmla="*/ 332641 w 5421260"/>
                <a:gd name="connsiteY3" fmla="*/ 1079994 h 1454751"/>
                <a:gd name="connsiteX4" fmla="*/ 241201 w 5421260"/>
                <a:gd name="connsiteY4" fmla="*/ 988554 h 1454751"/>
                <a:gd name="connsiteX5" fmla="*/ 250166 w 5421260"/>
                <a:gd name="connsiteY5" fmla="*/ 284824 h 1454751"/>
                <a:gd name="connsiteX6" fmla="*/ 158726 w 5421260"/>
                <a:gd name="connsiteY6" fmla="*/ 376264 h 1454751"/>
                <a:gd name="connsiteX7" fmla="*/ 250166 w 5421260"/>
                <a:gd name="connsiteY7" fmla="*/ 467704 h 1454751"/>
                <a:gd name="connsiteX8" fmla="*/ 341606 w 5421260"/>
                <a:gd name="connsiteY8" fmla="*/ 376264 h 1454751"/>
                <a:gd name="connsiteX9" fmla="*/ 250166 w 5421260"/>
                <a:gd name="connsiteY9" fmla="*/ 284824 h 1454751"/>
                <a:gd name="connsiteX10" fmla="*/ 0 w 5421260"/>
                <a:gd name="connsiteY10" fmla="*/ 0 h 1454751"/>
                <a:gd name="connsiteX11" fmla="*/ 5421260 w 5421260"/>
                <a:gd name="connsiteY11" fmla="*/ 0 h 1454751"/>
                <a:gd name="connsiteX12" fmla="*/ 5421260 w 5421260"/>
                <a:gd name="connsiteY12" fmla="*/ 1454751 h 1454751"/>
                <a:gd name="connsiteX13" fmla="*/ 0 w 5421260"/>
                <a:gd name="connsiteY13" fmla="*/ 1454751 h 145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21260" h="1454751">
                  <a:moveTo>
                    <a:pt x="241201" y="988554"/>
                  </a:moveTo>
                  <a:cubicBezTo>
                    <a:pt x="190700" y="988554"/>
                    <a:pt x="149761" y="1029493"/>
                    <a:pt x="149761" y="1079994"/>
                  </a:cubicBezTo>
                  <a:cubicBezTo>
                    <a:pt x="149761" y="1130495"/>
                    <a:pt x="190700" y="1171434"/>
                    <a:pt x="241201" y="1171434"/>
                  </a:cubicBezTo>
                  <a:cubicBezTo>
                    <a:pt x="291702" y="1171434"/>
                    <a:pt x="332641" y="1130495"/>
                    <a:pt x="332641" y="1079994"/>
                  </a:cubicBezTo>
                  <a:cubicBezTo>
                    <a:pt x="332641" y="1029493"/>
                    <a:pt x="291702" y="988554"/>
                    <a:pt x="241201" y="988554"/>
                  </a:cubicBezTo>
                  <a:close/>
                  <a:moveTo>
                    <a:pt x="250166" y="284824"/>
                  </a:moveTo>
                  <a:cubicBezTo>
                    <a:pt x="199665" y="284824"/>
                    <a:pt x="158726" y="325763"/>
                    <a:pt x="158726" y="376264"/>
                  </a:cubicBezTo>
                  <a:cubicBezTo>
                    <a:pt x="158726" y="426765"/>
                    <a:pt x="199665" y="467704"/>
                    <a:pt x="250166" y="467704"/>
                  </a:cubicBezTo>
                  <a:cubicBezTo>
                    <a:pt x="300667" y="467704"/>
                    <a:pt x="341606" y="426765"/>
                    <a:pt x="341606" y="376264"/>
                  </a:cubicBezTo>
                  <a:cubicBezTo>
                    <a:pt x="341606" y="325763"/>
                    <a:pt x="300667" y="284824"/>
                    <a:pt x="250166" y="284824"/>
                  </a:cubicBezTo>
                  <a:close/>
                  <a:moveTo>
                    <a:pt x="0" y="0"/>
                  </a:moveTo>
                  <a:lnTo>
                    <a:pt x="5421260" y="0"/>
                  </a:lnTo>
                  <a:lnTo>
                    <a:pt x="5421260" y="1454751"/>
                  </a:lnTo>
                  <a:lnTo>
                    <a:pt x="0" y="1454751"/>
                  </a:lnTo>
                  <a:close/>
                </a:path>
              </a:pathLst>
            </a:custGeom>
            <a:solidFill>
              <a:schemeClr val="accent3">
                <a:lumMod val="40000"/>
                <a:lumOff val="60000"/>
              </a:schemeClr>
            </a:solidFill>
            <a:ln w="12700" cap="flat" cmpd="sng" algn="ctr">
              <a:noFill/>
              <a:prstDash val="solid"/>
              <a:miter lim="800000"/>
            </a:ln>
            <a:effectLst/>
          </p:spPr>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8" name="TextBox 105"/>
            <p:cNvSpPr txBox="1">
              <a:spLocks/>
            </p:cNvSpPr>
            <p:nvPr/>
          </p:nvSpPr>
          <p:spPr>
            <a:xfrm>
              <a:off x="1731208" y="2709835"/>
              <a:ext cx="2471139" cy="20774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dirty="0" smtClean="0">
                  <a:ln>
                    <a:noFill/>
                  </a:ln>
                  <a:solidFill>
                    <a:srgbClr val="000000"/>
                  </a:solidFill>
                  <a:effectLst/>
                  <a:uLnTx/>
                  <a:uFillTx/>
                  <a:latin typeface="Arial" panose="020B0604020202020204"/>
                  <a:ea typeface="+mn-ea"/>
                  <a:cs typeface="+mn-cs"/>
                </a:rPr>
                <a:t>Cost optimization and operational </a:t>
              </a:r>
              <a:r>
                <a:rPr kumimoji="0" lang="en-US" sz="750" b="0" i="0" u="none" strike="noStrike" kern="1200" cap="none" spc="0" normalizeH="0" baseline="0" noProof="0" dirty="0">
                  <a:ln>
                    <a:noFill/>
                  </a:ln>
                  <a:solidFill>
                    <a:srgbClr val="000000"/>
                  </a:solidFill>
                  <a:effectLst/>
                  <a:uLnTx/>
                  <a:uFillTx/>
                  <a:latin typeface="Arial" panose="020B0604020202020204"/>
                  <a:ea typeface="+mn-ea"/>
                  <a:cs typeface="+mn-cs"/>
                </a:rPr>
                <a:t>e</a:t>
              </a:r>
              <a:r>
                <a:rPr kumimoji="0" lang="en-US" sz="750" b="0" i="0" u="none" strike="noStrike" kern="1200" cap="none" spc="0" normalizeH="0" baseline="0" noProof="0" dirty="0" smtClean="0">
                  <a:ln>
                    <a:noFill/>
                  </a:ln>
                  <a:solidFill>
                    <a:srgbClr val="000000"/>
                  </a:solidFill>
                  <a:effectLst/>
                  <a:uLnTx/>
                  <a:uFillTx/>
                  <a:latin typeface="Arial" panose="020B0604020202020204"/>
                  <a:ea typeface="+mn-ea"/>
                  <a:cs typeface="+mn-cs"/>
                </a:rPr>
                <a:t>fficiency</a:t>
              </a:r>
              <a:endParaRPr kumimoji="0" lang="en-US" sz="7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 name="Freeform 8"/>
            <p:cNvSpPr/>
            <p:nvPr/>
          </p:nvSpPr>
          <p:spPr>
            <a:xfrm flipH="1">
              <a:off x="1338550" y="2307468"/>
              <a:ext cx="3149142" cy="321513"/>
            </a:xfrm>
            <a:custGeom>
              <a:avLst/>
              <a:gdLst>
                <a:gd name="connsiteX0" fmla="*/ 241201 w 5421260"/>
                <a:gd name="connsiteY0" fmla="*/ 988554 h 1454751"/>
                <a:gd name="connsiteX1" fmla="*/ 149761 w 5421260"/>
                <a:gd name="connsiteY1" fmla="*/ 1079994 h 1454751"/>
                <a:gd name="connsiteX2" fmla="*/ 241201 w 5421260"/>
                <a:gd name="connsiteY2" fmla="*/ 1171434 h 1454751"/>
                <a:gd name="connsiteX3" fmla="*/ 332641 w 5421260"/>
                <a:gd name="connsiteY3" fmla="*/ 1079994 h 1454751"/>
                <a:gd name="connsiteX4" fmla="*/ 241201 w 5421260"/>
                <a:gd name="connsiteY4" fmla="*/ 988554 h 1454751"/>
                <a:gd name="connsiteX5" fmla="*/ 250166 w 5421260"/>
                <a:gd name="connsiteY5" fmla="*/ 284824 h 1454751"/>
                <a:gd name="connsiteX6" fmla="*/ 158726 w 5421260"/>
                <a:gd name="connsiteY6" fmla="*/ 376264 h 1454751"/>
                <a:gd name="connsiteX7" fmla="*/ 250166 w 5421260"/>
                <a:gd name="connsiteY7" fmla="*/ 467704 h 1454751"/>
                <a:gd name="connsiteX8" fmla="*/ 341606 w 5421260"/>
                <a:gd name="connsiteY8" fmla="*/ 376264 h 1454751"/>
                <a:gd name="connsiteX9" fmla="*/ 250166 w 5421260"/>
                <a:gd name="connsiteY9" fmla="*/ 284824 h 1454751"/>
                <a:gd name="connsiteX10" fmla="*/ 0 w 5421260"/>
                <a:gd name="connsiteY10" fmla="*/ 0 h 1454751"/>
                <a:gd name="connsiteX11" fmla="*/ 5421260 w 5421260"/>
                <a:gd name="connsiteY11" fmla="*/ 0 h 1454751"/>
                <a:gd name="connsiteX12" fmla="*/ 5421260 w 5421260"/>
                <a:gd name="connsiteY12" fmla="*/ 1454751 h 1454751"/>
                <a:gd name="connsiteX13" fmla="*/ 0 w 5421260"/>
                <a:gd name="connsiteY13" fmla="*/ 1454751 h 145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21260" h="1454751">
                  <a:moveTo>
                    <a:pt x="241201" y="988554"/>
                  </a:moveTo>
                  <a:cubicBezTo>
                    <a:pt x="190700" y="988554"/>
                    <a:pt x="149761" y="1029493"/>
                    <a:pt x="149761" y="1079994"/>
                  </a:cubicBezTo>
                  <a:cubicBezTo>
                    <a:pt x="149761" y="1130495"/>
                    <a:pt x="190700" y="1171434"/>
                    <a:pt x="241201" y="1171434"/>
                  </a:cubicBezTo>
                  <a:cubicBezTo>
                    <a:pt x="291702" y="1171434"/>
                    <a:pt x="332641" y="1130495"/>
                    <a:pt x="332641" y="1079994"/>
                  </a:cubicBezTo>
                  <a:cubicBezTo>
                    <a:pt x="332641" y="1029493"/>
                    <a:pt x="291702" y="988554"/>
                    <a:pt x="241201" y="988554"/>
                  </a:cubicBezTo>
                  <a:close/>
                  <a:moveTo>
                    <a:pt x="250166" y="284824"/>
                  </a:moveTo>
                  <a:cubicBezTo>
                    <a:pt x="199665" y="284824"/>
                    <a:pt x="158726" y="325763"/>
                    <a:pt x="158726" y="376264"/>
                  </a:cubicBezTo>
                  <a:cubicBezTo>
                    <a:pt x="158726" y="426765"/>
                    <a:pt x="199665" y="467704"/>
                    <a:pt x="250166" y="467704"/>
                  </a:cubicBezTo>
                  <a:cubicBezTo>
                    <a:pt x="300667" y="467704"/>
                    <a:pt x="341606" y="426765"/>
                    <a:pt x="341606" y="376264"/>
                  </a:cubicBezTo>
                  <a:cubicBezTo>
                    <a:pt x="341606" y="325763"/>
                    <a:pt x="300667" y="284824"/>
                    <a:pt x="250166" y="284824"/>
                  </a:cubicBezTo>
                  <a:close/>
                  <a:moveTo>
                    <a:pt x="0" y="0"/>
                  </a:moveTo>
                  <a:lnTo>
                    <a:pt x="5421260" y="0"/>
                  </a:lnTo>
                  <a:lnTo>
                    <a:pt x="5421260" y="1454751"/>
                  </a:lnTo>
                  <a:lnTo>
                    <a:pt x="0" y="1454751"/>
                  </a:lnTo>
                  <a:close/>
                </a:path>
              </a:pathLst>
            </a:custGeom>
            <a:solidFill>
              <a:srgbClr val="F8BBAA"/>
            </a:solidFill>
            <a:ln w="12700" cap="flat" cmpd="sng" algn="ctr">
              <a:noFill/>
              <a:prstDash val="solid"/>
              <a:miter lim="800000"/>
            </a:ln>
            <a:effectLst/>
          </p:spPr>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10" name="TextBox 105"/>
            <p:cNvSpPr txBox="1">
              <a:spLocks/>
            </p:cNvSpPr>
            <p:nvPr/>
          </p:nvSpPr>
          <p:spPr>
            <a:xfrm>
              <a:off x="1882609" y="2303272"/>
              <a:ext cx="2319740" cy="32316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dirty="0" smtClean="0">
                  <a:ln>
                    <a:noFill/>
                  </a:ln>
                  <a:solidFill>
                    <a:srgbClr val="000000"/>
                  </a:solidFill>
                  <a:effectLst/>
                  <a:uLnTx/>
                  <a:uFillTx/>
                  <a:latin typeface="Arial" panose="020B0604020202020204"/>
                  <a:ea typeface="+mn-ea"/>
                  <a:cs typeface="+mn-cs"/>
                </a:rPr>
                <a:t>Maintaining </a:t>
              </a:r>
              <a:r>
                <a:rPr kumimoji="0" lang="en-US" sz="750" b="0" i="0" u="none" strike="noStrike" kern="1200" cap="none" spc="0" normalizeH="0" baseline="0" noProof="0" dirty="0">
                  <a:ln>
                    <a:noFill/>
                  </a:ln>
                  <a:solidFill>
                    <a:srgbClr val="000000"/>
                  </a:solidFill>
                  <a:effectLst/>
                  <a:uLnTx/>
                  <a:uFillTx/>
                  <a:latin typeface="Arial" panose="020B0604020202020204"/>
                  <a:ea typeface="+mn-ea"/>
                  <a:cs typeface="+mn-cs"/>
                </a:rPr>
                <a:t>strong capital base and have established a risk management </a:t>
              </a:r>
              <a:r>
                <a:rPr kumimoji="0" lang="en-US" sz="750" b="0" i="0" u="none" strike="noStrike" kern="1200" cap="none" spc="0" normalizeH="0" baseline="0" noProof="0" dirty="0" smtClean="0">
                  <a:ln>
                    <a:noFill/>
                  </a:ln>
                  <a:solidFill>
                    <a:srgbClr val="000000"/>
                  </a:solidFill>
                  <a:effectLst/>
                  <a:uLnTx/>
                  <a:uFillTx/>
                  <a:latin typeface="Arial" panose="020B0604020202020204"/>
                  <a:ea typeface="+mn-ea"/>
                  <a:cs typeface="+mn-cs"/>
                </a:rPr>
                <a:t>approach</a:t>
              </a:r>
              <a:endParaRPr kumimoji="0" lang="en-US" sz="7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 name="Freeform 10"/>
            <p:cNvSpPr/>
            <p:nvPr/>
          </p:nvSpPr>
          <p:spPr>
            <a:xfrm flipH="1">
              <a:off x="1338550" y="1960386"/>
              <a:ext cx="3149142" cy="321513"/>
            </a:xfrm>
            <a:custGeom>
              <a:avLst/>
              <a:gdLst>
                <a:gd name="connsiteX0" fmla="*/ 241201 w 5421260"/>
                <a:gd name="connsiteY0" fmla="*/ 988554 h 1454751"/>
                <a:gd name="connsiteX1" fmla="*/ 149761 w 5421260"/>
                <a:gd name="connsiteY1" fmla="*/ 1079994 h 1454751"/>
                <a:gd name="connsiteX2" fmla="*/ 241201 w 5421260"/>
                <a:gd name="connsiteY2" fmla="*/ 1171434 h 1454751"/>
                <a:gd name="connsiteX3" fmla="*/ 332641 w 5421260"/>
                <a:gd name="connsiteY3" fmla="*/ 1079994 h 1454751"/>
                <a:gd name="connsiteX4" fmla="*/ 241201 w 5421260"/>
                <a:gd name="connsiteY4" fmla="*/ 988554 h 1454751"/>
                <a:gd name="connsiteX5" fmla="*/ 250166 w 5421260"/>
                <a:gd name="connsiteY5" fmla="*/ 284824 h 1454751"/>
                <a:gd name="connsiteX6" fmla="*/ 158726 w 5421260"/>
                <a:gd name="connsiteY6" fmla="*/ 376264 h 1454751"/>
                <a:gd name="connsiteX7" fmla="*/ 250166 w 5421260"/>
                <a:gd name="connsiteY7" fmla="*/ 467704 h 1454751"/>
                <a:gd name="connsiteX8" fmla="*/ 341606 w 5421260"/>
                <a:gd name="connsiteY8" fmla="*/ 376264 h 1454751"/>
                <a:gd name="connsiteX9" fmla="*/ 250166 w 5421260"/>
                <a:gd name="connsiteY9" fmla="*/ 284824 h 1454751"/>
                <a:gd name="connsiteX10" fmla="*/ 0 w 5421260"/>
                <a:gd name="connsiteY10" fmla="*/ 0 h 1454751"/>
                <a:gd name="connsiteX11" fmla="*/ 5421260 w 5421260"/>
                <a:gd name="connsiteY11" fmla="*/ 0 h 1454751"/>
                <a:gd name="connsiteX12" fmla="*/ 5421260 w 5421260"/>
                <a:gd name="connsiteY12" fmla="*/ 1454751 h 1454751"/>
                <a:gd name="connsiteX13" fmla="*/ 0 w 5421260"/>
                <a:gd name="connsiteY13" fmla="*/ 1454751 h 145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21260" h="1454751">
                  <a:moveTo>
                    <a:pt x="241201" y="988554"/>
                  </a:moveTo>
                  <a:cubicBezTo>
                    <a:pt x="190700" y="988554"/>
                    <a:pt x="149761" y="1029493"/>
                    <a:pt x="149761" y="1079994"/>
                  </a:cubicBezTo>
                  <a:cubicBezTo>
                    <a:pt x="149761" y="1130495"/>
                    <a:pt x="190700" y="1171434"/>
                    <a:pt x="241201" y="1171434"/>
                  </a:cubicBezTo>
                  <a:cubicBezTo>
                    <a:pt x="291702" y="1171434"/>
                    <a:pt x="332641" y="1130495"/>
                    <a:pt x="332641" y="1079994"/>
                  </a:cubicBezTo>
                  <a:cubicBezTo>
                    <a:pt x="332641" y="1029493"/>
                    <a:pt x="291702" y="988554"/>
                    <a:pt x="241201" y="988554"/>
                  </a:cubicBezTo>
                  <a:close/>
                  <a:moveTo>
                    <a:pt x="250166" y="284824"/>
                  </a:moveTo>
                  <a:cubicBezTo>
                    <a:pt x="199665" y="284824"/>
                    <a:pt x="158726" y="325763"/>
                    <a:pt x="158726" y="376264"/>
                  </a:cubicBezTo>
                  <a:cubicBezTo>
                    <a:pt x="158726" y="426765"/>
                    <a:pt x="199665" y="467704"/>
                    <a:pt x="250166" y="467704"/>
                  </a:cubicBezTo>
                  <a:cubicBezTo>
                    <a:pt x="300667" y="467704"/>
                    <a:pt x="341606" y="426765"/>
                    <a:pt x="341606" y="376264"/>
                  </a:cubicBezTo>
                  <a:cubicBezTo>
                    <a:pt x="341606" y="325763"/>
                    <a:pt x="300667" y="284824"/>
                    <a:pt x="250166" y="284824"/>
                  </a:cubicBezTo>
                  <a:close/>
                  <a:moveTo>
                    <a:pt x="0" y="0"/>
                  </a:moveTo>
                  <a:lnTo>
                    <a:pt x="5421260" y="0"/>
                  </a:lnTo>
                  <a:lnTo>
                    <a:pt x="5421260" y="1454751"/>
                  </a:lnTo>
                  <a:lnTo>
                    <a:pt x="0" y="1454751"/>
                  </a:lnTo>
                  <a:close/>
                </a:path>
              </a:pathLst>
            </a:custGeom>
            <a:solidFill>
              <a:srgbClr val="C4E2CC"/>
            </a:solidFill>
            <a:ln w="12700" cap="flat" cmpd="sng" algn="ctr">
              <a:noFill/>
              <a:prstDash val="solid"/>
              <a:miter lim="800000"/>
            </a:ln>
            <a:effectLst/>
          </p:spPr>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12" name="TextBox 105"/>
            <p:cNvSpPr txBox="1">
              <a:spLocks/>
            </p:cNvSpPr>
            <p:nvPr/>
          </p:nvSpPr>
          <p:spPr>
            <a:xfrm>
              <a:off x="1926949" y="1950048"/>
              <a:ext cx="2275399" cy="32316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dirty="0" smtClean="0">
                  <a:ln>
                    <a:noFill/>
                  </a:ln>
                  <a:solidFill>
                    <a:srgbClr val="000000"/>
                  </a:solidFill>
                  <a:effectLst/>
                  <a:uLnTx/>
                  <a:uFillTx/>
                  <a:latin typeface="Arial" panose="020B0604020202020204"/>
                  <a:ea typeface="+mn-ea"/>
                  <a:cs typeface="+mn-cs"/>
                </a:rPr>
                <a:t>Maximize </a:t>
              </a:r>
              <a:r>
                <a:rPr kumimoji="0" lang="en-US" sz="750" b="0" i="0" u="none" strike="noStrike" kern="1200" cap="none" spc="0" normalizeH="0" baseline="0" noProof="0" dirty="0">
                  <a:ln>
                    <a:noFill/>
                  </a:ln>
                  <a:solidFill>
                    <a:srgbClr val="000000"/>
                  </a:solidFill>
                  <a:effectLst/>
                  <a:uLnTx/>
                  <a:uFillTx/>
                  <a:latin typeface="Arial" panose="020B0604020202020204"/>
                  <a:ea typeface="+mn-ea"/>
                  <a:cs typeface="+mn-cs"/>
                </a:rPr>
                <a:t>penetration of </a:t>
              </a:r>
              <a:r>
                <a:rPr kumimoji="0" lang="en-US" sz="750" b="0" i="0" u="none" strike="noStrike" kern="1200" cap="none" spc="0" normalizeH="0" baseline="0" noProof="0" dirty="0" smtClean="0">
                  <a:ln>
                    <a:noFill/>
                  </a:ln>
                  <a:solidFill>
                    <a:srgbClr val="000000"/>
                  </a:solidFill>
                  <a:effectLst/>
                  <a:uLnTx/>
                  <a:uFillTx/>
                  <a:latin typeface="Arial" panose="020B0604020202020204"/>
                  <a:ea typeface="+mn-ea"/>
                  <a:cs typeface="+mn-cs"/>
                </a:rPr>
                <a:t>target </a:t>
              </a:r>
              <a:r>
                <a:rPr kumimoji="0" lang="en-US" sz="750" b="0" i="0" u="none" strike="noStrike" kern="1200" cap="none" spc="0" normalizeH="0" baseline="0" noProof="0" dirty="0">
                  <a:ln>
                    <a:noFill/>
                  </a:ln>
                  <a:solidFill>
                    <a:srgbClr val="000000"/>
                  </a:solidFill>
                  <a:effectLst/>
                  <a:uLnTx/>
                  <a:uFillTx/>
                  <a:latin typeface="Arial" panose="020B0604020202020204"/>
                  <a:ea typeface="+mn-ea"/>
                  <a:cs typeface="+mn-cs"/>
                </a:rPr>
                <a:t>markets and distribution partners </a:t>
              </a:r>
            </a:p>
          </p:txBody>
        </p:sp>
        <p:sp>
          <p:nvSpPr>
            <p:cNvPr id="13" name="Freeform 12"/>
            <p:cNvSpPr/>
            <p:nvPr/>
          </p:nvSpPr>
          <p:spPr>
            <a:xfrm flipH="1">
              <a:off x="1338547" y="1613305"/>
              <a:ext cx="3149146" cy="321513"/>
            </a:xfrm>
            <a:custGeom>
              <a:avLst/>
              <a:gdLst>
                <a:gd name="connsiteX0" fmla="*/ 241201 w 5421260"/>
                <a:gd name="connsiteY0" fmla="*/ 988554 h 1454751"/>
                <a:gd name="connsiteX1" fmla="*/ 149761 w 5421260"/>
                <a:gd name="connsiteY1" fmla="*/ 1079994 h 1454751"/>
                <a:gd name="connsiteX2" fmla="*/ 241201 w 5421260"/>
                <a:gd name="connsiteY2" fmla="*/ 1171434 h 1454751"/>
                <a:gd name="connsiteX3" fmla="*/ 332641 w 5421260"/>
                <a:gd name="connsiteY3" fmla="*/ 1079994 h 1454751"/>
                <a:gd name="connsiteX4" fmla="*/ 241201 w 5421260"/>
                <a:gd name="connsiteY4" fmla="*/ 988554 h 1454751"/>
                <a:gd name="connsiteX5" fmla="*/ 250166 w 5421260"/>
                <a:gd name="connsiteY5" fmla="*/ 284824 h 1454751"/>
                <a:gd name="connsiteX6" fmla="*/ 158726 w 5421260"/>
                <a:gd name="connsiteY6" fmla="*/ 376264 h 1454751"/>
                <a:gd name="connsiteX7" fmla="*/ 250166 w 5421260"/>
                <a:gd name="connsiteY7" fmla="*/ 467704 h 1454751"/>
                <a:gd name="connsiteX8" fmla="*/ 341606 w 5421260"/>
                <a:gd name="connsiteY8" fmla="*/ 376264 h 1454751"/>
                <a:gd name="connsiteX9" fmla="*/ 250166 w 5421260"/>
                <a:gd name="connsiteY9" fmla="*/ 284824 h 1454751"/>
                <a:gd name="connsiteX10" fmla="*/ 0 w 5421260"/>
                <a:gd name="connsiteY10" fmla="*/ 0 h 1454751"/>
                <a:gd name="connsiteX11" fmla="*/ 5421260 w 5421260"/>
                <a:gd name="connsiteY11" fmla="*/ 0 h 1454751"/>
                <a:gd name="connsiteX12" fmla="*/ 5421260 w 5421260"/>
                <a:gd name="connsiteY12" fmla="*/ 1454751 h 1454751"/>
                <a:gd name="connsiteX13" fmla="*/ 0 w 5421260"/>
                <a:gd name="connsiteY13" fmla="*/ 1454751 h 145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21260" h="1454751">
                  <a:moveTo>
                    <a:pt x="241201" y="988554"/>
                  </a:moveTo>
                  <a:cubicBezTo>
                    <a:pt x="190700" y="988554"/>
                    <a:pt x="149761" y="1029493"/>
                    <a:pt x="149761" y="1079994"/>
                  </a:cubicBezTo>
                  <a:cubicBezTo>
                    <a:pt x="149761" y="1130495"/>
                    <a:pt x="190700" y="1171434"/>
                    <a:pt x="241201" y="1171434"/>
                  </a:cubicBezTo>
                  <a:cubicBezTo>
                    <a:pt x="291702" y="1171434"/>
                    <a:pt x="332641" y="1130495"/>
                    <a:pt x="332641" y="1079994"/>
                  </a:cubicBezTo>
                  <a:cubicBezTo>
                    <a:pt x="332641" y="1029493"/>
                    <a:pt x="291702" y="988554"/>
                    <a:pt x="241201" y="988554"/>
                  </a:cubicBezTo>
                  <a:close/>
                  <a:moveTo>
                    <a:pt x="250166" y="284824"/>
                  </a:moveTo>
                  <a:cubicBezTo>
                    <a:pt x="199665" y="284824"/>
                    <a:pt x="158726" y="325763"/>
                    <a:pt x="158726" y="376264"/>
                  </a:cubicBezTo>
                  <a:cubicBezTo>
                    <a:pt x="158726" y="426765"/>
                    <a:pt x="199665" y="467704"/>
                    <a:pt x="250166" y="467704"/>
                  </a:cubicBezTo>
                  <a:cubicBezTo>
                    <a:pt x="300667" y="467704"/>
                    <a:pt x="341606" y="426765"/>
                    <a:pt x="341606" y="376264"/>
                  </a:cubicBezTo>
                  <a:cubicBezTo>
                    <a:pt x="341606" y="325763"/>
                    <a:pt x="300667" y="284824"/>
                    <a:pt x="250166" y="284824"/>
                  </a:cubicBezTo>
                  <a:close/>
                  <a:moveTo>
                    <a:pt x="0" y="0"/>
                  </a:moveTo>
                  <a:lnTo>
                    <a:pt x="5421260" y="0"/>
                  </a:lnTo>
                  <a:lnTo>
                    <a:pt x="5421260" y="1454751"/>
                  </a:lnTo>
                  <a:lnTo>
                    <a:pt x="0" y="1454751"/>
                  </a:lnTo>
                  <a:close/>
                </a:path>
              </a:pathLst>
            </a:custGeom>
            <a:solidFill>
              <a:srgbClr val="F7DAB3"/>
            </a:solidFill>
            <a:ln w="12700" cap="flat" cmpd="sng" algn="ctr">
              <a:noFill/>
              <a:prstDash val="solid"/>
              <a:miter lim="800000"/>
            </a:ln>
            <a:effectLst/>
          </p:spPr>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14" name="TextBox 105"/>
            <p:cNvSpPr txBox="1">
              <a:spLocks/>
            </p:cNvSpPr>
            <p:nvPr/>
          </p:nvSpPr>
          <p:spPr>
            <a:xfrm>
              <a:off x="1879250" y="1617751"/>
              <a:ext cx="2436891" cy="32316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dirty="0" smtClean="0">
                  <a:ln>
                    <a:noFill/>
                  </a:ln>
                  <a:solidFill>
                    <a:srgbClr val="000000"/>
                  </a:solidFill>
                  <a:effectLst/>
                  <a:uLnTx/>
                  <a:uFillTx/>
                  <a:latin typeface="Arial" panose="020B0604020202020204"/>
                  <a:ea typeface="+mn-ea"/>
                  <a:cs typeface="+mn-cs"/>
                </a:rPr>
                <a:t>Offering </a:t>
              </a:r>
              <a:r>
                <a:rPr kumimoji="0" lang="en-US" sz="750" b="0" i="0" u="none" strike="noStrike" kern="1200" cap="none" spc="0" normalizeH="0" baseline="0" noProof="0" dirty="0">
                  <a:ln>
                    <a:noFill/>
                  </a:ln>
                  <a:solidFill>
                    <a:srgbClr val="000000"/>
                  </a:solidFill>
                  <a:effectLst/>
                  <a:uLnTx/>
                  <a:uFillTx/>
                  <a:latin typeface="Arial" panose="020B0604020202020204"/>
                  <a:ea typeface="+mn-ea"/>
                  <a:cs typeface="+mn-cs"/>
                </a:rPr>
                <a:t>a targeted or tailored set of new products to serve </a:t>
              </a:r>
              <a:r>
                <a:rPr kumimoji="0" lang="en-US" sz="750" b="0" i="0" u="none" strike="noStrike" kern="1200" cap="none" spc="0" normalizeH="0" baseline="0" noProof="0" dirty="0" smtClean="0">
                  <a:ln>
                    <a:noFill/>
                  </a:ln>
                  <a:solidFill>
                    <a:srgbClr val="000000"/>
                  </a:solidFill>
                  <a:effectLst/>
                  <a:uLnTx/>
                  <a:uFillTx/>
                  <a:latin typeface="Arial" panose="020B0604020202020204"/>
                  <a:ea typeface="+mn-ea"/>
                  <a:cs typeface="+mn-cs"/>
                </a:rPr>
                <a:t>customers </a:t>
              </a:r>
              <a:r>
                <a:rPr kumimoji="0" lang="en-US" sz="750" b="0" i="0" u="none" strike="noStrike" kern="1200" cap="none" spc="0" normalizeH="0" baseline="0" noProof="0" dirty="0">
                  <a:ln>
                    <a:noFill/>
                  </a:ln>
                  <a:solidFill>
                    <a:srgbClr val="000000"/>
                  </a:solidFill>
                  <a:effectLst/>
                  <a:uLnTx/>
                  <a:uFillTx/>
                  <a:latin typeface="Arial" panose="020B0604020202020204"/>
                  <a:ea typeface="+mn-ea"/>
                  <a:cs typeface="+mn-cs"/>
                </a:rPr>
                <a:t>and distribution </a:t>
              </a:r>
              <a:r>
                <a:rPr kumimoji="0" lang="en-US" sz="750" b="0" i="0" u="none" strike="noStrike" kern="1200" cap="none" spc="0" normalizeH="0" baseline="0" noProof="0" dirty="0" smtClean="0">
                  <a:ln>
                    <a:noFill/>
                  </a:ln>
                  <a:solidFill>
                    <a:srgbClr val="000000"/>
                  </a:solidFill>
                  <a:effectLst/>
                  <a:uLnTx/>
                  <a:uFillTx/>
                  <a:latin typeface="Arial" panose="020B0604020202020204"/>
                  <a:ea typeface="+mn-ea"/>
                  <a:cs typeface="+mn-cs"/>
                </a:rPr>
                <a:t>partners</a:t>
              </a:r>
              <a:endParaRPr kumimoji="0" lang="en-US" sz="7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 name="Freeform 14"/>
            <p:cNvSpPr/>
            <p:nvPr/>
          </p:nvSpPr>
          <p:spPr>
            <a:xfrm flipH="1">
              <a:off x="1338546" y="1266223"/>
              <a:ext cx="3149146" cy="321513"/>
            </a:xfrm>
            <a:custGeom>
              <a:avLst/>
              <a:gdLst>
                <a:gd name="connsiteX0" fmla="*/ 241201 w 5421260"/>
                <a:gd name="connsiteY0" fmla="*/ 988554 h 1454751"/>
                <a:gd name="connsiteX1" fmla="*/ 149761 w 5421260"/>
                <a:gd name="connsiteY1" fmla="*/ 1079994 h 1454751"/>
                <a:gd name="connsiteX2" fmla="*/ 241201 w 5421260"/>
                <a:gd name="connsiteY2" fmla="*/ 1171434 h 1454751"/>
                <a:gd name="connsiteX3" fmla="*/ 332641 w 5421260"/>
                <a:gd name="connsiteY3" fmla="*/ 1079994 h 1454751"/>
                <a:gd name="connsiteX4" fmla="*/ 241201 w 5421260"/>
                <a:gd name="connsiteY4" fmla="*/ 988554 h 1454751"/>
                <a:gd name="connsiteX5" fmla="*/ 250166 w 5421260"/>
                <a:gd name="connsiteY5" fmla="*/ 284824 h 1454751"/>
                <a:gd name="connsiteX6" fmla="*/ 158726 w 5421260"/>
                <a:gd name="connsiteY6" fmla="*/ 376264 h 1454751"/>
                <a:gd name="connsiteX7" fmla="*/ 250166 w 5421260"/>
                <a:gd name="connsiteY7" fmla="*/ 467704 h 1454751"/>
                <a:gd name="connsiteX8" fmla="*/ 341606 w 5421260"/>
                <a:gd name="connsiteY8" fmla="*/ 376264 h 1454751"/>
                <a:gd name="connsiteX9" fmla="*/ 250166 w 5421260"/>
                <a:gd name="connsiteY9" fmla="*/ 284824 h 1454751"/>
                <a:gd name="connsiteX10" fmla="*/ 0 w 5421260"/>
                <a:gd name="connsiteY10" fmla="*/ 0 h 1454751"/>
                <a:gd name="connsiteX11" fmla="*/ 5421260 w 5421260"/>
                <a:gd name="connsiteY11" fmla="*/ 0 h 1454751"/>
                <a:gd name="connsiteX12" fmla="*/ 5421260 w 5421260"/>
                <a:gd name="connsiteY12" fmla="*/ 1454751 h 1454751"/>
                <a:gd name="connsiteX13" fmla="*/ 0 w 5421260"/>
                <a:gd name="connsiteY13" fmla="*/ 1454751 h 145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21260" h="1454751">
                  <a:moveTo>
                    <a:pt x="241201" y="988554"/>
                  </a:moveTo>
                  <a:cubicBezTo>
                    <a:pt x="190700" y="988554"/>
                    <a:pt x="149761" y="1029493"/>
                    <a:pt x="149761" y="1079994"/>
                  </a:cubicBezTo>
                  <a:cubicBezTo>
                    <a:pt x="149761" y="1130495"/>
                    <a:pt x="190700" y="1171434"/>
                    <a:pt x="241201" y="1171434"/>
                  </a:cubicBezTo>
                  <a:cubicBezTo>
                    <a:pt x="291702" y="1171434"/>
                    <a:pt x="332641" y="1130495"/>
                    <a:pt x="332641" y="1079994"/>
                  </a:cubicBezTo>
                  <a:cubicBezTo>
                    <a:pt x="332641" y="1029493"/>
                    <a:pt x="291702" y="988554"/>
                    <a:pt x="241201" y="988554"/>
                  </a:cubicBezTo>
                  <a:close/>
                  <a:moveTo>
                    <a:pt x="250166" y="284824"/>
                  </a:moveTo>
                  <a:cubicBezTo>
                    <a:pt x="199665" y="284824"/>
                    <a:pt x="158726" y="325763"/>
                    <a:pt x="158726" y="376264"/>
                  </a:cubicBezTo>
                  <a:cubicBezTo>
                    <a:pt x="158726" y="426765"/>
                    <a:pt x="199665" y="467704"/>
                    <a:pt x="250166" y="467704"/>
                  </a:cubicBezTo>
                  <a:cubicBezTo>
                    <a:pt x="300667" y="467704"/>
                    <a:pt x="341606" y="426765"/>
                    <a:pt x="341606" y="376264"/>
                  </a:cubicBezTo>
                  <a:cubicBezTo>
                    <a:pt x="341606" y="325763"/>
                    <a:pt x="300667" y="284824"/>
                    <a:pt x="250166" y="284824"/>
                  </a:cubicBezTo>
                  <a:close/>
                  <a:moveTo>
                    <a:pt x="0" y="0"/>
                  </a:moveTo>
                  <a:lnTo>
                    <a:pt x="5421260" y="0"/>
                  </a:lnTo>
                  <a:lnTo>
                    <a:pt x="5421260" y="1454751"/>
                  </a:lnTo>
                  <a:lnTo>
                    <a:pt x="0" y="1454751"/>
                  </a:lnTo>
                  <a:close/>
                </a:path>
              </a:pathLst>
            </a:custGeom>
            <a:solidFill>
              <a:schemeClr val="accent3">
                <a:lumMod val="20000"/>
                <a:lumOff val="80000"/>
              </a:schemeClr>
            </a:solidFill>
            <a:ln w="12700" cap="flat" cmpd="sng" algn="ctr">
              <a:noFill/>
              <a:prstDash val="solid"/>
              <a:miter lim="800000"/>
            </a:ln>
            <a:effectLst/>
          </p:spPr>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16" name="TextBox 105"/>
            <p:cNvSpPr txBox="1">
              <a:spLocks/>
            </p:cNvSpPr>
            <p:nvPr/>
          </p:nvSpPr>
          <p:spPr>
            <a:xfrm>
              <a:off x="1825693" y="1266922"/>
              <a:ext cx="2376656" cy="32316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dirty="0" smtClean="0">
                  <a:ln>
                    <a:noFill/>
                  </a:ln>
                  <a:solidFill>
                    <a:srgbClr val="000000"/>
                  </a:solidFill>
                  <a:effectLst/>
                  <a:uLnTx/>
                  <a:uFillTx/>
                  <a:latin typeface="Arial" panose="020B0604020202020204"/>
                  <a:ea typeface="+mn-ea"/>
                  <a:cs typeface="+mn-cs"/>
                </a:rPr>
                <a:t>Simplicity</a:t>
              </a:r>
              <a:r>
                <a:rPr kumimoji="0" lang="en-US" sz="750" b="0" i="0" u="none" strike="noStrike" kern="1200" cap="none" spc="0" normalizeH="0" baseline="0" noProof="0" dirty="0">
                  <a:ln>
                    <a:noFill/>
                  </a:ln>
                  <a:solidFill>
                    <a:srgbClr val="000000"/>
                  </a:solidFill>
                  <a:effectLst/>
                  <a:uLnTx/>
                  <a:uFillTx/>
                  <a:latin typeface="Arial" panose="020B0604020202020204"/>
                  <a:ea typeface="+mn-ea"/>
                  <a:cs typeface="+mn-cs"/>
                </a:rPr>
                <a:t>, transparency and value in product design </a:t>
              </a:r>
              <a:endParaRPr kumimoji="0" lang="en-US" sz="750" b="0" i="0" u="none" strike="noStrike" kern="1200" cap="none" spc="0" normalizeH="0" baseline="0" noProof="0" dirty="0">
                <a:ln>
                  <a:noFill/>
                </a:ln>
                <a:solidFill>
                  <a:prstClr val="black">
                    <a:alpha val="55000"/>
                  </a:prstClr>
                </a:solidFill>
                <a:effectLst/>
                <a:uLnTx/>
                <a:uFillTx/>
                <a:latin typeface="Calibri"/>
                <a:ea typeface="Cambria Math" panose="02040503050406030204" pitchFamily="18" charset="0"/>
                <a:cs typeface="Arial" panose="020B0604020202020204" pitchFamily="34" charset="0"/>
              </a:endParaRPr>
            </a:p>
          </p:txBody>
        </p:sp>
        <p:sp>
          <p:nvSpPr>
            <p:cNvPr id="17" name="Round Same Side Corner Rectangle 16"/>
            <p:cNvSpPr/>
            <p:nvPr/>
          </p:nvSpPr>
          <p:spPr>
            <a:xfrm>
              <a:off x="1375074" y="979580"/>
              <a:ext cx="3112618" cy="280556"/>
            </a:xfrm>
            <a:prstGeom prst="round2Same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smtClean="0">
                  <a:ln>
                    <a:noFill/>
                  </a:ln>
                  <a:solidFill>
                    <a:srgbClr val="FFFFFF"/>
                  </a:solidFill>
                  <a:effectLst/>
                  <a:uLnTx/>
                  <a:uFillTx/>
                  <a:latin typeface="Arial" panose="020B0604020202020204"/>
                  <a:ea typeface="+mn-ea"/>
                  <a:cs typeface="+mn-cs"/>
                </a:rPr>
                <a:t>Strategic Priorities</a:t>
              </a:r>
              <a:endParaRPr kumimoji="0" lang="en-US" sz="105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8" name="Group 17"/>
            <p:cNvGrpSpPr/>
            <p:nvPr/>
          </p:nvGrpSpPr>
          <p:grpSpPr>
            <a:xfrm>
              <a:off x="400120" y="1253083"/>
              <a:ext cx="1647782" cy="1736117"/>
              <a:chOff x="565335" y="1329569"/>
              <a:chExt cx="2197043" cy="2314822"/>
            </a:xfrm>
          </p:grpSpPr>
          <p:sp>
            <p:nvSpPr>
              <p:cNvPr id="25" name="Rectangle 54"/>
              <p:cNvSpPr/>
              <p:nvPr/>
            </p:nvSpPr>
            <p:spPr>
              <a:xfrm rot="19050860">
                <a:off x="920161" y="1554997"/>
                <a:ext cx="1842217" cy="1868997"/>
              </a:xfrm>
              <a:custGeom>
                <a:avLst/>
                <a:gdLst>
                  <a:gd name="connsiteX0" fmla="*/ 0 w 1181100"/>
                  <a:gd name="connsiteY0" fmla="*/ 0 h 3952875"/>
                  <a:gd name="connsiteX1" fmla="*/ 1181100 w 1181100"/>
                  <a:gd name="connsiteY1" fmla="*/ 0 h 3952875"/>
                  <a:gd name="connsiteX2" fmla="*/ 1181100 w 1181100"/>
                  <a:gd name="connsiteY2" fmla="*/ 3952875 h 3952875"/>
                  <a:gd name="connsiteX3" fmla="*/ 0 w 1181100"/>
                  <a:gd name="connsiteY3" fmla="*/ 3952875 h 3952875"/>
                  <a:gd name="connsiteX4" fmla="*/ 0 w 1181100"/>
                  <a:gd name="connsiteY4" fmla="*/ 0 h 3952875"/>
                  <a:gd name="connsiteX0" fmla="*/ 0 w 1181100"/>
                  <a:gd name="connsiteY0" fmla="*/ 0 h 3952875"/>
                  <a:gd name="connsiteX1" fmla="*/ 266700 w 1181100"/>
                  <a:gd name="connsiteY1" fmla="*/ 247650 h 3952875"/>
                  <a:gd name="connsiteX2" fmla="*/ 1181100 w 1181100"/>
                  <a:gd name="connsiteY2" fmla="*/ 3952875 h 3952875"/>
                  <a:gd name="connsiteX3" fmla="*/ 0 w 1181100"/>
                  <a:gd name="connsiteY3" fmla="*/ 3952875 h 3952875"/>
                  <a:gd name="connsiteX4" fmla="*/ 0 w 1181100"/>
                  <a:gd name="connsiteY4" fmla="*/ 0 h 3952875"/>
                  <a:gd name="connsiteX0" fmla="*/ 0 w 1181100"/>
                  <a:gd name="connsiteY0" fmla="*/ 0 h 3952875"/>
                  <a:gd name="connsiteX1" fmla="*/ 266700 w 1181100"/>
                  <a:gd name="connsiteY1" fmla="*/ 247650 h 3952875"/>
                  <a:gd name="connsiteX2" fmla="*/ 1181100 w 1181100"/>
                  <a:gd name="connsiteY2" fmla="*/ 3952875 h 3952875"/>
                  <a:gd name="connsiteX3" fmla="*/ 0 w 1181100"/>
                  <a:gd name="connsiteY3" fmla="*/ 3952875 h 3952875"/>
                  <a:gd name="connsiteX4" fmla="*/ 0 w 1181100"/>
                  <a:gd name="connsiteY4" fmla="*/ 0 h 3952875"/>
                  <a:gd name="connsiteX0" fmla="*/ 0 w 1181100"/>
                  <a:gd name="connsiteY0" fmla="*/ 0 h 3952875"/>
                  <a:gd name="connsiteX1" fmla="*/ 266700 w 1181100"/>
                  <a:gd name="connsiteY1" fmla="*/ 285750 h 3952875"/>
                  <a:gd name="connsiteX2" fmla="*/ 1181100 w 1181100"/>
                  <a:gd name="connsiteY2" fmla="*/ 3952875 h 3952875"/>
                  <a:gd name="connsiteX3" fmla="*/ 0 w 1181100"/>
                  <a:gd name="connsiteY3" fmla="*/ 3952875 h 3952875"/>
                  <a:gd name="connsiteX4" fmla="*/ 0 w 1181100"/>
                  <a:gd name="connsiteY4" fmla="*/ 0 h 3952875"/>
                  <a:gd name="connsiteX0" fmla="*/ 0 w 1200150"/>
                  <a:gd name="connsiteY0" fmla="*/ 0 h 3962400"/>
                  <a:gd name="connsiteX1" fmla="*/ 285750 w 1200150"/>
                  <a:gd name="connsiteY1" fmla="*/ 295275 h 3962400"/>
                  <a:gd name="connsiteX2" fmla="*/ 1200150 w 1200150"/>
                  <a:gd name="connsiteY2" fmla="*/ 3962400 h 3962400"/>
                  <a:gd name="connsiteX3" fmla="*/ 19050 w 1200150"/>
                  <a:gd name="connsiteY3" fmla="*/ 3962400 h 3962400"/>
                  <a:gd name="connsiteX4" fmla="*/ 0 w 1200150"/>
                  <a:gd name="connsiteY4" fmla="*/ 0 h 3962400"/>
                  <a:gd name="connsiteX0" fmla="*/ 3657600 w 4857750"/>
                  <a:gd name="connsiteY0" fmla="*/ 0 h 3962400"/>
                  <a:gd name="connsiteX1" fmla="*/ 3943350 w 4857750"/>
                  <a:gd name="connsiteY1" fmla="*/ 295275 h 3962400"/>
                  <a:gd name="connsiteX2" fmla="*/ 4857750 w 4857750"/>
                  <a:gd name="connsiteY2" fmla="*/ 3962400 h 3962400"/>
                  <a:gd name="connsiteX3" fmla="*/ 0 w 4857750"/>
                  <a:gd name="connsiteY3" fmla="*/ 3667125 h 3962400"/>
                  <a:gd name="connsiteX4" fmla="*/ 3657600 w 4857750"/>
                  <a:gd name="connsiteY4" fmla="*/ 0 h 3962400"/>
                  <a:gd name="connsiteX0" fmla="*/ 3657600 w 4857750"/>
                  <a:gd name="connsiteY0" fmla="*/ 0 h 3962400"/>
                  <a:gd name="connsiteX1" fmla="*/ 3943350 w 4857750"/>
                  <a:gd name="connsiteY1" fmla="*/ 295275 h 3962400"/>
                  <a:gd name="connsiteX2" fmla="*/ 4857750 w 4857750"/>
                  <a:gd name="connsiteY2" fmla="*/ 3962400 h 3962400"/>
                  <a:gd name="connsiteX3" fmla="*/ 0 w 4857750"/>
                  <a:gd name="connsiteY3" fmla="*/ 3667125 h 3962400"/>
                  <a:gd name="connsiteX4" fmla="*/ 3657600 w 4857750"/>
                  <a:gd name="connsiteY4" fmla="*/ 0 h 3962400"/>
                  <a:gd name="connsiteX0" fmla="*/ 3609975 w 4810125"/>
                  <a:gd name="connsiteY0" fmla="*/ 0 h 3962400"/>
                  <a:gd name="connsiteX1" fmla="*/ 3895725 w 4810125"/>
                  <a:gd name="connsiteY1" fmla="*/ 295275 h 3962400"/>
                  <a:gd name="connsiteX2" fmla="*/ 4810125 w 4810125"/>
                  <a:gd name="connsiteY2" fmla="*/ 3962400 h 3962400"/>
                  <a:gd name="connsiteX3" fmla="*/ 0 w 4810125"/>
                  <a:gd name="connsiteY3" fmla="*/ 3686175 h 3962400"/>
                  <a:gd name="connsiteX4" fmla="*/ 3609975 w 4810125"/>
                  <a:gd name="connsiteY4" fmla="*/ 0 h 3962400"/>
                  <a:gd name="connsiteX0" fmla="*/ 3609975 w 3961434"/>
                  <a:gd name="connsiteY0" fmla="*/ 0 h 4105275"/>
                  <a:gd name="connsiteX1" fmla="*/ 3895725 w 3961434"/>
                  <a:gd name="connsiteY1" fmla="*/ 295275 h 4105275"/>
                  <a:gd name="connsiteX2" fmla="*/ 1419225 w 3961434"/>
                  <a:gd name="connsiteY2" fmla="*/ 4105275 h 4105275"/>
                  <a:gd name="connsiteX3" fmla="*/ 0 w 3961434"/>
                  <a:gd name="connsiteY3" fmla="*/ 3686175 h 4105275"/>
                  <a:gd name="connsiteX4" fmla="*/ 3609975 w 3961434"/>
                  <a:gd name="connsiteY4" fmla="*/ 0 h 4105275"/>
                  <a:gd name="connsiteX0" fmla="*/ 3609975 w 3961434"/>
                  <a:gd name="connsiteY0" fmla="*/ 0 h 4105275"/>
                  <a:gd name="connsiteX1" fmla="*/ 3895725 w 3961434"/>
                  <a:gd name="connsiteY1" fmla="*/ 295275 h 4105275"/>
                  <a:gd name="connsiteX2" fmla="*/ 1419225 w 3961434"/>
                  <a:gd name="connsiteY2" fmla="*/ 4105275 h 4105275"/>
                  <a:gd name="connsiteX3" fmla="*/ 0 w 3961434"/>
                  <a:gd name="connsiteY3" fmla="*/ 3686175 h 4105275"/>
                  <a:gd name="connsiteX4" fmla="*/ 3609975 w 3961434"/>
                  <a:gd name="connsiteY4" fmla="*/ 0 h 4105275"/>
                  <a:gd name="connsiteX0" fmla="*/ 3609975 w 3962633"/>
                  <a:gd name="connsiteY0" fmla="*/ 0 h 3886200"/>
                  <a:gd name="connsiteX1" fmla="*/ 3895725 w 3962633"/>
                  <a:gd name="connsiteY1" fmla="*/ 295275 h 3886200"/>
                  <a:gd name="connsiteX2" fmla="*/ 1485900 w 3962633"/>
                  <a:gd name="connsiteY2" fmla="*/ 3886200 h 3886200"/>
                  <a:gd name="connsiteX3" fmla="*/ 0 w 3962633"/>
                  <a:gd name="connsiteY3" fmla="*/ 3686175 h 3886200"/>
                  <a:gd name="connsiteX4" fmla="*/ 3609975 w 3962633"/>
                  <a:gd name="connsiteY4" fmla="*/ 0 h 3886200"/>
                  <a:gd name="connsiteX0" fmla="*/ 3706435 w 4051244"/>
                  <a:gd name="connsiteY0" fmla="*/ 0 h 4114800"/>
                  <a:gd name="connsiteX1" fmla="*/ 3992185 w 4051244"/>
                  <a:gd name="connsiteY1" fmla="*/ 295275 h 4114800"/>
                  <a:gd name="connsiteX2" fmla="*/ 1096585 w 4051244"/>
                  <a:gd name="connsiteY2" fmla="*/ 4114800 h 4114800"/>
                  <a:gd name="connsiteX3" fmla="*/ 96460 w 4051244"/>
                  <a:gd name="connsiteY3" fmla="*/ 3686175 h 4114800"/>
                  <a:gd name="connsiteX4" fmla="*/ 3706435 w 4051244"/>
                  <a:gd name="connsiteY4" fmla="*/ 0 h 4114800"/>
                  <a:gd name="connsiteX0" fmla="*/ 3609975 w 3954784"/>
                  <a:gd name="connsiteY0" fmla="*/ 0 h 4114800"/>
                  <a:gd name="connsiteX1" fmla="*/ 3895725 w 3954784"/>
                  <a:gd name="connsiteY1" fmla="*/ 295275 h 4114800"/>
                  <a:gd name="connsiteX2" fmla="*/ 1000125 w 3954784"/>
                  <a:gd name="connsiteY2" fmla="*/ 4114800 h 4114800"/>
                  <a:gd name="connsiteX3" fmla="*/ 0 w 3954784"/>
                  <a:gd name="connsiteY3" fmla="*/ 3686175 h 4114800"/>
                  <a:gd name="connsiteX4" fmla="*/ 3609975 w 3954784"/>
                  <a:gd name="connsiteY4" fmla="*/ 0 h 4114800"/>
                  <a:gd name="connsiteX0" fmla="*/ 3609975 w 3953070"/>
                  <a:gd name="connsiteY0" fmla="*/ 0 h 3990975"/>
                  <a:gd name="connsiteX1" fmla="*/ 3895725 w 3953070"/>
                  <a:gd name="connsiteY1" fmla="*/ 295275 h 3990975"/>
                  <a:gd name="connsiteX2" fmla="*/ 876300 w 3953070"/>
                  <a:gd name="connsiteY2" fmla="*/ 3990975 h 3990975"/>
                  <a:gd name="connsiteX3" fmla="*/ 0 w 3953070"/>
                  <a:gd name="connsiteY3" fmla="*/ 3686175 h 3990975"/>
                  <a:gd name="connsiteX4" fmla="*/ 3609975 w 3953070"/>
                  <a:gd name="connsiteY4" fmla="*/ 0 h 3990975"/>
                  <a:gd name="connsiteX0" fmla="*/ 3609975 w 3953980"/>
                  <a:gd name="connsiteY0" fmla="*/ 0 h 4114800"/>
                  <a:gd name="connsiteX1" fmla="*/ 3895725 w 3953980"/>
                  <a:gd name="connsiteY1" fmla="*/ 295275 h 4114800"/>
                  <a:gd name="connsiteX2" fmla="*/ 942975 w 3953980"/>
                  <a:gd name="connsiteY2" fmla="*/ 4114800 h 4114800"/>
                  <a:gd name="connsiteX3" fmla="*/ 0 w 3953980"/>
                  <a:gd name="connsiteY3" fmla="*/ 3686175 h 4114800"/>
                  <a:gd name="connsiteX4" fmla="*/ 3609975 w 3953980"/>
                  <a:gd name="connsiteY4" fmla="*/ 0 h 4114800"/>
                  <a:gd name="connsiteX0" fmla="*/ 3609975 w 4015579"/>
                  <a:gd name="connsiteY0" fmla="*/ 0 h 4122507"/>
                  <a:gd name="connsiteX1" fmla="*/ 3895725 w 4015579"/>
                  <a:gd name="connsiteY1" fmla="*/ 295275 h 4122507"/>
                  <a:gd name="connsiteX2" fmla="*/ 942975 w 4015579"/>
                  <a:gd name="connsiteY2" fmla="*/ 4114800 h 4122507"/>
                  <a:gd name="connsiteX3" fmla="*/ 0 w 4015579"/>
                  <a:gd name="connsiteY3" fmla="*/ 3686175 h 4122507"/>
                  <a:gd name="connsiteX4" fmla="*/ 3609975 w 4015579"/>
                  <a:gd name="connsiteY4" fmla="*/ 0 h 4122507"/>
                  <a:gd name="connsiteX0" fmla="*/ 3609975 w 4025754"/>
                  <a:gd name="connsiteY0" fmla="*/ 0 h 4114800"/>
                  <a:gd name="connsiteX1" fmla="*/ 3895725 w 4025754"/>
                  <a:gd name="connsiteY1" fmla="*/ 295275 h 4114800"/>
                  <a:gd name="connsiteX2" fmla="*/ 942975 w 4025754"/>
                  <a:gd name="connsiteY2" fmla="*/ 4114800 h 4114800"/>
                  <a:gd name="connsiteX3" fmla="*/ 0 w 4025754"/>
                  <a:gd name="connsiteY3" fmla="*/ 3686175 h 4114800"/>
                  <a:gd name="connsiteX4" fmla="*/ 3609975 w 4025754"/>
                  <a:gd name="connsiteY4" fmla="*/ 0 h 4114800"/>
                  <a:gd name="connsiteX0" fmla="*/ 3609975 w 4025754"/>
                  <a:gd name="connsiteY0" fmla="*/ 0 h 4114800"/>
                  <a:gd name="connsiteX1" fmla="*/ 3895725 w 4025754"/>
                  <a:gd name="connsiteY1" fmla="*/ 295275 h 4114800"/>
                  <a:gd name="connsiteX2" fmla="*/ 942975 w 4025754"/>
                  <a:gd name="connsiteY2" fmla="*/ 4114800 h 4114800"/>
                  <a:gd name="connsiteX3" fmla="*/ 0 w 4025754"/>
                  <a:gd name="connsiteY3" fmla="*/ 3686175 h 4114800"/>
                  <a:gd name="connsiteX4" fmla="*/ 3609975 w 4025754"/>
                  <a:gd name="connsiteY4" fmla="*/ 0 h 4114800"/>
                  <a:gd name="connsiteX0" fmla="*/ 3609975 w 4025754"/>
                  <a:gd name="connsiteY0" fmla="*/ 0 h 4114800"/>
                  <a:gd name="connsiteX1" fmla="*/ 3895725 w 4025754"/>
                  <a:gd name="connsiteY1" fmla="*/ 295275 h 4114800"/>
                  <a:gd name="connsiteX2" fmla="*/ 942975 w 4025754"/>
                  <a:gd name="connsiteY2" fmla="*/ 4114800 h 4114800"/>
                  <a:gd name="connsiteX3" fmla="*/ 0 w 4025754"/>
                  <a:gd name="connsiteY3" fmla="*/ 3686175 h 4114800"/>
                  <a:gd name="connsiteX4" fmla="*/ 3609975 w 4025754"/>
                  <a:gd name="connsiteY4" fmla="*/ 0 h 4114800"/>
                  <a:gd name="connsiteX0" fmla="*/ 3609975 w 4010545"/>
                  <a:gd name="connsiteY0" fmla="*/ 0 h 4124325"/>
                  <a:gd name="connsiteX1" fmla="*/ 3895725 w 4010545"/>
                  <a:gd name="connsiteY1" fmla="*/ 295275 h 4124325"/>
                  <a:gd name="connsiteX2" fmla="*/ 676275 w 4010545"/>
                  <a:gd name="connsiteY2" fmla="*/ 4124325 h 4124325"/>
                  <a:gd name="connsiteX3" fmla="*/ 0 w 4010545"/>
                  <a:gd name="connsiteY3" fmla="*/ 3686175 h 4124325"/>
                  <a:gd name="connsiteX4" fmla="*/ 3609975 w 4010545"/>
                  <a:gd name="connsiteY4" fmla="*/ 0 h 4124325"/>
                  <a:gd name="connsiteX0" fmla="*/ 3609975 w 4010545"/>
                  <a:gd name="connsiteY0" fmla="*/ 0 h 4124325"/>
                  <a:gd name="connsiteX1" fmla="*/ 3895725 w 4010545"/>
                  <a:gd name="connsiteY1" fmla="*/ 295275 h 4124325"/>
                  <a:gd name="connsiteX2" fmla="*/ 676275 w 4010545"/>
                  <a:gd name="connsiteY2" fmla="*/ 4124325 h 4124325"/>
                  <a:gd name="connsiteX3" fmla="*/ 0 w 4010545"/>
                  <a:gd name="connsiteY3" fmla="*/ 3686175 h 4124325"/>
                  <a:gd name="connsiteX4" fmla="*/ 3609975 w 4010545"/>
                  <a:gd name="connsiteY4" fmla="*/ 0 h 4124325"/>
                  <a:gd name="connsiteX0" fmla="*/ 3609975 w 4010545"/>
                  <a:gd name="connsiteY0" fmla="*/ 0 h 4124325"/>
                  <a:gd name="connsiteX1" fmla="*/ 3895725 w 4010545"/>
                  <a:gd name="connsiteY1" fmla="*/ 295275 h 4124325"/>
                  <a:gd name="connsiteX2" fmla="*/ 676275 w 4010545"/>
                  <a:gd name="connsiteY2" fmla="*/ 4124325 h 4124325"/>
                  <a:gd name="connsiteX3" fmla="*/ 0 w 4010545"/>
                  <a:gd name="connsiteY3" fmla="*/ 3686175 h 4124325"/>
                  <a:gd name="connsiteX4" fmla="*/ 3609975 w 4010545"/>
                  <a:gd name="connsiteY4" fmla="*/ 0 h 4124325"/>
                  <a:gd name="connsiteX0" fmla="*/ 3609975 w 4004130"/>
                  <a:gd name="connsiteY0" fmla="*/ 0 h 4133850"/>
                  <a:gd name="connsiteX1" fmla="*/ 3895725 w 4004130"/>
                  <a:gd name="connsiteY1" fmla="*/ 295275 h 4133850"/>
                  <a:gd name="connsiteX2" fmla="*/ 542925 w 4004130"/>
                  <a:gd name="connsiteY2" fmla="*/ 4133850 h 4133850"/>
                  <a:gd name="connsiteX3" fmla="*/ 0 w 4004130"/>
                  <a:gd name="connsiteY3" fmla="*/ 3686175 h 4133850"/>
                  <a:gd name="connsiteX4" fmla="*/ 3609975 w 4004130"/>
                  <a:gd name="connsiteY4" fmla="*/ 0 h 4133850"/>
                  <a:gd name="connsiteX0" fmla="*/ 3609975 w 3999547"/>
                  <a:gd name="connsiteY0" fmla="*/ 0 h 4067175"/>
                  <a:gd name="connsiteX1" fmla="*/ 3895725 w 3999547"/>
                  <a:gd name="connsiteY1" fmla="*/ 295275 h 4067175"/>
                  <a:gd name="connsiteX2" fmla="*/ 438150 w 3999547"/>
                  <a:gd name="connsiteY2" fmla="*/ 4067175 h 4067175"/>
                  <a:gd name="connsiteX3" fmla="*/ 0 w 3999547"/>
                  <a:gd name="connsiteY3" fmla="*/ 3686175 h 4067175"/>
                  <a:gd name="connsiteX4" fmla="*/ 3609975 w 3999547"/>
                  <a:gd name="connsiteY4" fmla="*/ 0 h 4067175"/>
                  <a:gd name="connsiteX0" fmla="*/ 3609975 w 3999547"/>
                  <a:gd name="connsiteY0" fmla="*/ 0 h 4067175"/>
                  <a:gd name="connsiteX1" fmla="*/ 3895725 w 3999547"/>
                  <a:gd name="connsiteY1" fmla="*/ 295275 h 4067175"/>
                  <a:gd name="connsiteX2" fmla="*/ 438150 w 3999547"/>
                  <a:gd name="connsiteY2" fmla="*/ 4067175 h 4067175"/>
                  <a:gd name="connsiteX3" fmla="*/ 0 w 3999547"/>
                  <a:gd name="connsiteY3" fmla="*/ 3686175 h 4067175"/>
                  <a:gd name="connsiteX4" fmla="*/ 3609975 w 3999547"/>
                  <a:gd name="connsiteY4" fmla="*/ 0 h 4067175"/>
                  <a:gd name="connsiteX0" fmla="*/ 3609975 w 3999547"/>
                  <a:gd name="connsiteY0" fmla="*/ 0 h 4067175"/>
                  <a:gd name="connsiteX1" fmla="*/ 3895725 w 3999547"/>
                  <a:gd name="connsiteY1" fmla="*/ 295275 h 4067175"/>
                  <a:gd name="connsiteX2" fmla="*/ 438150 w 3999547"/>
                  <a:gd name="connsiteY2" fmla="*/ 4067175 h 4067175"/>
                  <a:gd name="connsiteX3" fmla="*/ 0 w 3999547"/>
                  <a:gd name="connsiteY3" fmla="*/ 3686175 h 4067175"/>
                  <a:gd name="connsiteX4" fmla="*/ 3609975 w 3999547"/>
                  <a:gd name="connsiteY4" fmla="*/ 0 h 4067175"/>
                  <a:gd name="connsiteX0" fmla="*/ 3609975 w 3999547"/>
                  <a:gd name="connsiteY0" fmla="*/ 0 h 4067175"/>
                  <a:gd name="connsiteX1" fmla="*/ 3895725 w 3999547"/>
                  <a:gd name="connsiteY1" fmla="*/ 295275 h 4067175"/>
                  <a:gd name="connsiteX2" fmla="*/ 438150 w 3999547"/>
                  <a:gd name="connsiteY2" fmla="*/ 4067175 h 4067175"/>
                  <a:gd name="connsiteX3" fmla="*/ 0 w 3999547"/>
                  <a:gd name="connsiteY3" fmla="*/ 3686175 h 4067175"/>
                  <a:gd name="connsiteX4" fmla="*/ 3609975 w 3999547"/>
                  <a:gd name="connsiteY4" fmla="*/ 0 h 4067175"/>
                  <a:gd name="connsiteX0" fmla="*/ 3609975 w 3997970"/>
                  <a:gd name="connsiteY0" fmla="*/ 0 h 4019550"/>
                  <a:gd name="connsiteX1" fmla="*/ 3895725 w 3997970"/>
                  <a:gd name="connsiteY1" fmla="*/ 295275 h 4019550"/>
                  <a:gd name="connsiteX2" fmla="*/ 400050 w 3997970"/>
                  <a:gd name="connsiteY2" fmla="*/ 4019550 h 4019550"/>
                  <a:gd name="connsiteX3" fmla="*/ 0 w 3997970"/>
                  <a:gd name="connsiteY3" fmla="*/ 3686175 h 4019550"/>
                  <a:gd name="connsiteX4" fmla="*/ 3609975 w 3997970"/>
                  <a:gd name="connsiteY4" fmla="*/ 0 h 4019550"/>
                  <a:gd name="connsiteX0" fmla="*/ 3609975 w 3997970"/>
                  <a:gd name="connsiteY0" fmla="*/ 0 h 4019550"/>
                  <a:gd name="connsiteX1" fmla="*/ 3895725 w 3997970"/>
                  <a:gd name="connsiteY1" fmla="*/ 295275 h 4019550"/>
                  <a:gd name="connsiteX2" fmla="*/ 400050 w 3997970"/>
                  <a:gd name="connsiteY2" fmla="*/ 4019550 h 4019550"/>
                  <a:gd name="connsiteX3" fmla="*/ 0 w 3997970"/>
                  <a:gd name="connsiteY3" fmla="*/ 3686175 h 4019550"/>
                  <a:gd name="connsiteX4" fmla="*/ 3609975 w 3997970"/>
                  <a:gd name="connsiteY4" fmla="*/ 0 h 4019550"/>
                  <a:gd name="connsiteX0" fmla="*/ 3609975 w 3997970"/>
                  <a:gd name="connsiteY0" fmla="*/ 0 h 4019550"/>
                  <a:gd name="connsiteX1" fmla="*/ 3895725 w 3997970"/>
                  <a:gd name="connsiteY1" fmla="*/ 295275 h 4019550"/>
                  <a:gd name="connsiteX2" fmla="*/ 400050 w 3997970"/>
                  <a:gd name="connsiteY2" fmla="*/ 4019550 h 4019550"/>
                  <a:gd name="connsiteX3" fmla="*/ 0 w 3997970"/>
                  <a:gd name="connsiteY3" fmla="*/ 3686175 h 4019550"/>
                  <a:gd name="connsiteX4" fmla="*/ 3609975 w 3997970"/>
                  <a:gd name="connsiteY4" fmla="*/ 0 h 4019550"/>
                  <a:gd name="connsiteX0" fmla="*/ 3609975 w 4002420"/>
                  <a:gd name="connsiteY0" fmla="*/ 0 h 4048125"/>
                  <a:gd name="connsiteX1" fmla="*/ 3895725 w 4002420"/>
                  <a:gd name="connsiteY1" fmla="*/ 295275 h 4048125"/>
                  <a:gd name="connsiteX2" fmla="*/ 504825 w 4002420"/>
                  <a:gd name="connsiteY2" fmla="*/ 4048125 h 4048125"/>
                  <a:gd name="connsiteX3" fmla="*/ 0 w 4002420"/>
                  <a:gd name="connsiteY3" fmla="*/ 3686175 h 4048125"/>
                  <a:gd name="connsiteX4" fmla="*/ 3609975 w 4002420"/>
                  <a:gd name="connsiteY4" fmla="*/ 0 h 4048125"/>
                  <a:gd name="connsiteX0" fmla="*/ 3609975 w 3997051"/>
                  <a:gd name="connsiteY0" fmla="*/ 0 h 4123019"/>
                  <a:gd name="connsiteX1" fmla="*/ 3895725 w 3997051"/>
                  <a:gd name="connsiteY1" fmla="*/ 295275 h 4123019"/>
                  <a:gd name="connsiteX2" fmla="*/ 504825 w 3997051"/>
                  <a:gd name="connsiteY2" fmla="*/ 4048125 h 4123019"/>
                  <a:gd name="connsiteX3" fmla="*/ 0 w 3997051"/>
                  <a:gd name="connsiteY3" fmla="*/ 3686175 h 4123019"/>
                  <a:gd name="connsiteX4" fmla="*/ 3609975 w 3997051"/>
                  <a:gd name="connsiteY4" fmla="*/ 0 h 4123019"/>
                  <a:gd name="connsiteX0" fmla="*/ 3609975 w 3997051"/>
                  <a:gd name="connsiteY0" fmla="*/ 0 h 4123019"/>
                  <a:gd name="connsiteX1" fmla="*/ 3895725 w 3997051"/>
                  <a:gd name="connsiteY1" fmla="*/ 295275 h 4123019"/>
                  <a:gd name="connsiteX2" fmla="*/ 504825 w 3997051"/>
                  <a:gd name="connsiteY2" fmla="*/ 4048125 h 4123019"/>
                  <a:gd name="connsiteX3" fmla="*/ 0 w 3997051"/>
                  <a:gd name="connsiteY3" fmla="*/ 3686175 h 4123019"/>
                  <a:gd name="connsiteX4" fmla="*/ 3609975 w 3997051"/>
                  <a:gd name="connsiteY4" fmla="*/ 0 h 4123019"/>
                  <a:gd name="connsiteX0" fmla="*/ 3609975 w 3998534"/>
                  <a:gd name="connsiteY0" fmla="*/ 0 h 4102677"/>
                  <a:gd name="connsiteX1" fmla="*/ 3895725 w 3998534"/>
                  <a:gd name="connsiteY1" fmla="*/ 295275 h 4102677"/>
                  <a:gd name="connsiteX2" fmla="*/ 504825 w 3998534"/>
                  <a:gd name="connsiteY2" fmla="*/ 4048125 h 4102677"/>
                  <a:gd name="connsiteX3" fmla="*/ 0 w 3998534"/>
                  <a:gd name="connsiteY3" fmla="*/ 3686175 h 4102677"/>
                  <a:gd name="connsiteX4" fmla="*/ 3609975 w 3998534"/>
                  <a:gd name="connsiteY4" fmla="*/ 0 h 4102677"/>
                  <a:gd name="connsiteX0" fmla="*/ 3609975 w 4001227"/>
                  <a:gd name="connsiteY0" fmla="*/ 0 h 4107989"/>
                  <a:gd name="connsiteX1" fmla="*/ 3895725 w 4001227"/>
                  <a:gd name="connsiteY1" fmla="*/ 295275 h 4107989"/>
                  <a:gd name="connsiteX2" fmla="*/ 504825 w 4001227"/>
                  <a:gd name="connsiteY2" fmla="*/ 4048125 h 4107989"/>
                  <a:gd name="connsiteX3" fmla="*/ 0 w 4001227"/>
                  <a:gd name="connsiteY3" fmla="*/ 3686175 h 4107989"/>
                  <a:gd name="connsiteX4" fmla="*/ 3609975 w 4001227"/>
                  <a:gd name="connsiteY4" fmla="*/ 0 h 4107989"/>
                  <a:gd name="connsiteX0" fmla="*/ 3609975 w 4028578"/>
                  <a:gd name="connsiteY0" fmla="*/ 0 h 4108581"/>
                  <a:gd name="connsiteX1" fmla="*/ 3924300 w 4028578"/>
                  <a:gd name="connsiteY1" fmla="*/ 333375 h 4108581"/>
                  <a:gd name="connsiteX2" fmla="*/ 504825 w 4028578"/>
                  <a:gd name="connsiteY2" fmla="*/ 4048125 h 4108581"/>
                  <a:gd name="connsiteX3" fmla="*/ 0 w 4028578"/>
                  <a:gd name="connsiteY3" fmla="*/ 3686175 h 4108581"/>
                  <a:gd name="connsiteX4" fmla="*/ 3609975 w 4028578"/>
                  <a:gd name="connsiteY4" fmla="*/ 0 h 4108581"/>
                  <a:gd name="connsiteX0" fmla="*/ 3609975 w 4083301"/>
                  <a:gd name="connsiteY0" fmla="*/ 0 h 4114466"/>
                  <a:gd name="connsiteX1" fmla="*/ 3924300 w 4083301"/>
                  <a:gd name="connsiteY1" fmla="*/ 333375 h 4114466"/>
                  <a:gd name="connsiteX2" fmla="*/ 504825 w 4083301"/>
                  <a:gd name="connsiteY2" fmla="*/ 4048125 h 4114466"/>
                  <a:gd name="connsiteX3" fmla="*/ 0 w 4083301"/>
                  <a:gd name="connsiteY3" fmla="*/ 3686175 h 4114466"/>
                  <a:gd name="connsiteX4" fmla="*/ 3609975 w 4083301"/>
                  <a:gd name="connsiteY4" fmla="*/ 0 h 4114466"/>
                  <a:gd name="connsiteX0" fmla="*/ 3609975 w 4076428"/>
                  <a:gd name="connsiteY0" fmla="*/ 0 h 4104917"/>
                  <a:gd name="connsiteX1" fmla="*/ 3924300 w 4076428"/>
                  <a:gd name="connsiteY1" fmla="*/ 333375 h 4104917"/>
                  <a:gd name="connsiteX2" fmla="*/ 504825 w 4076428"/>
                  <a:gd name="connsiteY2" fmla="*/ 4048125 h 4104917"/>
                  <a:gd name="connsiteX3" fmla="*/ 0 w 4076428"/>
                  <a:gd name="connsiteY3" fmla="*/ 3686175 h 4104917"/>
                  <a:gd name="connsiteX4" fmla="*/ 3609975 w 4076428"/>
                  <a:gd name="connsiteY4" fmla="*/ 0 h 4104917"/>
                  <a:gd name="connsiteX0" fmla="*/ 3609975 w 4078821"/>
                  <a:gd name="connsiteY0" fmla="*/ 0 h 4104917"/>
                  <a:gd name="connsiteX1" fmla="*/ 3924300 w 4078821"/>
                  <a:gd name="connsiteY1" fmla="*/ 333375 h 4104917"/>
                  <a:gd name="connsiteX2" fmla="*/ 504825 w 4078821"/>
                  <a:gd name="connsiteY2" fmla="*/ 4048125 h 4104917"/>
                  <a:gd name="connsiteX3" fmla="*/ 0 w 4078821"/>
                  <a:gd name="connsiteY3" fmla="*/ 3686175 h 4104917"/>
                  <a:gd name="connsiteX4" fmla="*/ 3609975 w 4078821"/>
                  <a:gd name="connsiteY4" fmla="*/ 0 h 4104917"/>
                  <a:gd name="connsiteX0" fmla="*/ 3609975 w 4075024"/>
                  <a:gd name="connsiteY0" fmla="*/ 0 h 4110583"/>
                  <a:gd name="connsiteX1" fmla="*/ 3924300 w 4075024"/>
                  <a:gd name="connsiteY1" fmla="*/ 333375 h 4110583"/>
                  <a:gd name="connsiteX2" fmla="*/ 504825 w 4075024"/>
                  <a:gd name="connsiteY2" fmla="*/ 4048125 h 4110583"/>
                  <a:gd name="connsiteX3" fmla="*/ 0 w 4075024"/>
                  <a:gd name="connsiteY3" fmla="*/ 3686175 h 4110583"/>
                  <a:gd name="connsiteX4" fmla="*/ 3609975 w 4075024"/>
                  <a:gd name="connsiteY4" fmla="*/ 0 h 4110583"/>
                  <a:gd name="connsiteX0" fmla="*/ 3609975 w 4077377"/>
                  <a:gd name="connsiteY0" fmla="*/ 0 h 4110583"/>
                  <a:gd name="connsiteX1" fmla="*/ 3924300 w 4077377"/>
                  <a:gd name="connsiteY1" fmla="*/ 333375 h 4110583"/>
                  <a:gd name="connsiteX2" fmla="*/ 504825 w 4077377"/>
                  <a:gd name="connsiteY2" fmla="*/ 4048125 h 4110583"/>
                  <a:gd name="connsiteX3" fmla="*/ 0 w 4077377"/>
                  <a:gd name="connsiteY3" fmla="*/ 3686175 h 4110583"/>
                  <a:gd name="connsiteX4" fmla="*/ 3609975 w 4077377"/>
                  <a:gd name="connsiteY4" fmla="*/ 0 h 4110583"/>
                  <a:gd name="connsiteX0" fmla="*/ 3609975 w 4074561"/>
                  <a:gd name="connsiteY0" fmla="*/ 0 h 4110583"/>
                  <a:gd name="connsiteX1" fmla="*/ 3924300 w 4074561"/>
                  <a:gd name="connsiteY1" fmla="*/ 333375 h 4110583"/>
                  <a:gd name="connsiteX2" fmla="*/ 504825 w 4074561"/>
                  <a:gd name="connsiteY2" fmla="*/ 4048125 h 4110583"/>
                  <a:gd name="connsiteX3" fmla="*/ 0 w 4074561"/>
                  <a:gd name="connsiteY3" fmla="*/ 3686175 h 4110583"/>
                  <a:gd name="connsiteX4" fmla="*/ 3609975 w 4074561"/>
                  <a:gd name="connsiteY4" fmla="*/ 0 h 4110583"/>
                  <a:gd name="connsiteX0" fmla="*/ 3609975 w 4077377"/>
                  <a:gd name="connsiteY0" fmla="*/ 0 h 4110583"/>
                  <a:gd name="connsiteX1" fmla="*/ 3924300 w 4077377"/>
                  <a:gd name="connsiteY1" fmla="*/ 333375 h 4110583"/>
                  <a:gd name="connsiteX2" fmla="*/ 504825 w 4077377"/>
                  <a:gd name="connsiteY2" fmla="*/ 4048125 h 4110583"/>
                  <a:gd name="connsiteX3" fmla="*/ 0 w 4077377"/>
                  <a:gd name="connsiteY3" fmla="*/ 3686175 h 4110583"/>
                  <a:gd name="connsiteX4" fmla="*/ 3609975 w 4077377"/>
                  <a:gd name="connsiteY4" fmla="*/ 0 h 4110583"/>
                  <a:gd name="connsiteX0" fmla="*/ 3609975 w 4076901"/>
                  <a:gd name="connsiteY0" fmla="*/ 0 h 4118432"/>
                  <a:gd name="connsiteX1" fmla="*/ 3924300 w 4076901"/>
                  <a:gd name="connsiteY1" fmla="*/ 333375 h 4118432"/>
                  <a:gd name="connsiteX2" fmla="*/ 504825 w 4076901"/>
                  <a:gd name="connsiteY2" fmla="*/ 4048125 h 4118432"/>
                  <a:gd name="connsiteX3" fmla="*/ 0 w 4076901"/>
                  <a:gd name="connsiteY3" fmla="*/ 3686175 h 4118432"/>
                  <a:gd name="connsiteX4" fmla="*/ 3609975 w 4076901"/>
                  <a:gd name="connsiteY4" fmla="*/ 0 h 4118432"/>
                  <a:gd name="connsiteX0" fmla="*/ 3609975 w 4074561"/>
                  <a:gd name="connsiteY0" fmla="*/ 0 h 4114466"/>
                  <a:gd name="connsiteX1" fmla="*/ 3924300 w 4074561"/>
                  <a:gd name="connsiteY1" fmla="*/ 333375 h 4114466"/>
                  <a:gd name="connsiteX2" fmla="*/ 504825 w 4074561"/>
                  <a:gd name="connsiteY2" fmla="*/ 4048125 h 4114466"/>
                  <a:gd name="connsiteX3" fmla="*/ 0 w 4074561"/>
                  <a:gd name="connsiteY3" fmla="*/ 3686175 h 4114466"/>
                  <a:gd name="connsiteX4" fmla="*/ 3609975 w 4074561"/>
                  <a:gd name="connsiteY4" fmla="*/ 0 h 4114466"/>
                  <a:gd name="connsiteX0" fmla="*/ 3609975 w 4078337"/>
                  <a:gd name="connsiteY0" fmla="*/ 0 h 4114466"/>
                  <a:gd name="connsiteX1" fmla="*/ 3924300 w 4078337"/>
                  <a:gd name="connsiteY1" fmla="*/ 333375 h 4114466"/>
                  <a:gd name="connsiteX2" fmla="*/ 504825 w 4078337"/>
                  <a:gd name="connsiteY2" fmla="*/ 4048125 h 4114466"/>
                  <a:gd name="connsiteX3" fmla="*/ 0 w 4078337"/>
                  <a:gd name="connsiteY3" fmla="*/ 3686175 h 4114466"/>
                  <a:gd name="connsiteX4" fmla="*/ 3609975 w 4078337"/>
                  <a:gd name="connsiteY4" fmla="*/ 0 h 4114466"/>
                  <a:gd name="connsiteX0" fmla="*/ 3609975 w 4075490"/>
                  <a:gd name="connsiteY0" fmla="*/ 0 h 4112514"/>
                  <a:gd name="connsiteX1" fmla="*/ 3924300 w 4075490"/>
                  <a:gd name="connsiteY1" fmla="*/ 333375 h 4112514"/>
                  <a:gd name="connsiteX2" fmla="*/ 504825 w 4075490"/>
                  <a:gd name="connsiteY2" fmla="*/ 4048125 h 4112514"/>
                  <a:gd name="connsiteX3" fmla="*/ 0 w 4075490"/>
                  <a:gd name="connsiteY3" fmla="*/ 3686175 h 4112514"/>
                  <a:gd name="connsiteX4" fmla="*/ 3609975 w 4075490"/>
                  <a:gd name="connsiteY4" fmla="*/ 0 h 4112514"/>
                  <a:gd name="connsiteX0" fmla="*/ 3609975 w 4077856"/>
                  <a:gd name="connsiteY0" fmla="*/ 0 h 4108673"/>
                  <a:gd name="connsiteX1" fmla="*/ 3924300 w 4077856"/>
                  <a:gd name="connsiteY1" fmla="*/ 333375 h 4108673"/>
                  <a:gd name="connsiteX2" fmla="*/ 504825 w 4077856"/>
                  <a:gd name="connsiteY2" fmla="*/ 4048125 h 4108673"/>
                  <a:gd name="connsiteX3" fmla="*/ 0 w 4077856"/>
                  <a:gd name="connsiteY3" fmla="*/ 3686175 h 4108673"/>
                  <a:gd name="connsiteX4" fmla="*/ 3609975 w 4077856"/>
                  <a:gd name="connsiteY4" fmla="*/ 0 h 4108673"/>
                  <a:gd name="connsiteX0" fmla="*/ 3609975 w 4077377"/>
                  <a:gd name="connsiteY0" fmla="*/ 0 h 4103072"/>
                  <a:gd name="connsiteX1" fmla="*/ 3924300 w 4077377"/>
                  <a:gd name="connsiteY1" fmla="*/ 333375 h 4103072"/>
                  <a:gd name="connsiteX2" fmla="*/ 504825 w 4077377"/>
                  <a:gd name="connsiteY2" fmla="*/ 4048125 h 4103072"/>
                  <a:gd name="connsiteX3" fmla="*/ 0 w 4077377"/>
                  <a:gd name="connsiteY3" fmla="*/ 3686175 h 4103072"/>
                  <a:gd name="connsiteX4" fmla="*/ 3609975 w 4077377"/>
                  <a:gd name="connsiteY4" fmla="*/ 0 h 4103072"/>
                  <a:gd name="connsiteX0" fmla="*/ 3609975 w 4080289"/>
                  <a:gd name="connsiteY0" fmla="*/ 0 h 4103072"/>
                  <a:gd name="connsiteX1" fmla="*/ 3924300 w 4080289"/>
                  <a:gd name="connsiteY1" fmla="*/ 333375 h 4103072"/>
                  <a:gd name="connsiteX2" fmla="*/ 504825 w 4080289"/>
                  <a:gd name="connsiteY2" fmla="*/ 4048125 h 4103072"/>
                  <a:gd name="connsiteX3" fmla="*/ 0 w 4080289"/>
                  <a:gd name="connsiteY3" fmla="*/ 3686175 h 4103072"/>
                  <a:gd name="connsiteX4" fmla="*/ 3609975 w 4080289"/>
                  <a:gd name="connsiteY4" fmla="*/ 0 h 4103072"/>
                  <a:gd name="connsiteX0" fmla="*/ 3609975 w 4079797"/>
                  <a:gd name="connsiteY0" fmla="*/ 0 h 4114466"/>
                  <a:gd name="connsiteX1" fmla="*/ 3924300 w 4079797"/>
                  <a:gd name="connsiteY1" fmla="*/ 333375 h 4114466"/>
                  <a:gd name="connsiteX2" fmla="*/ 504825 w 4079797"/>
                  <a:gd name="connsiteY2" fmla="*/ 4048125 h 4114466"/>
                  <a:gd name="connsiteX3" fmla="*/ 0 w 4079797"/>
                  <a:gd name="connsiteY3" fmla="*/ 3686175 h 4114466"/>
                  <a:gd name="connsiteX4" fmla="*/ 3609975 w 4079797"/>
                  <a:gd name="connsiteY4" fmla="*/ 0 h 4114466"/>
                  <a:gd name="connsiteX0" fmla="*/ 3609975 w 4073643"/>
                  <a:gd name="connsiteY0" fmla="*/ 0 h 4118432"/>
                  <a:gd name="connsiteX1" fmla="*/ 3924300 w 4073643"/>
                  <a:gd name="connsiteY1" fmla="*/ 333375 h 4118432"/>
                  <a:gd name="connsiteX2" fmla="*/ 504825 w 4073643"/>
                  <a:gd name="connsiteY2" fmla="*/ 4048125 h 4118432"/>
                  <a:gd name="connsiteX3" fmla="*/ 0 w 4073643"/>
                  <a:gd name="connsiteY3" fmla="*/ 3686175 h 4118432"/>
                  <a:gd name="connsiteX4" fmla="*/ 3609975 w 4073643"/>
                  <a:gd name="connsiteY4" fmla="*/ 0 h 4118432"/>
                  <a:gd name="connsiteX0" fmla="*/ 3609975 w 4077856"/>
                  <a:gd name="connsiteY0" fmla="*/ 0 h 4116439"/>
                  <a:gd name="connsiteX1" fmla="*/ 3924300 w 4077856"/>
                  <a:gd name="connsiteY1" fmla="*/ 333375 h 4116439"/>
                  <a:gd name="connsiteX2" fmla="*/ 504825 w 4077856"/>
                  <a:gd name="connsiteY2" fmla="*/ 4048125 h 4116439"/>
                  <a:gd name="connsiteX3" fmla="*/ 0 w 4077856"/>
                  <a:gd name="connsiteY3" fmla="*/ 3686175 h 4116439"/>
                  <a:gd name="connsiteX4" fmla="*/ 3609975 w 4077856"/>
                  <a:gd name="connsiteY4" fmla="*/ 0 h 4116439"/>
                  <a:gd name="connsiteX0" fmla="*/ 3609975 w 4075490"/>
                  <a:gd name="connsiteY0" fmla="*/ 0 h 4110583"/>
                  <a:gd name="connsiteX1" fmla="*/ 3924300 w 4075490"/>
                  <a:gd name="connsiteY1" fmla="*/ 333375 h 4110583"/>
                  <a:gd name="connsiteX2" fmla="*/ 504825 w 4075490"/>
                  <a:gd name="connsiteY2" fmla="*/ 4048125 h 4110583"/>
                  <a:gd name="connsiteX3" fmla="*/ 0 w 4075490"/>
                  <a:gd name="connsiteY3" fmla="*/ 3686175 h 4110583"/>
                  <a:gd name="connsiteX4" fmla="*/ 3609975 w 4075490"/>
                  <a:gd name="connsiteY4" fmla="*/ 0 h 4110583"/>
                  <a:gd name="connsiteX0" fmla="*/ 3609975 w 4081366"/>
                  <a:gd name="connsiteY0" fmla="*/ 0 h 4111762"/>
                  <a:gd name="connsiteX1" fmla="*/ 3924300 w 4081366"/>
                  <a:gd name="connsiteY1" fmla="*/ 333375 h 4111762"/>
                  <a:gd name="connsiteX2" fmla="*/ 504825 w 4081366"/>
                  <a:gd name="connsiteY2" fmla="*/ 4048125 h 4111762"/>
                  <a:gd name="connsiteX3" fmla="*/ 0 w 4081366"/>
                  <a:gd name="connsiteY3" fmla="*/ 3686175 h 4111762"/>
                  <a:gd name="connsiteX4" fmla="*/ 3609975 w 4081366"/>
                  <a:gd name="connsiteY4" fmla="*/ 0 h 4111762"/>
                  <a:gd name="connsiteX0" fmla="*/ 3609975 w 4075490"/>
                  <a:gd name="connsiteY0" fmla="*/ 0 h 4111934"/>
                  <a:gd name="connsiteX1" fmla="*/ 3924300 w 4075490"/>
                  <a:gd name="connsiteY1" fmla="*/ 333375 h 4111934"/>
                  <a:gd name="connsiteX2" fmla="*/ 504825 w 4075490"/>
                  <a:gd name="connsiteY2" fmla="*/ 4048125 h 4111934"/>
                  <a:gd name="connsiteX3" fmla="*/ 0 w 4075490"/>
                  <a:gd name="connsiteY3" fmla="*/ 3686175 h 4111934"/>
                  <a:gd name="connsiteX4" fmla="*/ 3609975 w 4075490"/>
                  <a:gd name="connsiteY4" fmla="*/ 0 h 4111934"/>
                  <a:gd name="connsiteX0" fmla="*/ 3609975 w 4075490"/>
                  <a:gd name="connsiteY0" fmla="*/ 0 h 4111934"/>
                  <a:gd name="connsiteX1" fmla="*/ 3924300 w 4075490"/>
                  <a:gd name="connsiteY1" fmla="*/ 333375 h 4111934"/>
                  <a:gd name="connsiteX2" fmla="*/ 504825 w 4075490"/>
                  <a:gd name="connsiteY2" fmla="*/ 4048125 h 4111934"/>
                  <a:gd name="connsiteX3" fmla="*/ 0 w 4075490"/>
                  <a:gd name="connsiteY3" fmla="*/ 3686175 h 4111934"/>
                  <a:gd name="connsiteX4" fmla="*/ 3609975 w 4075490"/>
                  <a:gd name="connsiteY4" fmla="*/ 0 h 4111934"/>
                  <a:gd name="connsiteX0" fmla="*/ 3609975 w 4075490"/>
                  <a:gd name="connsiteY0" fmla="*/ 0 h 4111934"/>
                  <a:gd name="connsiteX1" fmla="*/ 3924300 w 4075490"/>
                  <a:gd name="connsiteY1" fmla="*/ 333375 h 4111934"/>
                  <a:gd name="connsiteX2" fmla="*/ 504825 w 4075490"/>
                  <a:gd name="connsiteY2" fmla="*/ 4048125 h 4111934"/>
                  <a:gd name="connsiteX3" fmla="*/ 0 w 4075490"/>
                  <a:gd name="connsiteY3" fmla="*/ 3686175 h 4111934"/>
                  <a:gd name="connsiteX4" fmla="*/ 3609975 w 4075490"/>
                  <a:gd name="connsiteY4" fmla="*/ 0 h 4111934"/>
                  <a:gd name="connsiteX0" fmla="*/ 3609975 w 4075490"/>
                  <a:gd name="connsiteY0" fmla="*/ 0 h 4111934"/>
                  <a:gd name="connsiteX1" fmla="*/ 3924300 w 4075490"/>
                  <a:gd name="connsiteY1" fmla="*/ 333375 h 4111934"/>
                  <a:gd name="connsiteX2" fmla="*/ 504825 w 4075490"/>
                  <a:gd name="connsiteY2" fmla="*/ 4048125 h 4111934"/>
                  <a:gd name="connsiteX3" fmla="*/ 0 w 4075490"/>
                  <a:gd name="connsiteY3" fmla="*/ 3686175 h 4111934"/>
                  <a:gd name="connsiteX4" fmla="*/ 3609975 w 4075490"/>
                  <a:gd name="connsiteY4" fmla="*/ 0 h 4111934"/>
                  <a:gd name="connsiteX0" fmla="*/ 3638550 w 4104065"/>
                  <a:gd name="connsiteY0" fmla="*/ 0 h 4111934"/>
                  <a:gd name="connsiteX1" fmla="*/ 3952875 w 4104065"/>
                  <a:gd name="connsiteY1" fmla="*/ 333375 h 4111934"/>
                  <a:gd name="connsiteX2" fmla="*/ 533400 w 4104065"/>
                  <a:gd name="connsiteY2" fmla="*/ 4048125 h 4111934"/>
                  <a:gd name="connsiteX3" fmla="*/ 0 w 4104065"/>
                  <a:gd name="connsiteY3" fmla="*/ 3686175 h 4111934"/>
                  <a:gd name="connsiteX4" fmla="*/ 3638550 w 4104065"/>
                  <a:gd name="connsiteY4" fmla="*/ 0 h 4111934"/>
                  <a:gd name="connsiteX0" fmla="*/ 3590925 w 4056440"/>
                  <a:gd name="connsiteY0" fmla="*/ 0 h 4111934"/>
                  <a:gd name="connsiteX1" fmla="*/ 3905250 w 4056440"/>
                  <a:gd name="connsiteY1" fmla="*/ 333375 h 4111934"/>
                  <a:gd name="connsiteX2" fmla="*/ 485775 w 4056440"/>
                  <a:gd name="connsiteY2" fmla="*/ 4048125 h 4111934"/>
                  <a:gd name="connsiteX3" fmla="*/ 0 w 4056440"/>
                  <a:gd name="connsiteY3" fmla="*/ 3686175 h 4111934"/>
                  <a:gd name="connsiteX4" fmla="*/ 3590925 w 4056440"/>
                  <a:gd name="connsiteY4" fmla="*/ 0 h 4111934"/>
                  <a:gd name="connsiteX0" fmla="*/ 3609975 w 4075490"/>
                  <a:gd name="connsiteY0" fmla="*/ 0 h 4111934"/>
                  <a:gd name="connsiteX1" fmla="*/ 3924300 w 4075490"/>
                  <a:gd name="connsiteY1" fmla="*/ 333375 h 4111934"/>
                  <a:gd name="connsiteX2" fmla="*/ 504825 w 4075490"/>
                  <a:gd name="connsiteY2" fmla="*/ 4048125 h 4111934"/>
                  <a:gd name="connsiteX3" fmla="*/ 0 w 4075490"/>
                  <a:gd name="connsiteY3" fmla="*/ 3686175 h 4111934"/>
                  <a:gd name="connsiteX4" fmla="*/ 3609975 w 4075490"/>
                  <a:gd name="connsiteY4" fmla="*/ 0 h 4111934"/>
                  <a:gd name="connsiteX0" fmla="*/ 3609975 w 4075490"/>
                  <a:gd name="connsiteY0" fmla="*/ 0 h 4111934"/>
                  <a:gd name="connsiteX1" fmla="*/ 3924300 w 4075490"/>
                  <a:gd name="connsiteY1" fmla="*/ 333375 h 4111934"/>
                  <a:gd name="connsiteX2" fmla="*/ 504825 w 4075490"/>
                  <a:gd name="connsiteY2" fmla="*/ 4048125 h 4111934"/>
                  <a:gd name="connsiteX3" fmla="*/ 0 w 4075490"/>
                  <a:gd name="connsiteY3" fmla="*/ 3686175 h 4111934"/>
                  <a:gd name="connsiteX4" fmla="*/ 3609975 w 4075490"/>
                  <a:gd name="connsiteY4" fmla="*/ 0 h 4111934"/>
                  <a:gd name="connsiteX0" fmla="*/ 3609975 w 4075490"/>
                  <a:gd name="connsiteY0" fmla="*/ 0 h 4111934"/>
                  <a:gd name="connsiteX1" fmla="*/ 3924300 w 4075490"/>
                  <a:gd name="connsiteY1" fmla="*/ 333375 h 4111934"/>
                  <a:gd name="connsiteX2" fmla="*/ 504825 w 4075490"/>
                  <a:gd name="connsiteY2" fmla="*/ 4048125 h 4111934"/>
                  <a:gd name="connsiteX3" fmla="*/ 0 w 4075490"/>
                  <a:gd name="connsiteY3" fmla="*/ 3686175 h 4111934"/>
                  <a:gd name="connsiteX4" fmla="*/ 3609975 w 4075490"/>
                  <a:gd name="connsiteY4" fmla="*/ 0 h 4111934"/>
                  <a:gd name="connsiteX0" fmla="*/ 3609975 w 4075490"/>
                  <a:gd name="connsiteY0" fmla="*/ 0 h 4111934"/>
                  <a:gd name="connsiteX1" fmla="*/ 3924300 w 4075490"/>
                  <a:gd name="connsiteY1" fmla="*/ 333375 h 4111934"/>
                  <a:gd name="connsiteX2" fmla="*/ 504825 w 4075490"/>
                  <a:gd name="connsiteY2" fmla="*/ 4048125 h 4111934"/>
                  <a:gd name="connsiteX3" fmla="*/ 0 w 4075490"/>
                  <a:gd name="connsiteY3" fmla="*/ 3686175 h 4111934"/>
                  <a:gd name="connsiteX4" fmla="*/ 3609975 w 4075490"/>
                  <a:gd name="connsiteY4" fmla="*/ 0 h 4111934"/>
                  <a:gd name="connsiteX0" fmla="*/ 3609975 w 4075490"/>
                  <a:gd name="connsiteY0" fmla="*/ 0 h 4111934"/>
                  <a:gd name="connsiteX1" fmla="*/ 3924300 w 4075490"/>
                  <a:gd name="connsiteY1" fmla="*/ 333375 h 4111934"/>
                  <a:gd name="connsiteX2" fmla="*/ 504825 w 4075490"/>
                  <a:gd name="connsiteY2" fmla="*/ 4048125 h 4111934"/>
                  <a:gd name="connsiteX3" fmla="*/ 0 w 4075490"/>
                  <a:gd name="connsiteY3" fmla="*/ 3686175 h 4111934"/>
                  <a:gd name="connsiteX4" fmla="*/ 3609975 w 4075490"/>
                  <a:gd name="connsiteY4" fmla="*/ 0 h 4111934"/>
                  <a:gd name="connsiteX0" fmla="*/ 3609975 w 4075490"/>
                  <a:gd name="connsiteY0" fmla="*/ 0 h 4111934"/>
                  <a:gd name="connsiteX1" fmla="*/ 3924300 w 4075490"/>
                  <a:gd name="connsiteY1" fmla="*/ 333375 h 4111934"/>
                  <a:gd name="connsiteX2" fmla="*/ 504825 w 4075490"/>
                  <a:gd name="connsiteY2" fmla="*/ 4048125 h 4111934"/>
                  <a:gd name="connsiteX3" fmla="*/ 0 w 4075490"/>
                  <a:gd name="connsiteY3" fmla="*/ 3686175 h 4111934"/>
                  <a:gd name="connsiteX4" fmla="*/ 3609975 w 4075490"/>
                  <a:gd name="connsiteY4" fmla="*/ 0 h 4111934"/>
                  <a:gd name="connsiteX0" fmla="*/ 3609975 w 4075490"/>
                  <a:gd name="connsiteY0" fmla="*/ 0 h 4111934"/>
                  <a:gd name="connsiteX1" fmla="*/ 3924300 w 4075490"/>
                  <a:gd name="connsiteY1" fmla="*/ 333375 h 4111934"/>
                  <a:gd name="connsiteX2" fmla="*/ 504825 w 4075490"/>
                  <a:gd name="connsiteY2" fmla="*/ 4048125 h 4111934"/>
                  <a:gd name="connsiteX3" fmla="*/ 0 w 4075490"/>
                  <a:gd name="connsiteY3" fmla="*/ 3686175 h 4111934"/>
                  <a:gd name="connsiteX4" fmla="*/ 3609975 w 4075490"/>
                  <a:gd name="connsiteY4" fmla="*/ 0 h 4111934"/>
                  <a:gd name="connsiteX0" fmla="*/ 3609975 w 4075490"/>
                  <a:gd name="connsiteY0" fmla="*/ 0 h 4111934"/>
                  <a:gd name="connsiteX1" fmla="*/ 3924300 w 4075490"/>
                  <a:gd name="connsiteY1" fmla="*/ 333375 h 4111934"/>
                  <a:gd name="connsiteX2" fmla="*/ 504825 w 4075490"/>
                  <a:gd name="connsiteY2" fmla="*/ 4048125 h 4111934"/>
                  <a:gd name="connsiteX3" fmla="*/ 0 w 4075490"/>
                  <a:gd name="connsiteY3" fmla="*/ 3686175 h 4111934"/>
                  <a:gd name="connsiteX4" fmla="*/ 3609975 w 4075490"/>
                  <a:gd name="connsiteY4" fmla="*/ 0 h 4111934"/>
                  <a:gd name="connsiteX0" fmla="*/ 3619500 w 4085015"/>
                  <a:gd name="connsiteY0" fmla="*/ 0 h 4111934"/>
                  <a:gd name="connsiteX1" fmla="*/ 3933825 w 4085015"/>
                  <a:gd name="connsiteY1" fmla="*/ 333375 h 4111934"/>
                  <a:gd name="connsiteX2" fmla="*/ 514350 w 4085015"/>
                  <a:gd name="connsiteY2" fmla="*/ 4048125 h 4111934"/>
                  <a:gd name="connsiteX3" fmla="*/ 0 w 4085015"/>
                  <a:gd name="connsiteY3" fmla="*/ 3676650 h 4111934"/>
                  <a:gd name="connsiteX4" fmla="*/ 3619500 w 4085015"/>
                  <a:gd name="connsiteY4" fmla="*/ 0 h 4111934"/>
                  <a:gd name="connsiteX0" fmla="*/ 3619500 w 4085015"/>
                  <a:gd name="connsiteY0" fmla="*/ 0 h 4111934"/>
                  <a:gd name="connsiteX1" fmla="*/ 3933825 w 4085015"/>
                  <a:gd name="connsiteY1" fmla="*/ 333375 h 4111934"/>
                  <a:gd name="connsiteX2" fmla="*/ 514350 w 4085015"/>
                  <a:gd name="connsiteY2" fmla="*/ 4048125 h 4111934"/>
                  <a:gd name="connsiteX3" fmla="*/ 0 w 4085015"/>
                  <a:gd name="connsiteY3" fmla="*/ 3676650 h 4111934"/>
                  <a:gd name="connsiteX4" fmla="*/ 3619500 w 4085015"/>
                  <a:gd name="connsiteY4" fmla="*/ 0 h 4111934"/>
                  <a:gd name="connsiteX0" fmla="*/ 3613958 w 4079473"/>
                  <a:gd name="connsiteY0" fmla="*/ 0 h 4111934"/>
                  <a:gd name="connsiteX1" fmla="*/ 3928283 w 4079473"/>
                  <a:gd name="connsiteY1" fmla="*/ 333375 h 4111934"/>
                  <a:gd name="connsiteX2" fmla="*/ 508808 w 4079473"/>
                  <a:gd name="connsiteY2" fmla="*/ 4048125 h 4111934"/>
                  <a:gd name="connsiteX3" fmla="*/ 0 w 4079473"/>
                  <a:gd name="connsiteY3" fmla="*/ 3671108 h 4111934"/>
                  <a:gd name="connsiteX4" fmla="*/ 3613958 w 4079473"/>
                  <a:gd name="connsiteY4" fmla="*/ 0 h 4111934"/>
                  <a:gd name="connsiteX0" fmla="*/ 3613958 w 4079473"/>
                  <a:gd name="connsiteY0" fmla="*/ 0 h 4111934"/>
                  <a:gd name="connsiteX1" fmla="*/ 3928283 w 4079473"/>
                  <a:gd name="connsiteY1" fmla="*/ 333375 h 4111934"/>
                  <a:gd name="connsiteX2" fmla="*/ 508808 w 4079473"/>
                  <a:gd name="connsiteY2" fmla="*/ 4048125 h 4111934"/>
                  <a:gd name="connsiteX3" fmla="*/ 0 w 4079473"/>
                  <a:gd name="connsiteY3" fmla="*/ 3671108 h 4111934"/>
                  <a:gd name="connsiteX4" fmla="*/ 3613958 w 4079473"/>
                  <a:gd name="connsiteY4" fmla="*/ 0 h 4111934"/>
                  <a:gd name="connsiteX0" fmla="*/ 3613958 w 4079473"/>
                  <a:gd name="connsiteY0" fmla="*/ 0 h 4111934"/>
                  <a:gd name="connsiteX1" fmla="*/ 3928283 w 4079473"/>
                  <a:gd name="connsiteY1" fmla="*/ 333375 h 4111934"/>
                  <a:gd name="connsiteX2" fmla="*/ 508808 w 4079473"/>
                  <a:gd name="connsiteY2" fmla="*/ 4048125 h 4111934"/>
                  <a:gd name="connsiteX3" fmla="*/ 0 w 4079473"/>
                  <a:gd name="connsiteY3" fmla="*/ 3671108 h 4111934"/>
                  <a:gd name="connsiteX4" fmla="*/ 3613958 w 4079473"/>
                  <a:gd name="connsiteY4" fmla="*/ 0 h 4111934"/>
                  <a:gd name="connsiteX0" fmla="*/ 3597332 w 4062847"/>
                  <a:gd name="connsiteY0" fmla="*/ 0 h 4111934"/>
                  <a:gd name="connsiteX1" fmla="*/ 3911657 w 4062847"/>
                  <a:gd name="connsiteY1" fmla="*/ 333375 h 4111934"/>
                  <a:gd name="connsiteX2" fmla="*/ 492182 w 4062847"/>
                  <a:gd name="connsiteY2" fmla="*/ 4048125 h 4111934"/>
                  <a:gd name="connsiteX3" fmla="*/ 0 w 4062847"/>
                  <a:gd name="connsiteY3" fmla="*/ 3671108 h 4111934"/>
                  <a:gd name="connsiteX4" fmla="*/ 3597332 w 4062847"/>
                  <a:gd name="connsiteY4" fmla="*/ 0 h 4111934"/>
                  <a:gd name="connsiteX0" fmla="*/ 3597332 w 4062847"/>
                  <a:gd name="connsiteY0" fmla="*/ 0 h 4111934"/>
                  <a:gd name="connsiteX1" fmla="*/ 3911657 w 4062847"/>
                  <a:gd name="connsiteY1" fmla="*/ 333375 h 4111934"/>
                  <a:gd name="connsiteX2" fmla="*/ 492182 w 4062847"/>
                  <a:gd name="connsiteY2" fmla="*/ 4048125 h 4111934"/>
                  <a:gd name="connsiteX3" fmla="*/ 0 w 4062847"/>
                  <a:gd name="connsiteY3" fmla="*/ 3671108 h 4111934"/>
                  <a:gd name="connsiteX4" fmla="*/ 3597332 w 4062847"/>
                  <a:gd name="connsiteY4" fmla="*/ 0 h 4111934"/>
                  <a:gd name="connsiteX0" fmla="*/ 3597332 w 4062847"/>
                  <a:gd name="connsiteY0" fmla="*/ 0 h 4111934"/>
                  <a:gd name="connsiteX1" fmla="*/ 3911657 w 4062847"/>
                  <a:gd name="connsiteY1" fmla="*/ 333375 h 4111934"/>
                  <a:gd name="connsiteX2" fmla="*/ 492182 w 4062847"/>
                  <a:gd name="connsiteY2" fmla="*/ 4048125 h 4111934"/>
                  <a:gd name="connsiteX3" fmla="*/ 0 w 4062847"/>
                  <a:gd name="connsiteY3" fmla="*/ 3671108 h 4111934"/>
                  <a:gd name="connsiteX4" fmla="*/ 3597332 w 4062847"/>
                  <a:gd name="connsiteY4" fmla="*/ 0 h 4111934"/>
                  <a:gd name="connsiteX0" fmla="*/ 3597332 w 4062847"/>
                  <a:gd name="connsiteY0" fmla="*/ 0 h 4111934"/>
                  <a:gd name="connsiteX1" fmla="*/ 3911657 w 4062847"/>
                  <a:gd name="connsiteY1" fmla="*/ 333375 h 4111934"/>
                  <a:gd name="connsiteX2" fmla="*/ 492182 w 4062847"/>
                  <a:gd name="connsiteY2" fmla="*/ 4048125 h 4111934"/>
                  <a:gd name="connsiteX3" fmla="*/ 0 w 4062847"/>
                  <a:gd name="connsiteY3" fmla="*/ 3671108 h 4111934"/>
                  <a:gd name="connsiteX4" fmla="*/ 3597332 w 4062847"/>
                  <a:gd name="connsiteY4" fmla="*/ 0 h 4111934"/>
                  <a:gd name="connsiteX0" fmla="*/ 3691543 w 4157058"/>
                  <a:gd name="connsiteY0" fmla="*/ 0 h 4111934"/>
                  <a:gd name="connsiteX1" fmla="*/ 4005868 w 4157058"/>
                  <a:gd name="connsiteY1" fmla="*/ 333375 h 4111934"/>
                  <a:gd name="connsiteX2" fmla="*/ 586393 w 4157058"/>
                  <a:gd name="connsiteY2" fmla="*/ 4048125 h 4111934"/>
                  <a:gd name="connsiteX3" fmla="*/ 0 w 4157058"/>
                  <a:gd name="connsiteY3" fmla="*/ 3626773 h 4111934"/>
                  <a:gd name="connsiteX4" fmla="*/ 3691543 w 4157058"/>
                  <a:gd name="connsiteY4" fmla="*/ 0 h 4111934"/>
                  <a:gd name="connsiteX0" fmla="*/ 3691543 w 4157058"/>
                  <a:gd name="connsiteY0" fmla="*/ 0 h 4111934"/>
                  <a:gd name="connsiteX1" fmla="*/ 4005868 w 4157058"/>
                  <a:gd name="connsiteY1" fmla="*/ 333375 h 4111934"/>
                  <a:gd name="connsiteX2" fmla="*/ 586393 w 4157058"/>
                  <a:gd name="connsiteY2" fmla="*/ 4048125 h 4111934"/>
                  <a:gd name="connsiteX3" fmla="*/ 0 w 4157058"/>
                  <a:gd name="connsiteY3" fmla="*/ 3626773 h 4111934"/>
                  <a:gd name="connsiteX4" fmla="*/ 3691543 w 4157058"/>
                  <a:gd name="connsiteY4" fmla="*/ 0 h 4111934"/>
                  <a:gd name="connsiteX0" fmla="*/ 3669376 w 4134891"/>
                  <a:gd name="connsiteY0" fmla="*/ 0 h 4111934"/>
                  <a:gd name="connsiteX1" fmla="*/ 3983701 w 4134891"/>
                  <a:gd name="connsiteY1" fmla="*/ 333375 h 4111934"/>
                  <a:gd name="connsiteX2" fmla="*/ 564226 w 4134891"/>
                  <a:gd name="connsiteY2" fmla="*/ 4048125 h 4111934"/>
                  <a:gd name="connsiteX3" fmla="*/ 0 w 4134891"/>
                  <a:gd name="connsiteY3" fmla="*/ 3626773 h 4111934"/>
                  <a:gd name="connsiteX4" fmla="*/ 3669376 w 4134891"/>
                  <a:gd name="connsiteY4" fmla="*/ 0 h 4111934"/>
                  <a:gd name="connsiteX0" fmla="*/ 3669376 w 4134891"/>
                  <a:gd name="connsiteY0" fmla="*/ 0 h 4111934"/>
                  <a:gd name="connsiteX1" fmla="*/ 3983701 w 4134891"/>
                  <a:gd name="connsiteY1" fmla="*/ 333375 h 4111934"/>
                  <a:gd name="connsiteX2" fmla="*/ 564226 w 4134891"/>
                  <a:gd name="connsiteY2" fmla="*/ 4048125 h 4111934"/>
                  <a:gd name="connsiteX3" fmla="*/ 0 w 4134891"/>
                  <a:gd name="connsiteY3" fmla="*/ 3626773 h 4111934"/>
                  <a:gd name="connsiteX4" fmla="*/ 3669376 w 4134891"/>
                  <a:gd name="connsiteY4" fmla="*/ 0 h 4111934"/>
                  <a:gd name="connsiteX0" fmla="*/ 3669376 w 4134891"/>
                  <a:gd name="connsiteY0" fmla="*/ 0 h 4111934"/>
                  <a:gd name="connsiteX1" fmla="*/ 3983701 w 4134891"/>
                  <a:gd name="connsiteY1" fmla="*/ 333375 h 4111934"/>
                  <a:gd name="connsiteX2" fmla="*/ 564226 w 4134891"/>
                  <a:gd name="connsiteY2" fmla="*/ 4048125 h 4111934"/>
                  <a:gd name="connsiteX3" fmla="*/ 0 w 4134891"/>
                  <a:gd name="connsiteY3" fmla="*/ 3626773 h 4111934"/>
                  <a:gd name="connsiteX4" fmla="*/ 3669376 w 4134891"/>
                  <a:gd name="connsiteY4" fmla="*/ 0 h 4111934"/>
                  <a:gd name="connsiteX0" fmla="*/ 3669376 w 4134891"/>
                  <a:gd name="connsiteY0" fmla="*/ 0 h 4122811"/>
                  <a:gd name="connsiteX1" fmla="*/ 3983701 w 4134891"/>
                  <a:gd name="connsiteY1" fmla="*/ 333375 h 4122811"/>
                  <a:gd name="connsiteX2" fmla="*/ 564226 w 4134891"/>
                  <a:gd name="connsiteY2" fmla="*/ 4059208 h 4122811"/>
                  <a:gd name="connsiteX3" fmla="*/ 0 w 4134891"/>
                  <a:gd name="connsiteY3" fmla="*/ 3626773 h 4122811"/>
                  <a:gd name="connsiteX4" fmla="*/ 3669376 w 4134891"/>
                  <a:gd name="connsiteY4" fmla="*/ 0 h 4122811"/>
                  <a:gd name="connsiteX0" fmla="*/ 3669376 w 4134891"/>
                  <a:gd name="connsiteY0" fmla="*/ 0 h 4122811"/>
                  <a:gd name="connsiteX1" fmla="*/ 3983701 w 4134891"/>
                  <a:gd name="connsiteY1" fmla="*/ 333375 h 4122811"/>
                  <a:gd name="connsiteX2" fmla="*/ 564226 w 4134891"/>
                  <a:gd name="connsiteY2" fmla="*/ 4059208 h 4122811"/>
                  <a:gd name="connsiteX3" fmla="*/ 0 w 4134891"/>
                  <a:gd name="connsiteY3" fmla="*/ 3626773 h 4122811"/>
                  <a:gd name="connsiteX4" fmla="*/ 3669376 w 4134891"/>
                  <a:gd name="connsiteY4" fmla="*/ 0 h 4122811"/>
                  <a:gd name="connsiteX0" fmla="*/ 3669376 w 4134891"/>
                  <a:gd name="connsiteY0" fmla="*/ 0 h 4122811"/>
                  <a:gd name="connsiteX1" fmla="*/ 3983701 w 4134891"/>
                  <a:gd name="connsiteY1" fmla="*/ 333375 h 4122811"/>
                  <a:gd name="connsiteX2" fmla="*/ 564226 w 4134891"/>
                  <a:gd name="connsiteY2" fmla="*/ 4059208 h 4122811"/>
                  <a:gd name="connsiteX3" fmla="*/ 0 w 4134891"/>
                  <a:gd name="connsiteY3" fmla="*/ 3626773 h 4122811"/>
                  <a:gd name="connsiteX4" fmla="*/ 3669376 w 4134891"/>
                  <a:gd name="connsiteY4" fmla="*/ 0 h 4122811"/>
                  <a:gd name="connsiteX0" fmla="*/ 3669376 w 4134891"/>
                  <a:gd name="connsiteY0" fmla="*/ 0 h 4122811"/>
                  <a:gd name="connsiteX1" fmla="*/ 3983701 w 4134891"/>
                  <a:gd name="connsiteY1" fmla="*/ 333375 h 4122811"/>
                  <a:gd name="connsiteX2" fmla="*/ 564226 w 4134891"/>
                  <a:gd name="connsiteY2" fmla="*/ 4059208 h 4122811"/>
                  <a:gd name="connsiteX3" fmla="*/ 0 w 4134891"/>
                  <a:gd name="connsiteY3" fmla="*/ 3626773 h 4122811"/>
                  <a:gd name="connsiteX4" fmla="*/ 3669376 w 4134891"/>
                  <a:gd name="connsiteY4" fmla="*/ 0 h 4122811"/>
                  <a:gd name="connsiteX0" fmla="*/ 3669376 w 4134891"/>
                  <a:gd name="connsiteY0" fmla="*/ 0 h 4122811"/>
                  <a:gd name="connsiteX1" fmla="*/ 3983701 w 4134891"/>
                  <a:gd name="connsiteY1" fmla="*/ 333375 h 4122811"/>
                  <a:gd name="connsiteX2" fmla="*/ 564226 w 4134891"/>
                  <a:gd name="connsiteY2" fmla="*/ 4059208 h 4122811"/>
                  <a:gd name="connsiteX3" fmla="*/ 0 w 4134891"/>
                  <a:gd name="connsiteY3" fmla="*/ 3626773 h 4122811"/>
                  <a:gd name="connsiteX4" fmla="*/ 3669376 w 4134891"/>
                  <a:gd name="connsiteY4" fmla="*/ 0 h 4122811"/>
                  <a:gd name="connsiteX0" fmla="*/ 3669376 w 4134891"/>
                  <a:gd name="connsiteY0" fmla="*/ 0 h 4122811"/>
                  <a:gd name="connsiteX1" fmla="*/ 3983701 w 4134891"/>
                  <a:gd name="connsiteY1" fmla="*/ 333375 h 4122811"/>
                  <a:gd name="connsiteX2" fmla="*/ 564226 w 4134891"/>
                  <a:gd name="connsiteY2" fmla="*/ 4059208 h 4122811"/>
                  <a:gd name="connsiteX3" fmla="*/ 0 w 4134891"/>
                  <a:gd name="connsiteY3" fmla="*/ 3626773 h 4122811"/>
                  <a:gd name="connsiteX4" fmla="*/ 3669376 w 4134891"/>
                  <a:gd name="connsiteY4" fmla="*/ 0 h 4122811"/>
                  <a:gd name="connsiteX0" fmla="*/ 3669376 w 4134891"/>
                  <a:gd name="connsiteY0" fmla="*/ 0 h 4122811"/>
                  <a:gd name="connsiteX1" fmla="*/ 3983701 w 4134891"/>
                  <a:gd name="connsiteY1" fmla="*/ 333375 h 4122811"/>
                  <a:gd name="connsiteX2" fmla="*/ 564226 w 4134891"/>
                  <a:gd name="connsiteY2" fmla="*/ 4059208 h 4122811"/>
                  <a:gd name="connsiteX3" fmla="*/ 0 w 4134891"/>
                  <a:gd name="connsiteY3" fmla="*/ 3626773 h 4122811"/>
                  <a:gd name="connsiteX4" fmla="*/ 3669376 w 4134891"/>
                  <a:gd name="connsiteY4" fmla="*/ 0 h 4122811"/>
                  <a:gd name="connsiteX0" fmla="*/ 3669376 w 4135177"/>
                  <a:gd name="connsiteY0" fmla="*/ 0 h 4095619"/>
                  <a:gd name="connsiteX1" fmla="*/ 3983701 w 4135177"/>
                  <a:gd name="connsiteY1" fmla="*/ 333375 h 4095619"/>
                  <a:gd name="connsiteX2" fmla="*/ 569768 w 4135177"/>
                  <a:gd name="connsiteY2" fmla="*/ 4031499 h 4095619"/>
                  <a:gd name="connsiteX3" fmla="*/ 0 w 4135177"/>
                  <a:gd name="connsiteY3" fmla="*/ 3626773 h 4095619"/>
                  <a:gd name="connsiteX4" fmla="*/ 3669376 w 4135177"/>
                  <a:gd name="connsiteY4" fmla="*/ 0 h 4095619"/>
                  <a:gd name="connsiteX0" fmla="*/ 3669376 w 4134605"/>
                  <a:gd name="connsiteY0" fmla="*/ 0 h 4111933"/>
                  <a:gd name="connsiteX1" fmla="*/ 3983701 w 4134605"/>
                  <a:gd name="connsiteY1" fmla="*/ 333375 h 4111933"/>
                  <a:gd name="connsiteX2" fmla="*/ 558684 w 4134605"/>
                  <a:gd name="connsiteY2" fmla="*/ 4048124 h 4111933"/>
                  <a:gd name="connsiteX3" fmla="*/ 0 w 4134605"/>
                  <a:gd name="connsiteY3" fmla="*/ 3626773 h 4111933"/>
                  <a:gd name="connsiteX4" fmla="*/ 3669376 w 4134605"/>
                  <a:gd name="connsiteY4" fmla="*/ 0 h 4111933"/>
                  <a:gd name="connsiteX0" fmla="*/ 3669376 w 4122261"/>
                  <a:gd name="connsiteY0" fmla="*/ 0 h 3981506"/>
                  <a:gd name="connsiteX1" fmla="*/ 3983701 w 4122261"/>
                  <a:gd name="connsiteY1" fmla="*/ 333375 h 3981506"/>
                  <a:gd name="connsiteX2" fmla="*/ 298218 w 4122261"/>
                  <a:gd name="connsiteY2" fmla="*/ 3915121 h 3981506"/>
                  <a:gd name="connsiteX3" fmla="*/ 0 w 4122261"/>
                  <a:gd name="connsiteY3" fmla="*/ 3626773 h 3981506"/>
                  <a:gd name="connsiteX4" fmla="*/ 3669376 w 4122261"/>
                  <a:gd name="connsiteY4" fmla="*/ 0 h 3981506"/>
                  <a:gd name="connsiteX0" fmla="*/ 3669376 w 4122261"/>
                  <a:gd name="connsiteY0" fmla="*/ 0 h 3981506"/>
                  <a:gd name="connsiteX1" fmla="*/ 3983701 w 4122261"/>
                  <a:gd name="connsiteY1" fmla="*/ 333375 h 3981506"/>
                  <a:gd name="connsiteX2" fmla="*/ 298218 w 4122261"/>
                  <a:gd name="connsiteY2" fmla="*/ 3915121 h 3981506"/>
                  <a:gd name="connsiteX3" fmla="*/ 0 w 4122261"/>
                  <a:gd name="connsiteY3" fmla="*/ 3626773 h 3981506"/>
                  <a:gd name="connsiteX4" fmla="*/ 3669376 w 4122261"/>
                  <a:gd name="connsiteY4" fmla="*/ 0 h 3981506"/>
                  <a:gd name="connsiteX0" fmla="*/ 3669376 w 4122261"/>
                  <a:gd name="connsiteY0" fmla="*/ 0 h 3981506"/>
                  <a:gd name="connsiteX1" fmla="*/ 3983701 w 4122261"/>
                  <a:gd name="connsiteY1" fmla="*/ 333375 h 3981506"/>
                  <a:gd name="connsiteX2" fmla="*/ 298218 w 4122261"/>
                  <a:gd name="connsiteY2" fmla="*/ 3915121 h 3981506"/>
                  <a:gd name="connsiteX3" fmla="*/ 0 w 4122261"/>
                  <a:gd name="connsiteY3" fmla="*/ 3626773 h 3981506"/>
                  <a:gd name="connsiteX4" fmla="*/ 3669376 w 4122261"/>
                  <a:gd name="connsiteY4" fmla="*/ 0 h 3981506"/>
                  <a:gd name="connsiteX0" fmla="*/ 3669376 w 4120587"/>
                  <a:gd name="connsiteY0" fmla="*/ 0 h 3976075"/>
                  <a:gd name="connsiteX1" fmla="*/ 3983701 w 4120587"/>
                  <a:gd name="connsiteY1" fmla="*/ 333375 h 3976075"/>
                  <a:gd name="connsiteX2" fmla="*/ 259426 w 4120587"/>
                  <a:gd name="connsiteY2" fmla="*/ 3909579 h 3976075"/>
                  <a:gd name="connsiteX3" fmla="*/ 0 w 4120587"/>
                  <a:gd name="connsiteY3" fmla="*/ 3626773 h 3976075"/>
                  <a:gd name="connsiteX4" fmla="*/ 3669376 w 4120587"/>
                  <a:gd name="connsiteY4" fmla="*/ 0 h 3976075"/>
                  <a:gd name="connsiteX0" fmla="*/ 3669376 w 4119183"/>
                  <a:gd name="connsiteY0" fmla="*/ 0 h 3959787"/>
                  <a:gd name="connsiteX1" fmla="*/ 3983701 w 4119183"/>
                  <a:gd name="connsiteY1" fmla="*/ 333375 h 3959787"/>
                  <a:gd name="connsiteX2" fmla="*/ 226175 w 4119183"/>
                  <a:gd name="connsiteY2" fmla="*/ 3892953 h 3959787"/>
                  <a:gd name="connsiteX3" fmla="*/ 0 w 4119183"/>
                  <a:gd name="connsiteY3" fmla="*/ 3626773 h 3959787"/>
                  <a:gd name="connsiteX4" fmla="*/ 3669376 w 4119183"/>
                  <a:gd name="connsiteY4" fmla="*/ 0 h 3959787"/>
                  <a:gd name="connsiteX0" fmla="*/ 3691544 w 4141351"/>
                  <a:gd name="connsiteY0" fmla="*/ 0 h 3959787"/>
                  <a:gd name="connsiteX1" fmla="*/ 4005869 w 4141351"/>
                  <a:gd name="connsiteY1" fmla="*/ 333375 h 3959787"/>
                  <a:gd name="connsiteX2" fmla="*/ 248343 w 4141351"/>
                  <a:gd name="connsiteY2" fmla="*/ 3892953 h 3959787"/>
                  <a:gd name="connsiteX3" fmla="*/ 0 w 4141351"/>
                  <a:gd name="connsiteY3" fmla="*/ 3615690 h 3959787"/>
                  <a:gd name="connsiteX4" fmla="*/ 3691544 w 4141351"/>
                  <a:gd name="connsiteY4" fmla="*/ 0 h 3959787"/>
                  <a:gd name="connsiteX0" fmla="*/ 3691544 w 4141351"/>
                  <a:gd name="connsiteY0" fmla="*/ 0 h 3959787"/>
                  <a:gd name="connsiteX1" fmla="*/ 4005869 w 4141351"/>
                  <a:gd name="connsiteY1" fmla="*/ 333375 h 3959787"/>
                  <a:gd name="connsiteX2" fmla="*/ 248343 w 4141351"/>
                  <a:gd name="connsiteY2" fmla="*/ 3892953 h 3959787"/>
                  <a:gd name="connsiteX3" fmla="*/ 0 w 4141351"/>
                  <a:gd name="connsiteY3" fmla="*/ 3615690 h 3959787"/>
                  <a:gd name="connsiteX4" fmla="*/ 3691544 w 4141351"/>
                  <a:gd name="connsiteY4" fmla="*/ 0 h 3959787"/>
                  <a:gd name="connsiteX0" fmla="*/ 3691544 w 4142992"/>
                  <a:gd name="connsiteY0" fmla="*/ 0 h 3986935"/>
                  <a:gd name="connsiteX1" fmla="*/ 4005869 w 4142992"/>
                  <a:gd name="connsiteY1" fmla="*/ 333375 h 3986935"/>
                  <a:gd name="connsiteX2" fmla="*/ 287135 w 4142992"/>
                  <a:gd name="connsiteY2" fmla="*/ 3920662 h 3986935"/>
                  <a:gd name="connsiteX3" fmla="*/ 0 w 4142992"/>
                  <a:gd name="connsiteY3" fmla="*/ 3615690 h 3986935"/>
                  <a:gd name="connsiteX4" fmla="*/ 3691544 w 4142992"/>
                  <a:gd name="connsiteY4" fmla="*/ 0 h 3986935"/>
                  <a:gd name="connsiteX0" fmla="*/ 3691544 w 4142992"/>
                  <a:gd name="connsiteY0" fmla="*/ 0 h 3986935"/>
                  <a:gd name="connsiteX1" fmla="*/ 4005869 w 4142992"/>
                  <a:gd name="connsiteY1" fmla="*/ 333375 h 3986935"/>
                  <a:gd name="connsiteX2" fmla="*/ 287135 w 4142992"/>
                  <a:gd name="connsiteY2" fmla="*/ 3920662 h 3986935"/>
                  <a:gd name="connsiteX3" fmla="*/ 0 w 4142992"/>
                  <a:gd name="connsiteY3" fmla="*/ 3615690 h 3986935"/>
                  <a:gd name="connsiteX4" fmla="*/ 3691544 w 4142992"/>
                  <a:gd name="connsiteY4" fmla="*/ 0 h 3986935"/>
                  <a:gd name="connsiteX0" fmla="*/ 3691544 w 4142992"/>
                  <a:gd name="connsiteY0" fmla="*/ 0 h 3976075"/>
                  <a:gd name="connsiteX1" fmla="*/ 4005869 w 4142992"/>
                  <a:gd name="connsiteY1" fmla="*/ 333375 h 3976075"/>
                  <a:gd name="connsiteX2" fmla="*/ 287135 w 4142992"/>
                  <a:gd name="connsiteY2" fmla="*/ 3909579 h 3976075"/>
                  <a:gd name="connsiteX3" fmla="*/ 0 w 4142992"/>
                  <a:gd name="connsiteY3" fmla="*/ 3615690 h 3976075"/>
                  <a:gd name="connsiteX4" fmla="*/ 3691544 w 4142992"/>
                  <a:gd name="connsiteY4" fmla="*/ 0 h 3976075"/>
                  <a:gd name="connsiteX0" fmla="*/ 3691544 w 4134051"/>
                  <a:gd name="connsiteY0" fmla="*/ 0 h 4118596"/>
                  <a:gd name="connsiteX1" fmla="*/ 4005869 w 4134051"/>
                  <a:gd name="connsiteY1" fmla="*/ 333375 h 4118596"/>
                  <a:gd name="connsiteX2" fmla="*/ 287135 w 4134051"/>
                  <a:gd name="connsiteY2" fmla="*/ 3909579 h 4118596"/>
                  <a:gd name="connsiteX3" fmla="*/ 0 w 4134051"/>
                  <a:gd name="connsiteY3" fmla="*/ 3615690 h 4118596"/>
                  <a:gd name="connsiteX4" fmla="*/ 3691544 w 4134051"/>
                  <a:gd name="connsiteY4" fmla="*/ 0 h 4118596"/>
                  <a:gd name="connsiteX0" fmla="*/ 3691544 w 4134051"/>
                  <a:gd name="connsiteY0" fmla="*/ 0 h 4102789"/>
                  <a:gd name="connsiteX1" fmla="*/ 4005869 w 4134051"/>
                  <a:gd name="connsiteY1" fmla="*/ 333375 h 4102789"/>
                  <a:gd name="connsiteX2" fmla="*/ 287135 w 4134051"/>
                  <a:gd name="connsiteY2" fmla="*/ 3892954 h 4102789"/>
                  <a:gd name="connsiteX3" fmla="*/ 0 w 4134051"/>
                  <a:gd name="connsiteY3" fmla="*/ 3615690 h 4102789"/>
                  <a:gd name="connsiteX4" fmla="*/ 3691544 w 4134051"/>
                  <a:gd name="connsiteY4" fmla="*/ 0 h 4102789"/>
                  <a:gd name="connsiteX0" fmla="*/ 3691544 w 4122504"/>
                  <a:gd name="connsiteY0" fmla="*/ 0 h 4104466"/>
                  <a:gd name="connsiteX1" fmla="*/ 4005869 w 4122504"/>
                  <a:gd name="connsiteY1" fmla="*/ 333375 h 4104466"/>
                  <a:gd name="connsiteX2" fmla="*/ 287135 w 4122504"/>
                  <a:gd name="connsiteY2" fmla="*/ 3892954 h 4104466"/>
                  <a:gd name="connsiteX3" fmla="*/ 0 w 4122504"/>
                  <a:gd name="connsiteY3" fmla="*/ 3615690 h 4104466"/>
                  <a:gd name="connsiteX4" fmla="*/ 3691544 w 4122504"/>
                  <a:gd name="connsiteY4" fmla="*/ 0 h 4104466"/>
                  <a:gd name="connsiteX0" fmla="*/ 3691544 w 4122504"/>
                  <a:gd name="connsiteY0" fmla="*/ 0 h 4104466"/>
                  <a:gd name="connsiteX1" fmla="*/ 4005869 w 4122504"/>
                  <a:gd name="connsiteY1" fmla="*/ 333375 h 4104466"/>
                  <a:gd name="connsiteX2" fmla="*/ 287135 w 4122504"/>
                  <a:gd name="connsiteY2" fmla="*/ 3892954 h 4104466"/>
                  <a:gd name="connsiteX3" fmla="*/ 0 w 4122504"/>
                  <a:gd name="connsiteY3" fmla="*/ 3615690 h 4104466"/>
                  <a:gd name="connsiteX4" fmla="*/ 3691544 w 4122504"/>
                  <a:gd name="connsiteY4" fmla="*/ 0 h 4104466"/>
                  <a:gd name="connsiteX0" fmla="*/ 3691544 w 4121907"/>
                  <a:gd name="connsiteY0" fmla="*/ 0 h 4086367"/>
                  <a:gd name="connsiteX1" fmla="*/ 4005869 w 4121907"/>
                  <a:gd name="connsiteY1" fmla="*/ 333375 h 4086367"/>
                  <a:gd name="connsiteX2" fmla="*/ 268085 w 4121907"/>
                  <a:gd name="connsiteY2" fmla="*/ 3873904 h 4086367"/>
                  <a:gd name="connsiteX3" fmla="*/ 0 w 4121907"/>
                  <a:gd name="connsiteY3" fmla="*/ 3615690 h 4086367"/>
                  <a:gd name="connsiteX4" fmla="*/ 3691544 w 4121907"/>
                  <a:gd name="connsiteY4" fmla="*/ 0 h 4086367"/>
                  <a:gd name="connsiteX0" fmla="*/ 3691544 w 4126498"/>
                  <a:gd name="connsiteY0" fmla="*/ 0 h 4117288"/>
                  <a:gd name="connsiteX1" fmla="*/ 4005869 w 4126498"/>
                  <a:gd name="connsiteY1" fmla="*/ 333375 h 4117288"/>
                  <a:gd name="connsiteX2" fmla="*/ 268085 w 4126498"/>
                  <a:gd name="connsiteY2" fmla="*/ 3873904 h 4117288"/>
                  <a:gd name="connsiteX3" fmla="*/ 0 w 4126498"/>
                  <a:gd name="connsiteY3" fmla="*/ 3615690 h 4117288"/>
                  <a:gd name="connsiteX4" fmla="*/ 3691544 w 4126498"/>
                  <a:gd name="connsiteY4" fmla="*/ 0 h 4117288"/>
                  <a:gd name="connsiteX0" fmla="*/ 3691544 w 4122770"/>
                  <a:gd name="connsiteY0" fmla="*/ 0 h 4121788"/>
                  <a:gd name="connsiteX1" fmla="*/ 4005869 w 4122770"/>
                  <a:gd name="connsiteY1" fmla="*/ 333375 h 4121788"/>
                  <a:gd name="connsiteX2" fmla="*/ 268085 w 4122770"/>
                  <a:gd name="connsiteY2" fmla="*/ 3873904 h 4121788"/>
                  <a:gd name="connsiteX3" fmla="*/ 0 w 4122770"/>
                  <a:gd name="connsiteY3" fmla="*/ 3615690 h 4121788"/>
                  <a:gd name="connsiteX4" fmla="*/ 3691544 w 4122770"/>
                  <a:gd name="connsiteY4" fmla="*/ 0 h 4121788"/>
                  <a:gd name="connsiteX0" fmla="*/ 3691544 w 4120635"/>
                  <a:gd name="connsiteY0" fmla="*/ 0 h 4120286"/>
                  <a:gd name="connsiteX1" fmla="*/ 4005869 w 4120635"/>
                  <a:gd name="connsiteY1" fmla="*/ 333375 h 4120286"/>
                  <a:gd name="connsiteX2" fmla="*/ 268085 w 4120635"/>
                  <a:gd name="connsiteY2" fmla="*/ 3873904 h 4120286"/>
                  <a:gd name="connsiteX3" fmla="*/ 0 w 4120635"/>
                  <a:gd name="connsiteY3" fmla="*/ 3615690 h 4120286"/>
                  <a:gd name="connsiteX4" fmla="*/ 3691544 w 4120635"/>
                  <a:gd name="connsiteY4" fmla="*/ 0 h 4120286"/>
                  <a:gd name="connsiteX0" fmla="*/ 3691544 w 4135145"/>
                  <a:gd name="connsiteY0" fmla="*/ 0 h 4120286"/>
                  <a:gd name="connsiteX1" fmla="*/ 4005869 w 4135145"/>
                  <a:gd name="connsiteY1" fmla="*/ 333375 h 4120286"/>
                  <a:gd name="connsiteX2" fmla="*/ 268085 w 4135145"/>
                  <a:gd name="connsiteY2" fmla="*/ 3873904 h 4120286"/>
                  <a:gd name="connsiteX3" fmla="*/ 0 w 4135145"/>
                  <a:gd name="connsiteY3" fmla="*/ 3615690 h 4120286"/>
                  <a:gd name="connsiteX4" fmla="*/ 3691544 w 4135145"/>
                  <a:gd name="connsiteY4" fmla="*/ 0 h 4120286"/>
                  <a:gd name="connsiteX0" fmla="*/ 3691544 w 4135988"/>
                  <a:gd name="connsiteY0" fmla="*/ 0 h 3958785"/>
                  <a:gd name="connsiteX1" fmla="*/ 4005869 w 4135988"/>
                  <a:gd name="connsiteY1" fmla="*/ 333375 h 3958785"/>
                  <a:gd name="connsiteX2" fmla="*/ 268085 w 4135988"/>
                  <a:gd name="connsiteY2" fmla="*/ 3873904 h 3958785"/>
                  <a:gd name="connsiteX3" fmla="*/ 0 w 4135988"/>
                  <a:gd name="connsiteY3" fmla="*/ 3615690 h 3958785"/>
                  <a:gd name="connsiteX4" fmla="*/ 3691544 w 4135988"/>
                  <a:gd name="connsiteY4" fmla="*/ 0 h 3958785"/>
                  <a:gd name="connsiteX0" fmla="*/ 3691544 w 4126744"/>
                  <a:gd name="connsiteY0" fmla="*/ 0 h 4125101"/>
                  <a:gd name="connsiteX1" fmla="*/ 4005869 w 4126744"/>
                  <a:gd name="connsiteY1" fmla="*/ 333375 h 4125101"/>
                  <a:gd name="connsiteX2" fmla="*/ 268085 w 4126744"/>
                  <a:gd name="connsiteY2" fmla="*/ 3873904 h 4125101"/>
                  <a:gd name="connsiteX3" fmla="*/ 0 w 4126744"/>
                  <a:gd name="connsiteY3" fmla="*/ 3615690 h 4125101"/>
                  <a:gd name="connsiteX4" fmla="*/ 3691544 w 4126744"/>
                  <a:gd name="connsiteY4" fmla="*/ 0 h 4125101"/>
                  <a:gd name="connsiteX0" fmla="*/ 3691544 w 4133762"/>
                  <a:gd name="connsiteY0" fmla="*/ 0 h 4117887"/>
                  <a:gd name="connsiteX1" fmla="*/ 4005869 w 4133762"/>
                  <a:gd name="connsiteY1" fmla="*/ 333375 h 4117887"/>
                  <a:gd name="connsiteX2" fmla="*/ 268085 w 4133762"/>
                  <a:gd name="connsiteY2" fmla="*/ 3873904 h 4117887"/>
                  <a:gd name="connsiteX3" fmla="*/ 0 w 4133762"/>
                  <a:gd name="connsiteY3" fmla="*/ 3615690 h 4117887"/>
                  <a:gd name="connsiteX4" fmla="*/ 3691544 w 4133762"/>
                  <a:gd name="connsiteY4" fmla="*/ 0 h 4117887"/>
                  <a:gd name="connsiteX0" fmla="*/ 3691544 w 4163756"/>
                  <a:gd name="connsiteY0" fmla="*/ 0 h 4131277"/>
                  <a:gd name="connsiteX1" fmla="*/ 4005869 w 4163756"/>
                  <a:gd name="connsiteY1" fmla="*/ 333375 h 4131277"/>
                  <a:gd name="connsiteX2" fmla="*/ 268085 w 4163756"/>
                  <a:gd name="connsiteY2" fmla="*/ 3873904 h 4131277"/>
                  <a:gd name="connsiteX3" fmla="*/ 0 w 4163756"/>
                  <a:gd name="connsiteY3" fmla="*/ 3615690 h 4131277"/>
                  <a:gd name="connsiteX4" fmla="*/ 3691544 w 4163756"/>
                  <a:gd name="connsiteY4" fmla="*/ 0 h 4131277"/>
                  <a:gd name="connsiteX0" fmla="*/ 3691544 w 4163756"/>
                  <a:gd name="connsiteY0" fmla="*/ 0 h 4128666"/>
                  <a:gd name="connsiteX1" fmla="*/ 4005869 w 4163756"/>
                  <a:gd name="connsiteY1" fmla="*/ 333375 h 4128666"/>
                  <a:gd name="connsiteX2" fmla="*/ 268085 w 4163756"/>
                  <a:gd name="connsiteY2" fmla="*/ 3873904 h 4128666"/>
                  <a:gd name="connsiteX3" fmla="*/ 0 w 4163756"/>
                  <a:gd name="connsiteY3" fmla="*/ 3615690 h 4128666"/>
                  <a:gd name="connsiteX4" fmla="*/ 3691544 w 4163756"/>
                  <a:gd name="connsiteY4" fmla="*/ 0 h 4128666"/>
                  <a:gd name="connsiteX0" fmla="*/ 3691544 w 4161556"/>
                  <a:gd name="connsiteY0" fmla="*/ 0 h 4113975"/>
                  <a:gd name="connsiteX1" fmla="*/ 4005869 w 4161556"/>
                  <a:gd name="connsiteY1" fmla="*/ 333375 h 4113975"/>
                  <a:gd name="connsiteX2" fmla="*/ 268085 w 4161556"/>
                  <a:gd name="connsiteY2" fmla="*/ 3873904 h 4113975"/>
                  <a:gd name="connsiteX3" fmla="*/ 0 w 4161556"/>
                  <a:gd name="connsiteY3" fmla="*/ 3615690 h 4113975"/>
                  <a:gd name="connsiteX4" fmla="*/ 3691544 w 4161556"/>
                  <a:gd name="connsiteY4" fmla="*/ 0 h 4113975"/>
                  <a:gd name="connsiteX0" fmla="*/ 3691544 w 4155281"/>
                  <a:gd name="connsiteY0" fmla="*/ 0 h 4131134"/>
                  <a:gd name="connsiteX1" fmla="*/ 4005869 w 4155281"/>
                  <a:gd name="connsiteY1" fmla="*/ 333375 h 4131134"/>
                  <a:gd name="connsiteX2" fmla="*/ 268085 w 4155281"/>
                  <a:gd name="connsiteY2" fmla="*/ 3873904 h 4131134"/>
                  <a:gd name="connsiteX3" fmla="*/ 0 w 4155281"/>
                  <a:gd name="connsiteY3" fmla="*/ 3615690 h 4131134"/>
                  <a:gd name="connsiteX4" fmla="*/ 3691544 w 4155281"/>
                  <a:gd name="connsiteY4" fmla="*/ 0 h 4131134"/>
                  <a:gd name="connsiteX0" fmla="*/ 3691544 w 4165978"/>
                  <a:gd name="connsiteY0" fmla="*/ 0 h 4137340"/>
                  <a:gd name="connsiteX1" fmla="*/ 4005869 w 4165978"/>
                  <a:gd name="connsiteY1" fmla="*/ 333375 h 4137340"/>
                  <a:gd name="connsiteX2" fmla="*/ 268085 w 4165978"/>
                  <a:gd name="connsiteY2" fmla="*/ 3873904 h 4137340"/>
                  <a:gd name="connsiteX3" fmla="*/ 0 w 4165978"/>
                  <a:gd name="connsiteY3" fmla="*/ 3615690 h 4137340"/>
                  <a:gd name="connsiteX4" fmla="*/ 3691544 w 4165978"/>
                  <a:gd name="connsiteY4" fmla="*/ 0 h 4137340"/>
                  <a:gd name="connsiteX0" fmla="*/ 3691544 w 4166585"/>
                  <a:gd name="connsiteY0" fmla="*/ 0 h 4112528"/>
                  <a:gd name="connsiteX1" fmla="*/ 4005869 w 4166585"/>
                  <a:gd name="connsiteY1" fmla="*/ 333375 h 4112528"/>
                  <a:gd name="connsiteX2" fmla="*/ 268085 w 4166585"/>
                  <a:gd name="connsiteY2" fmla="*/ 3873904 h 4112528"/>
                  <a:gd name="connsiteX3" fmla="*/ 0 w 4166585"/>
                  <a:gd name="connsiteY3" fmla="*/ 3615690 h 4112528"/>
                  <a:gd name="connsiteX4" fmla="*/ 3691544 w 4166585"/>
                  <a:gd name="connsiteY4" fmla="*/ 0 h 4112528"/>
                  <a:gd name="connsiteX0" fmla="*/ 3691544 w 4169999"/>
                  <a:gd name="connsiteY0" fmla="*/ 0 h 4112528"/>
                  <a:gd name="connsiteX1" fmla="*/ 4005869 w 4169999"/>
                  <a:gd name="connsiteY1" fmla="*/ 333375 h 4112528"/>
                  <a:gd name="connsiteX2" fmla="*/ 268085 w 4169999"/>
                  <a:gd name="connsiteY2" fmla="*/ 3873904 h 4112528"/>
                  <a:gd name="connsiteX3" fmla="*/ 0 w 4169999"/>
                  <a:gd name="connsiteY3" fmla="*/ 3615690 h 4112528"/>
                  <a:gd name="connsiteX4" fmla="*/ 3691544 w 4169999"/>
                  <a:gd name="connsiteY4" fmla="*/ 0 h 4112528"/>
                  <a:gd name="connsiteX0" fmla="*/ 3691544 w 4165375"/>
                  <a:gd name="connsiteY0" fmla="*/ 0 h 4119913"/>
                  <a:gd name="connsiteX1" fmla="*/ 4005869 w 4165375"/>
                  <a:gd name="connsiteY1" fmla="*/ 333375 h 4119913"/>
                  <a:gd name="connsiteX2" fmla="*/ 268085 w 4165375"/>
                  <a:gd name="connsiteY2" fmla="*/ 3873904 h 4119913"/>
                  <a:gd name="connsiteX3" fmla="*/ 0 w 4165375"/>
                  <a:gd name="connsiteY3" fmla="*/ 3615690 h 4119913"/>
                  <a:gd name="connsiteX4" fmla="*/ 3691544 w 4165375"/>
                  <a:gd name="connsiteY4" fmla="*/ 0 h 4119913"/>
                  <a:gd name="connsiteX0" fmla="*/ 3691544 w 4169700"/>
                  <a:gd name="connsiteY0" fmla="*/ 0 h 4122982"/>
                  <a:gd name="connsiteX1" fmla="*/ 4005869 w 4169700"/>
                  <a:gd name="connsiteY1" fmla="*/ 333375 h 4122982"/>
                  <a:gd name="connsiteX2" fmla="*/ 268085 w 4169700"/>
                  <a:gd name="connsiteY2" fmla="*/ 3873904 h 4122982"/>
                  <a:gd name="connsiteX3" fmla="*/ 0 w 4169700"/>
                  <a:gd name="connsiteY3" fmla="*/ 3615690 h 4122982"/>
                  <a:gd name="connsiteX4" fmla="*/ 3691544 w 4169700"/>
                  <a:gd name="connsiteY4" fmla="*/ 0 h 4122982"/>
                  <a:gd name="connsiteX0" fmla="*/ 3691544 w 4165375"/>
                  <a:gd name="connsiteY0" fmla="*/ 0 h 4122982"/>
                  <a:gd name="connsiteX1" fmla="*/ 4005869 w 4165375"/>
                  <a:gd name="connsiteY1" fmla="*/ 333375 h 4122982"/>
                  <a:gd name="connsiteX2" fmla="*/ 268085 w 4165375"/>
                  <a:gd name="connsiteY2" fmla="*/ 3873904 h 4122982"/>
                  <a:gd name="connsiteX3" fmla="*/ 0 w 4165375"/>
                  <a:gd name="connsiteY3" fmla="*/ 3615690 h 4122982"/>
                  <a:gd name="connsiteX4" fmla="*/ 3691544 w 4165375"/>
                  <a:gd name="connsiteY4" fmla="*/ 0 h 4122982"/>
                  <a:gd name="connsiteX0" fmla="*/ 3691544 w 4152898"/>
                  <a:gd name="connsiteY0" fmla="*/ 0 h 4121387"/>
                  <a:gd name="connsiteX1" fmla="*/ 3992853 w 4152898"/>
                  <a:gd name="connsiteY1" fmla="*/ 307342 h 4121387"/>
                  <a:gd name="connsiteX2" fmla="*/ 268085 w 4152898"/>
                  <a:gd name="connsiteY2" fmla="*/ 3873904 h 4121387"/>
                  <a:gd name="connsiteX3" fmla="*/ 0 w 4152898"/>
                  <a:gd name="connsiteY3" fmla="*/ 3615690 h 4121387"/>
                  <a:gd name="connsiteX4" fmla="*/ 3691544 w 4152898"/>
                  <a:gd name="connsiteY4" fmla="*/ 0 h 4121387"/>
                  <a:gd name="connsiteX0" fmla="*/ 3675274 w 4152898"/>
                  <a:gd name="connsiteY0" fmla="*/ 0 h 4121387"/>
                  <a:gd name="connsiteX1" fmla="*/ 3992853 w 4152898"/>
                  <a:gd name="connsiteY1" fmla="*/ 307342 h 4121387"/>
                  <a:gd name="connsiteX2" fmla="*/ 268085 w 4152898"/>
                  <a:gd name="connsiteY2" fmla="*/ 3873904 h 4121387"/>
                  <a:gd name="connsiteX3" fmla="*/ 0 w 4152898"/>
                  <a:gd name="connsiteY3" fmla="*/ 3615690 h 4121387"/>
                  <a:gd name="connsiteX4" fmla="*/ 3675274 w 4152898"/>
                  <a:gd name="connsiteY4" fmla="*/ 0 h 4121387"/>
                  <a:gd name="connsiteX0" fmla="*/ 3740356 w 4152898"/>
                  <a:gd name="connsiteY0" fmla="*/ 0 h 4111625"/>
                  <a:gd name="connsiteX1" fmla="*/ 3992853 w 4152898"/>
                  <a:gd name="connsiteY1" fmla="*/ 297580 h 4111625"/>
                  <a:gd name="connsiteX2" fmla="*/ 268085 w 4152898"/>
                  <a:gd name="connsiteY2" fmla="*/ 3864142 h 4111625"/>
                  <a:gd name="connsiteX3" fmla="*/ 0 w 4152898"/>
                  <a:gd name="connsiteY3" fmla="*/ 3605928 h 4111625"/>
                  <a:gd name="connsiteX4" fmla="*/ 3740356 w 4152898"/>
                  <a:gd name="connsiteY4" fmla="*/ 0 h 4111625"/>
                  <a:gd name="connsiteX0" fmla="*/ 3766389 w 4152898"/>
                  <a:gd name="connsiteY0" fmla="*/ 0 h 3932650"/>
                  <a:gd name="connsiteX1" fmla="*/ 3992853 w 4152898"/>
                  <a:gd name="connsiteY1" fmla="*/ 118605 h 3932650"/>
                  <a:gd name="connsiteX2" fmla="*/ 268085 w 4152898"/>
                  <a:gd name="connsiteY2" fmla="*/ 3685167 h 3932650"/>
                  <a:gd name="connsiteX3" fmla="*/ 0 w 4152898"/>
                  <a:gd name="connsiteY3" fmla="*/ 3426953 h 3932650"/>
                  <a:gd name="connsiteX4" fmla="*/ 3766389 w 4152898"/>
                  <a:gd name="connsiteY4" fmla="*/ 0 h 3932650"/>
                  <a:gd name="connsiteX0" fmla="*/ 3639480 w 4152898"/>
                  <a:gd name="connsiteY0" fmla="*/ 0 h 4179961"/>
                  <a:gd name="connsiteX1" fmla="*/ 3992853 w 4152898"/>
                  <a:gd name="connsiteY1" fmla="*/ 365916 h 4179961"/>
                  <a:gd name="connsiteX2" fmla="*/ 268085 w 4152898"/>
                  <a:gd name="connsiteY2" fmla="*/ 3932478 h 4179961"/>
                  <a:gd name="connsiteX3" fmla="*/ 0 w 4152898"/>
                  <a:gd name="connsiteY3" fmla="*/ 3674264 h 4179961"/>
                  <a:gd name="connsiteX4" fmla="*/ 3639480 w 4152898"/>
                  <a:gd name="connsiteY4" fmla="*/ 0 h 4179961"/>
                  <a:gd name="connsiteX0" fmla="*/ 3639480 w 4123237"/>
                  <a:gd name="connsiteY0" fmla="*/ 0 h 4179383"/>
                  <a:gd name="connsiteX1" fmla="*/ 3961897 w 4123237"/>
                  <a:gd name="connsiteY1" fmla="*/ 356391 h 4179383"/>
                  <a:gd name="connsiteX2" fmla="*/ 268085 w 4123237"/>
                  <a:gd name="connsiteY2" fmla="*/ 3932478 h 4179383"/>
                  <a:gd name="connsiteX3" fmla="*/ 0 w 4123237"/>
                  <a:gd name="connsiteY3" fmla="*/ 3674264 h 4179383"/>
                  <a:gd name="connsiteX4" fmla="*/ 3639480 w 4123237"/>
                  <a:gd name="connsiteY4" fmla="*/ 0 h 4179383"/>
                  <a:gd name="connsiteX0" fmla="*/ 3639480 w 4061698"/>
                  <a:gd name="connsiteY0" fmla="*/ 0 h 4183787"/>
                  <a:gd name="connsiteX1" fmla="*/ 3897603 w 4061698"/>
                  <a:gd name="connsiteY1" fmla="*/ 427828 h 4183787"/>
                  <a:gd name="connsiteX2" fmla="*/ 268085 w 4061698"/>
                  <a:gd name="connsiteY2" fmla="*/ 3932478 h 4183787"/>
                  <a:gd name="connsiteX3" fmla="*/ 0 w 4061698"/>
                  <a:gd name="connsiteY3" fmla="*/ 3674264 h 4183787"/>
                  <a:gd name="connsiteX4" fmla="*/ 3639480 w 4061698"/>
                  <a:gd name="connsiteY4" fmla="*/ 0 h 4183787"/>
                  <a:gd name="connsiteX0" fmla="*/ 3639480 w 4013900"/>
                  <a:gd name="connsiteY0" fmla="*/ 0 h 4170200"/>
                  <a:gd name="connsiteX1" fmla="*/ 3847597 w 4013900"/>
                  <a:gd name="connsiteY1" fmla="*/ 199228 h 4170200"/>
                  <a:gd name="connsiteX2" fmla="*/ 268085 w 4013900"/>
                  <a:gd name="connsiteY2" fmla="*/ 3932478 h 4170200"/>
                  <a:gd name="connsiteX3" fmla="*/ 0 w 4013900"/>
                  <a:gd name="connsiteY3" fmla="*/ 3674264 h 4170200"/>
                  <a:gd name="connsiteX4" fmla="*/ 3639480 w 4013900"/>
                  <a:gd name="connsiteY4" fmla="*/ 0 h 4170200"/>
                  <a:gd name="connsiteX0" fmla="*/ 3644243 w 4013900"/>
                  <a:gd name="connsiteY0" fmla="*/ 0 h 4167819"/>
                  <a:gd name="connsiteX1" fmla="*/ 3847597 w 4013900"/>
                  <a:gd name="connsiteY1" fmla="*/ 196847 h 4167819"/>
                  <a:gd name="connsiteX2" fmla="*/ 268085 w 4013900"/>
                  <a:gd name="connsiteY2" fmla="*/ 3930097 h 4167819"/>
                  <a:gd name="connsiteX3" fmla="*/ 0 w 4013900"/>
                  <a:gd name="connsiteY3" fmla="*/ 3671883 h 4167819"/>
                  <a:gd name="connsiteX4" fmla="*/ 3644243 w 4013900"/>
                  <a:gd name="connsiteY4" fmla="*/ 0 h 4167819"/>
                  <a:gd name="connsiteX0" fmla="*/ 3644243 w 4169740"/>
                  <a:gd name="connsiteY0" fmla="*/ 0 h 4162186"/>
                  <a:gd name="connsiteX1" fmla="*/ 3847597 w 4169740"/>
                  <a:gd name="connsiteY1" fmla="*/ 196847 h 4162186"/>
                  <a:gd name="connsiteX2" fmla="*/ 268085 w 4169740"/>
                  <a:gd name="connsiteY2" fmla="*/ 3930097 h 4162186"/>
                  <a:gd name="connsiteX3" fmla="*/ 0 w 4169740"/>
                  <a:gd name="connsiteY3" fmla="*/ 3671883 h 4162186"/>
                  <a:gd name="connsiteX4" fmla="*/ 3644243 w 4169740"/>
                  <a:gd name="connsiteY4" fmla="*/ 0 h 4162186"/>
                  <a:gd name="connsiteX0" fmla="*/ 3644243 w 4175258"/>
                  <a:gd name="connsiteY0" fmla="*/ 0 h 4166153"/>
                  <a:gd name="connsiteX1" fmla="*/ 3847597 w 4175258"/>
                  <a:gd name="connsiteY1" fmla="*/ 196847 h 4166153"/>
                  <a:gd name="connsiteX2" fmla="*/ 268085 w 4175258"/>
                  <a:gd name="connsiteY2" fmla="*/ 3930097 h 4166153"/>
                  <a:gd name="connsiteX3" fmla="*/ 0 w 4175258"/>
                  <a:gd name="connsiteY3" fmla="*/ 3671883 h 4166153"/>
                  <a:gd name="connsiteX4" fmla="*/ 3644243 w 4175258"/>
                  <a:gd name="connsiteY4" fmla="*/ 0 h 4166153"/>
                  <a:gd name="connsiteX0" fmla="*/ 3644243 w 4173542"/>
                  <a:gd name="connsiteY0" fmla="*/ 0 h 4158236"/>
                  <a:gd name="connsiteX1" fmla="*/ 3847597 w 4173542"/>
                  <a:gd name="connsiteY1" fmla="*/ 196847 h 4158236"/>
                  <a:gd name="connsiteX2" fmla="*/ 268085 w 4173542"/>
                  <a:gd name="connsiteY2" fmla="*/ 3930097 h 4158236"/>
                  <a:gd name="connsiteX3" fmla="*/ 0 w 4173542"/>
                  <a:gd name="connsiteY3" fmla="*/ 3671883 h 4158236"/>
                  <a:gd name="connsiteX4" fmla="*/ 3644243 w 4173542"/>
                  <a:gd name="connsiteY4" fmla="*/ 0 h 4158236"/>
                  <a:gd name="connsiteX0" fmla="*/ 3644243 w 4174827"/>
                  <a:gd name="connsiteY0" fmla="*/ 0 h 4176142"/>
                  <a:gd name="connsiteX1" fmla="*/ 3847597 w 4174827"/>
                  <a:gd name="connsiteY1" fmla="*/ 196847 h 4176142"/>
                  <a:gd name="connsiteX2" fmla="*/ 268085 w 4174827"/>
                  <a:gd name="connsiteY2" fmla="*/ 3930097 h 4176142"/>
                  <a:gd name="connsiteX3" fmla="*/ 0 w 4174827"/>
                  <a:gd name="connsiteY3" fmla="*/ 3671883 h 4176142"/>
                  <a:gd name="connsiteX4" fmla="*/ 3644243 w 4174827"/>
                  <a:gd name="connsiteY4" fmla="*/ 0 h 4176142"/>
                  <a:gd name="connsiteX0" fmla="*/ 3644243 w 4177425"/>
                  <a:gd name="connsiteY0" fmla="*/ 0 h 4138741"/>
                  <a:gd name="connsiteX1" fmla="*/ 3847597 w 4177425"/>
                  <a:gd name="connsiteY1" fmla="*/ 196847 h 4138741"/>
                  <a:gd name="connsiteX2" fmla="*/ 268085 w 4177425"/>
                  <a:gd name="connsiteY2" fmla="*/ 3930097 h 4138741"/>
                  <a:gd name="connsiteX3" fmla="*/ 0 w 4177425"/>
                  <a:gd name="connsiteY3" fmla="*/ 3671883 h 4138741"/>
                  <a:gd name="connsiteX4" fmla="*/ 3644243 w 4177425"/>
                  <a:gd name="connsiteY4" fmla="*/ 0 h 4138741"/>
                  <a:gd name="connsiteX0" fmla="*/ 3644243 w 4177425"/>
                  <a:gd name="connsiteY0" fmla="*/ 0 h 4168143"/>
                  <a:gd name="connsiteX1" fmla="*/ 3847597 w 4177425"/>
                  <a:gd name="connsiteY1" fmla="*/ 196847 h 4168143"/>
                  <a:gd name="connsiteX2" fmla="*/ 268085 w 4177425"/>
                  <a:gd name="connsiteY2" fmla="*/ 3930097 h 4168143"/>
                  <a:gd name="connsiteX3" fmla="*/ 0 w 4177425"/>
                  <a:gd name="connsiteY3" fmla="*/ 3671883 h 4168143"/>
                  <a:gd name="connsiteX4" fmla="*/ 3644243 w 4177425"/>
                  <a:gd name="connsiteY4" fmla="*/ 0 h 4168143"/>
                  <a:gd name="connsiteX0" fmla="*/ 3644243 w 4177425"/>
                  <a:gd name="connsiteY0" fmla="*/ 0 h 4168143"/>
                  <a:gd name="connsiteX1" fmla="*/ 3847597 w 4177425"/>
                  <a:gd name="connsiteY1" fmla="*/ 196847 h 4168143"/>
                  <a:gd name="connsiteX2" fmla="*/ 268085 w 4177425"/>
                  <a:gd name="connsiteY2" fmla="*/ 3930097 h 4168143"/>
                  <a:gd name="connsiteX3" fmla="*/ 0 w 4177425"/>
                  <a:gd name="connsiteY3" fmla="*/ 3671883 h 4168143"/>
                  <a:gd name="connsiteX4" fmla="*/ 3644243 w 4177425"/>
                  <a:gd name="connsiteY4" fmla="*/ 0 h 4168143"/>
                  <a:gd name="connsiteX0" fmla="*/ 3662531 w 4177425"/>
                  <a:gd name="connsiteY0" fmla="*/ 0 h 4158999"/>
                  <a:gd name="connsiteX1" fmla="*/ 3847597 w 4177425"/>
                  <a:gd name="connsiteY1" fmla="*/ 187703 h 4158999"/>
                  <a:gd name="connsiteX2" fmla="*/ 268085 w 4177425"/>
                  <a:gd name="connsiteY2" fmla="*/ 3920953 h 4158999"/>
                  <a:gd name="connsiteX3" fmla="*/ 0 w 4177425"/>
                  <a:gd name="connsiteY3" fmla="*/ 3662739 h 4158999"/>
                  <a:gd name="connsiteX4" fmla="*/ 3662531 w 4177425"/>
                  <a:gd name="connsiteY4" fmla="*/ 0 h 4158999"/>
                  <a:gd name="connsiteX0" fmla="*/ 3653387 w 4177425"/>
                  <a:gd name="connsiteY0" fmla="*/ 0 h 4158999"/>
                  <a:gd name="connsiteX1" fmla="*/ 3847597 w 4177425"/>
                  <a:gd name="connsiteY1" fmla="*/ 187703 h 4158999"/>
                  <a:gd name="connsiteX2" fmla="*/ 268085 w 4177425"/>
                  <a:gd name="connsiteY2" fmla="*/ 3920953 h 4158999"/>
                  <a:gd name="connsiteX3" fmla="*/ 0 w 4177425"/>
                  <a:gd name="connsiteY3" fmla="*/ 3662739 h 4158999"/>
                  <a:gd name="connsiteX4" fmla="*/ 3653387 w 4177425"/>
                  <a:gd name="connsiteY4" fmla="*/ 0 h 4158999"/>
                  <a:gd name="connsiteX0" fmla="*/ 3639671 w 4177425"/>
                  <a:gd name="connsiteY0" fmla="*/ 0 h 4158999"/>
                  <a:gd name="connsiteX1" fmla="*/ 3847597 w 4177425"/>
                  <a:gd name="connsiteY1" fmla="*/ 187703 h 4158999"/>
                  <a:gd name="connsiteX2" fmla="*/ 268085 w 4177425"/>
                  <a:gd name="connsiteY2" fmla="*/ 3920953 h 4158999"/>
                  <a:gd name="connsiteX3" fmla="*/ 0 w 4177425"/>
                  <a:gd name="connsiteY3" fmla="*/ 3662739 h 4158999"/>
                  <a:gd name="connsiteX4" fmla="*/ 3639671 w 4177425"/>
                  <a:gd name="connsiteY4" fmla="*/ 0 h 4158999"/>
                  <a:gd name="connsiteX0" fmla="*/ 3639671 w 4177425"/>
                  <a:gd name="connsiteY0" fmla="*/ 0 h 4158999"/>
                  <a:gd name="connsiteX1" fmla="*/ 3847597 w 4177425"/>
                  <a:gd name="connsiteY1" fmla="*/ 187703 h 4158999"/>
                  <a:gd name="connsiteX2" fmla="*/ 268085 w 4177425"/>
                  <a:gd name="connsiteY2" fmla="*/ 3920953 h 4158999"/>
                  <a:gd name="connsiteX3" fmla="*/ 0 w 4177425"/>
                  <a:gd name="connsiteY3" fmla="*/ 3662739 h 4158999"/>
                  <a:gd name="connsiteX4" fmla="*/ 3639671 w 4177425"/>
                  <a:gd name="connsiteY4" fmla="*/ 0 h 4158999"/>
                  <a:gd name="connsiteX0" fmla="*/ 3639671 w 4152320"/>
                  <a:gd name="connsiteY0" fmla="*/ 0 h 4157583"/>
                  <a:gd name="connsiteX1" fmla="*/ 3847597 w 4152320"/>
                  <a:gd name="connsiteY1" fmla="*/ 187703 h 4157583"/>
                  <a:gd name="connsiteX2" fmla="*/ 268085 w 4152320"/>
                  <a:gd name="connsiteY2" fmla="*/ 3920953 h 4157583"/>
                  <a:gd name="connsiteX3" fmla="*/ 0 w 4152320"/>
                  <a:gd name="connsiteY3" fmla="*/ 3662739 h 4157583"/>
                  <a:gd name="connsiteX4" fmla="*/ 3639671 w 4152320"/>
                  <a:gd name="connsiteY4" fmla="*/ 0 h 4157583"/>
                  <a:gd name="connsiteX0" fmla="*/ 3639671 w 4149210"/>
                  <a:gd name="connsiteY0" fmla="*/ 0 h 4154336"/>
                  <a:gd name="connsiteX1" fmla="*/ 3847597 w 4149210"/>
                  <a:gd name="connsiteY1" fmla="*/ 187703 h 4154336"/>
                  <a:gd name="connsiteX2" fmla="*/ 268085 w 4149210"/>
                  <a:gd name="connsiteY2" fmla="*/ 3920953 h 4154336"/>
                  <a:gd name="connsiteX3" fmla="*/ 0 w 4149210"/>
                  <a:gd name="connsiteY3" fmla="*/ 3662739 h 4154336"/>
                  <a:gd name="connsiteX4" fmla="*/ 3639671 w 4149210"/>
                  <a:gd name="connsiteY4" fmla="*/ 0 h 4154336"/>
                  <a:gd name="connsiteX0" fmla="*/ 3639671 w 4160122"/>
                  <a:gd name="connsiteY0" fmla="*/ 0 h 4155949"/>
                  <a:gd name="connsiteX1" fmla="*/ 3847597 w 4160122"/>
                  <a:gd name="connsiteY1" fmla="*/ 187703 h 4155949"/>
                  <a:gd name="connsiteX2" fmla="*/ 268085 w 4160122"/>
                  <a:gd name="connsiteY2" fmla="*/ 3920953 h 4155949"/>
                  <a:gd name="connsiteX3" fmla="*/ 0 w 4160122"/>
                  <a:gd name="connsiteY3" fmla="*/ 3662739 h 4155949"/>
                  <a:gd name="connsiteX4" fmla="*/ 3639671 w 4160122"/>
                  <a:gd name="connsiteY4" fmla="*/ 0 h 4155949"/>
                  <a:gd name="connsiteX0" fmla="*/ 3639671 w 4166833"/>
                  <a:gd name="connsiteY0" fmla="*/ 0 h 4144176"/>
                  <a:gd name="connsiteX1" fmla="*/ 3847597 w 4166833"/>
                  <a:gd name="connsiteY1" fmla="*/ 187703 h 4144176"/>
                  <a:gd name="connsiteX2" fmla="*/ 268085 w 4166833"/>
                  <a:gd name="connsiteY2" fmla="*/ 3920953 h 4144176"/>
                  <a:gd name="connsiteX3" fmla="*/ 0 w 4166833"/>
                  <a:gd name="connsiteY3" fmla="*/ 3662739 h 4144176"/>
                  <a:gd name="connsiteX4" fmla="*/ 3639671 w 4166833"/>
                  <a:gd name="connsiteY4" fmla="*/ 0 h 4144176"/>
                  <a:gd name="connsiteX0" fmla="*/ 3639671 w 4152685"/>
                  <a:gd name="connsiteY0" fmla="*/ 0 h 4170270"/>
                  <a:gd name="connsiteX1" fmla="*/ 3847597 w 4152685"/>
                  <a:gd name="connsiteY1" fmla="*/ 187703 h 4170270"/>
                  <a:gd name="connsiteX2" fmla="*/ 268085 w 4152685"/>
                  <a:gd name="connsiteY2" fmla="*/ 3920953 h 4170270"/>
                  <a:gd name="connsiteX3" fmla="*/ 0 w 4152685"/>
                  <a:gd name="connsiteY3" fmla="*/ 3662739 h 4170270"/>
                  <a:gd name="connsiteX4" fmla="*/ 3639671 w 4152685"/>
                  <a:gd name="connsiteY4" fmla="*/ 0 h 4170270"/>
                  <a:gd name="connsiteX0" fmla="*/ 3639671 w 4162673"/>
                  <a:gd name="connsiteY0" fmla="*/ 0 h 4177506"/>
                  <a:gd name="connsiteX1" fmla="*/ 3847597 w 4162673"/>
                  <a:gd name="connsiteY1" fmla="*/ 187703 h 4177506"/>
                  <a:gd name="connsiteX2" fmla="*/ 268085 w 4162673"/>
                  <a:gd name="connsiteY2" fmla="*/ 3920953 h 4177506"/>
                  <a:gd name="connsiteX3" fmla="*/ 0 w 4162673"/>
                  <a:gd name="connsiteY3" fmla="*/ 3662739 h 4177506"/>
                  <a:gd name="connsiteX4" fmla="*/ 3639671 w 4162673"/>
                  <a:gd name="connsiteY4" fmla="*/ 0 h 4177506"/>
                  <a:gd name="connsiteX0" fmla="*/ 3639671 w 4161648"/>
                  <a:gd name="connsiteY0" fmla="*/ 0 h 4155949"/>
                  <a:gd name="connsiteX1" fmla="*/ 3847597 w 4161648"/>
                  <a:gd name="connsiteY1" fmla="*/ 187703 h 4155949"/>
                  <a:gd name="connsiteX2" fmla="*/ 268085 w 4161648"/>
                  <a:gd name="connsiteY2" fmla="*/ 3920953 h 4155949"/>
                  <a:gd name="connsiteX3" fmla="*/ 0 w 4161648"/>
                  <a:gd name="connsiteY3" fmla="*/ 3662739 h 4155949"/>
                  <a:gd name="connsiteX4" fmla="*/ 3639671 w 4161648"/>
                  <a:gd name="connsiteY4" fmla="*/ 0 h 4155949"/>
                  <a:gd name="connsiteX0" fmla="*/ 3639671 w 4161648"/>
                  <a:gd name="connsiteY0" fmla="*/ 0 h 4155949"/>
                  <a:gd name="connsiteX1" fmla="*/ 3847597 w 4161648"/>
                  <a:gd name="connsiteY1" fmla="*/ 187703 h 4155949"/>
                  <a:gd name="connsiteX2" fmla="*/ 268085 w 4161648"/>
                  <a:gd name="connsiteY2" fmla="*/ 3920953 h 4155949"/>
                  <a:gd name="connsiteX3" fmla="*/ 0 w 4161648"/>
                  <a:gd name="connsiteY3" fmla="*/ 3662739 h 4155949"/>
                  <a:gd name="connsiteX4" fmla="*/ 3639671 w 4161648"/>
                  <a:gd name="connsiteY4" fmla="*/ 0 h 4155949"/>
                  <a:gd name="connsiteX0" fmla="*/ 3639671 w 4192541"/>
                  <a:gd name="connsiteY0" fmla="*/ 0 h 4157140"/>
                  <a:gd name="connsiteX1" fmla="*/ 3880848 w 4192541"/>
                  <a:gd name="connsiteY1" fmla="*/ 209871 h 4157140"/>
                  <a:gd name="connsiteX2" fmla="*/ 268085 w 4192541"/>
                  <a:gd name="connsiteY2" fmla="*/ 3920953 h 4157140"/>
                  <a:gd name="connsiteX3" fmla="*/ 0 w 4192541"/>
                  <a:gd name="connsiteY3" fmla="*/ 3662739 h 4157140"/>
                  <a:gd name="connsiteX4" fmla="*/ 3639671 w 4192541"/>
                  <a:gd name="connsiteY4" fmla="*/ 0 h 4157140"/>
                  <a:gd name="connsiteX0" fmla="*/ 3639671 w 4156560"/>
                  <a:gd name="connsiteY0" fmla="*/ 0 h 4157923"/>
                  <a:gd name="connsiteX1" fmla="*/ 3880848 w 4156560"/>
                  <a:gd name="connsiteY1" fmla="*/ 209871 h 4157923"/>
                  <a:gd name="connsiteX2" fmla="*/ 268085 w 4156560"/>
                  <a:gd name="connsiteY2" fmla="*/ 3920953 h 4157923"/>
                  <a:gd name="connsiteX3" fmla="*/ 0 w 4156560"/>
                  <a:gd name="connsiteY3" fmla="*/ 3662739 h 4157923"/>
                  <a:gd name="connsiteX4" fmla="*/ 3639671 w 4156560"/>
                  <a:gd name="connsiteY4" fmla="*/ 0 h 4157923"/>
                  <a:gd name="connsiteX0" fmla="*/ 3639671 w 4156560"/>
                  <a:gd name="connsiteY0" fmla="*/ 0 h 4158442"/>
                  <a:gd name="connsiteX1" fmla="*/ 3880848 w 4156560"/>
                  <a:gd name="connsiteY1" fmla="*/ 219396 h 4158442"/>
                  <a:gd name="connsiteX2" fmla="*/ 268085 w 4156560"/>
                  <a:gd name="connsiteY2" fmla="*/ 3920953 h 4158442"/>
                  <a:gd name="connsiteX3" fmla="*/ 0 w 4156560"/>
                  <a:gd name="connsiteY3" fmla="*/ 3662739 h 4158442"/>
                  <a:gd name="connsiteX4" fmla="*/ 3639671 w 4156560"/>
                  <a:gd name="connsiteY4" fmla="*/ 0 h 4158442"/>
                  <a:gd name="connsiteX0" fmla="*/ 3646815 w 4156560"/>
                  <a:gd name="connsiteY0" fmla="*/ 0 h 4158442"/>
                  <a:gd name="connsiteX1" fmla="*/ 3880848 w 4156560"/>
                  <a:gd name="connsiteY1" fmla="*/ 219396 h 4158442"/>
                  <a:gd name="connsiteX2" fmla="*/ 268085 w 4156560"/>
                  <a:gd name="connsiteY2" fmla="*/ 3920953 h 4158442"/>
                  <a:gd name="connsiteX3" fmla="*/ 0 w 4156560"/>
                  <a:gd name="connsiteY3" fmla="*/ 3662739 h 4158442"/>
                  <a:gd name="connsiteX4" fmla="*/ 3646815 w 4156560"/>
                  <a:gd name="connsiteY4" fmla="*/ 0 h 4158442"/>
                  <a:gd name="connsiteX0" fmla="*/ 3646815 w 4156560"/>
                  <a:gd name="connsiteY0" fmla="*/ 0 h 4159093"/>
                  <a:gd name="connsiteX1" fmla="*/ 3880848 w 4156560"/>
                  <a:gd name="connsiteY1" fmla="*/ 231302 h 4159093"/>
                  <a:gd name="connsiteX2" fmla="*/ 268085 w 4156560"/>
                  <a:gd name="connsiteY2" fmla="*/ 3920953 h 4159093"/>
                  <a:gd name="connsiteX3" fmla="*/ 0 w 4156560"/>
                  <a:gd name="connsiteY3" fmla="*/ 3662739 h 4159093"/>
                  <a:gd name="connsiteX4" fmla="*/ 3646815 w 4156560"/>
                  <a:gd name="connsiteY4" fmla="*/ 0 h 4159093"/>
                  <a:gd name="connsiteX0" fmla="*/ 3646815 w 4152107"/>
                  <a:gd name="connsiteY0" fmla="*/ 0 h 4161068"/>
                  <a:gd name="connsiteX1" fmla="*/ 3876085 w 4152107"/>
                  <a:gd name="connsiteY1" fmla="*/ 267021 h 4161068"/>
                  <a:gd name="connsiteX2" fmla="*/ 268085 w 4152107"/>
                  <a:gd name="connsiteY2" fmla="*/ 3920953 h 4161068"/>
                  <a:gd name="connsiteX3" fmla="*/ 0 w 4152107"/>
                  <a:gd name="connsiteY3" fmla="*/ 3662739 h 4161068"/>
                  <a:gd name="connsiteX4" fmla="*/ 3646815 w 4152107"/>
                  <a:gd name="connsiteY4" fmla="*/ 0 h 4161068"/>
                  <a:gd name="connsiteX0" fmla="*/ 3646815 w 4007793"/>
                  <a:gd name="connsiteY0" fmla="*/ 0 h 4160143"/>
                  <a:gd name="connsiteX1" fmla="*/ 3721304 w 4007793"/>
                  <a:gd name="connsiteY1" fmla="*/ 250352 h 4160143"/>
                  <a:gd name="connsiteX2" fmla="*/ 268085 w 4007793"/>
                  <a:gd name="connsiteY2" fmla="*/ 3920953 h 4160143"/>
                  <a:gd name="connsiteX3" fmla="*/ 0 w 4007793"/>
                  <a:gd name="connsiteY3" fmla="*/ 3662739 h 4160143"/>
                  <a:gd name="connsiteX4" fmla="*/ 3646815 w 4007793"/>
                  <a:gd name="connsiteY4" fmla="*/ 0 h 4160143"/>
                  <a:gd name="connsiteX0" fmla="*/ 3646815 w 4072087"/>
                  <a:gd name="connsiteY0" fmla="*/ 0 h 4153353"/>
                  <a:gd name="connsiteX1" fmla="*/ 3790361 w 4072087"/>
                  <a:gd name="connsiteY1" fmla="*/ 124146 h 4153353"/>
                  <a:gd name="connsiteX2" fmla="*/ 268085 w 4072087"/>
                  <a:gd name="connsiteY2" fmla="*/ 3920953 h 4153353"/>
                  <a:gd name="connsiteX3" fmla="*/ 0 w 4072087"/>
                  <a:gd name="connsiteY3" fmla="*/ 3662739 h 4153353"/>
                  <a:gd name="connsiteX4" fmla="*/ 3646815 w 4072087"/>
                  <a:gd name="connsiteY4" fmla="*/ 0 h 4153353"/>
                  <a:gd name="connsiteX0" fmla="*/ 3646815 w 4136531"/>
                  <a:gd name="connsiteY0" fmla="*/ 0 h 4158182"/>
                  <a:gd name="connsiteX1" fmla="*/ 3859417 w 4136531"/>
                  <a:gd name="connsiteY1" fmla="*/ 214633 h 4158182"/>
                  <a:gd name="connsiteX2" fmla="*/ 268085 w 4136531"/>
                  <a:gd name="connsiteY2" fmla="*/ 3920953 h 4158182"/>
                  <a:gd name="connsiteX3" fmla="*/ 0 w 4136531"/>
                  <a:gd name="connsiteY3" fmla="*/ 3662739 h 4158182"/>
                  <a:gd name="connsiteX4" fmla="*/ 3646815 w 4136531"/>
                  <a:gd name="connsiteY4" fmla="*/ 0 h 4158182"/>
                  <a:gd name="connsiteX0" fmla="*/ 3646815 w 4136531"/>
                  <a:gd name="connsiteY0" fmla="*/ 0 h 4158182"/>
                  <a:gd name="connsiteX1" fmla="*/ 3859417 w 4136531"/>
                  <a:gd name="connsiteY1" fmla="*/ 214633 h 4158182"/>
                  <a:gd name="connsiteX2" fmla="*/ 268085 w 4136531"/>
                  <a:gd name="connsiteY2" fmla="*/ 3920953 h 4158182"/>
                  <a:gd name="connsiteX3" fmla="*/ 0 w 4136531"/>
                  <a:gd name="connsiteY3" fmla="*/ 3662739 h 4158182"/>
                  <a:gd name="connsiteX4" fmla="*/ 3646815 w 4136531"/>
                  <a:gd name="connsiteY4" fmla="*/ 0 h 4158182"/>
                  <a:gd name="connsiteX0" fmla="*/ 3646815 w 4186407"/>
                  <a:gd name="connsiteY0" fmla="*/ 0 h 4161974"/>
                  <a:gd name="connsiteX1" fmla="*/ 3912757 w 4186407"/>
                  <a:gd name="connsiteY1" fmla="*/ 283213 h 4161974"/>
                  <a:gd name="connsiteX2" fmla="*/ 268085 w 4186407"/>
                  <a:gd name="connsiteY2" fmla="*/ 3920953 h 4161974"/>
                  <a:gd name="connsiteX3" fmla="*/ 0 w 4186407"/>
                  <a:gd name="connsiteY3" fmla="*/ 3662739 h 4161974"/>
                  <a:gd name="connsiteX4" fmla="*/ 3646815 w 4186407"/>
                  <a:gd name="connsiteY4" fmla="*/ 0 h 4161974"/>
                  <a:gd name="connsiteX0" fmla="*/ 3646815 w 4199992"/>
                  <a:gd name="connsiteY0" fmla="*/ 0 h 4161162"/>
                  <a:gd name="connsiteX1" fmla="*/ 3927271 w 4199992"/>
                  <a:gd name="connsiteY1" fmla="*/ 268699 h 4161162"/>
                  <a:gd name="connsiteX2" fmla="*/ 268085 w 4199992"/>
                  <a:gd name="connsiteY2" fmla="*/ 3920953 h 4161162"/>
                  <a:gd name="connsiteX3" fmla="*/ 0 w 4199992"/>
                  <a:gd name="connsiteY3" fmla="*/ 3662739 h 4161162"/>
                  <a:gd name="connsiteX4" fmla="*/ 3646815 w 4199992"/>
                  <a:gd name="connsiteY4" fmla="*/ 0 h 4161162"/>
                  <a:gd name="connsiteX0" fmla="*/ 3646815 w 4209053"/>
                  <a:gd name="connsiteY0" fmla="*/ 0 h 4165558"/>
                  <a:gd name="connsiteX1" fmla="*/ 3936947 w 4209053"/>
                  <a:gd name="connsiteY1" fmla="*/ 346108 h 4165558"/>
                  <a:gd name="connsiteX2" fmla="*/ 268085 w 4209053"/>
                  <a:gd name="connsiteY2" fmla="*/ 3920953 h 4165558"/>
                  <a:gd name="connsiteX3" fmla="*/ 0 w 4209053"/>
                  <a:gd name="connsiteY3" fmla="*/ 3662739 h 4165558"/>
                  <a:gd name="connsiteX4" fmla="*/ 3646815 w 4209053"/>
                  <a:gd name="connsiteY4" fmla="*/ 0 h 4165558"/>
                  <a:gd name="connsiteX0" fmla="*/ 3646815 w 4190935"/>
                  <a:gd name="connsiteY0" fmla="*/ 0 h 4161432"/>
                  <a:gd name="connsiteX1" fmla="*/ 3917595 w 4190935"/>
                  <a:gd name="connsiteY1" fmla="*/ 273536 h 4161432"/>
                  <a:gd name="connsiteX2" fmla="*/ 268085 w 4190935"/>
                  <a:gd name="connsiteY2" fmla="*/ 3920953 h 4161432"/>
                  <a:gd name="connsiteX3" fmla="*/ 0 w 4190935"/>
                  <a:gd name="connsiteY3" fmla="*/ 3662739 h 4161432"/>
                  <a:gd name="connsiteX4" fmla="*/ 3646815 w 4190935"/>
                  <a:gd name="connsiteY4" fmla="*/ 0 h 4161432"/>
                  <a:gd name="connsiteX0" fmla="*/ 3646815 w 4195463"/>
                  <a:gd name="connsiteY0" fmla="*/ 0 h 4160892"/>
                  <a:gd name="connsiteX1" fmla="*/ 3922433 w 4195463"/>
                  <a:gd name="connsiteY1" fmla="*/ 263859 h 4160892"/>
                  <a:gd name="connsiteX2" fmla="*/ 268085 w 4195463"/>
                  <a:gd name="connsiteY2" fmla="*/ 3920953 h 4160892"/>
                  <a:gd name="connsiteX3" fmla="*/ 0 w 4195463"/>
                  <a:gd name="connsiteY3" fmla="*/ 3662739 h 4160892"/>
                  <a:gd name="connsiteX4" fmla="*/ 3646815 w 4195463"/>
                  <a:gd name="connsiteY4" fmla="*/ 0 h 4160892"/>
                  <a:gd name="connsiteX0" fmla="*/ 3646815 w 4168062"/>
                  <a:gd name="connsiteY0" fmla="*/ 0 h 4159295"/>
                  <a:gd name="connsiteX1" fmla="*/ 3922433 w 4168062"/>
                  <a:gd name="connsiteY1" fmla="*/ 263859 h 4159295"/>
                  <a:gd name="connsiteX2" fmla="*/ 268085 w 4168062"/>
                  <a:gd name="connsiteY2" fmla="*/ 3920953 h 4159295"/>
                  <a:gd name="connsiteX3" fmla="*/ 0 w 4168062"/>
                  <a:gd name="connsiteY3" fmla="*/ 3662739 h 4159295"/>
                  <a:gd name="connsiteX4" fmla="*/ 3646815 w 4168062"/>
                  <a:gd name="connsiteY4" fmla="*/ 0 h 4159295"/>
                  <a:gd name="connsiteX0" fmla="*/ 3646815 w 4175104"/>
                  <a:gd name="connsiteY0" fmla="*/ 0 h 4133337"/>
                  <a:gd name="connsiteX1" fmla="*/ 3922433 w 4175104"/>
                  <a:gd name="connsiteY1" fmla="*/ 263859 h 4133337"/>
                  <a:gd name="connsiteX2" fmla="*/ 268085 w 4175104"/>
                  <a:gd name="connsiteY2" fmla="*/ 3920953 h 4133337"/>
                  <a:gd name="connsiteX3" fmla="*/ 0 w 4175104"/>
                  <a:gd name="connsiteY3" fmla="*/ 3662739 h 4133337"/>
                  <a:gd name="connsiteX4" fmla="*/ 3646815 w 4175104"/>
                  <a:gd name="connsiteY4" fmla="*/ 0 h 4133337"/>
                  <a:gd name="connsiteX0" fmla="*/ 3646815 w 4168062"/>
                  <a:gd name="connsiteY0" fmla="*/ 0 h 4171331"/>
                  <a:gd name="connsiteX1" fmla="*/ 3922433 w 4168062"/>
                  <a:gd name="connsiteY1" fmla="*/ 263859 h 4171331"/>
                  <a:gd name="connsiteX2" fmla="*/ 268085 w 4168062"/>
                  <a:gd name="connsiteY2" fmla="*/ 3920953 h 4171331"/>
                  <a:gd name="connsiteX3" fmla="*/ 0 w 4168062"/>
                  <a:gd name="connsiteY3" fmla="*/ 3662739 h 4171331"/>
                  <a:gd name="connsiteX4" fmla="*/ 3646815 w 4168062"/>
                  <a:gd name="connsiteY4" fmla="*/ 0 h 4171331"/>
                  <a:gd name="connsiteX0" fmla="*/ 3646815 w 4172865"/>
                  <a:gd name="connsiteY0" fmla="*/ 0 h 4140343"/>
                  <a:gd name="connsiteX1" fmla="*/ 3922433 w 4172865"/>
                  <a:gd name="connsiteY1" fmla="*/ 263859 h 4140343"/>
                  <a:gd name="connsiteX2" fmla="*/ 268085 w 4172865"/>
                  <a:gd name="connsiteY2" fmla="*/ 3920953 h 4140343"/>
                  <a:gd name="connsiteX3" fmla="*/ 0 w 4172865"/>
                  <a:gd name="connsiteY3" fmla="*/ 3662739 h 4140343"/>
                  <a:gd name="connsiteX4" fmla="*/ 3646815 w 4172865"/>
                  <a:gd name="connsiteY4" fmla="*/ 0 h 4140343"/>
                  <a:gd name="connsiteX0" fmla="*/ 3646815 w 4178638"/>
                  <a:gd name="connsiteY0" fmla="*/ 0 h 4190948"/>
                  <a:gd name="connsiteX1" fmla="*/ 3922433 w 4178638"/>
                  <a:gd name="connsiteY1" fmla="*/ 263859 h 4190948"/>
                  <a:gd name="connsiteX2" fmla="*/ 359525 w 4178638"/>
                  <a:gd name="connsiteY2" fmla="*/ 3974293 h 4190948"/>
                  <a:gd name="connsiteX3" fmla="*/ 0 w 4178638"/>
                  <a:gd name="connsiteY3" fmla="*/ 3662739 h 4190948"/>
                  <a:gd name="connsiteX4" fmla="*/ 3646815 w 4178638"/>
                  <a:gd name="connsiteY4" fmla="*/ 0 h 4190948"/>
                  <a:gd name="connsiteX0" fmla="*/ 3646815 w 4180974"/>
                  <a:gd name="connsiteY0" fmla="*/ 0 h 4143629"/>
                  <a:gd name="connsiteX1" fmla="*/ 3922433 w 4180974"/>
                  <a:gd name="connsiteY1" fmla="*/ 263859 h 4143629"/>
                  <a:gd name="connsiteX2" fmla="*/ 359525 w 4180974"/>
                  <a:gd name="connsiteY2" fmla="*/ 3974293 h 4143629"/>
                  <a:gd name="connsiteX3" fmla="*/ 0 w 4180974"/>
                  <a:gd name="connsiteY3" fmla="*/ 3662739 h 4143629"/>
                  <a:gd name="connsiteX4" fmla="*/ 3646815 w 4180974"/>
                  <a:gd name="connsiteY4" fmla="*/ 0 h 4143629"/>
                  <a:gd name="connsiteX0" fmla="*/ 3646815 w 4179978"/>
                  <a:gd name="connsiteY0" fmla="*/ 0 h 4158225"/>
                  <a:gd name="connsiteX1" fmla="*/ 3922433 w 4179978"/>
                  <a:gd name="connsiteY1" fmla="*/ 263859 h 4158225"/>
                  <a:gd name="connsiteX2" fmla="*/ 344285 w 4179978"/>
                  <a:gd name="connsiteY2" fmla="*/ 3989533 h 4158225"/>
                  <a:gd name="connsiteX3" fmla="*/ 0 w 4179978"/>
                  <a:gd name="connsiteY3" fmla="*/ 3662739 h 4158225"/>
                  <a:gd name="connsiteX4" fmla="*/ 3646815 w 4179978"/>
                  <a:gd name="connsiteY4" fmla="*/ 0 h 4158225"/>
                  <a:gd name="connsiteX0" fmla="*/ 3646815 w 4179978"/>
                  <a:gd name="connsiteY0" fmla="*/ 0 h 4158225"/>
                  <a:gd name="connsiteX1" fmla="*/ 3922433 w 4179978"/>
                  <a:gd name="connsiteY1" fmla="*/ 263859 h 4158225"/>
                  <a:gd name="connsiteX2" fmla="*/ 344285 w 4179978"/>
                  <a:gd name="connsiteY2" fmla="*/ 3989533 h 4158225"/>
                  <a:gd name="connsiteX3" fmla="*/ 0 w 4179978"/>
                  <a:gd name="connsiteY3" fmla="*/ 3662739 h 4158225"/>
                  <a:gd name="connsiteX4" fmla="*/ 3646815 w 4179978"/>
                  <a:gd name="connsiteY4" fmla="*/ 0 h 4158225"/>
                  <a:gd name="connsiteX0" fmla="*/ 3646815 w 4183289"/>
                  <a:gd name="connsiteY0" fmla="*/ 0 h 4136908"/>
                  <a:gd name="connsiteX1" fmla="*/ 3922433 w 4183289"/>
                  <a:gd name="connsiteY1" fmla="*/ 263859 h 4136908"/>
                  <a:gd name="connsiteX2" fmla="*/ 344285 w 4183289"/>
                  <a:gd name="connsiteY2" fmla="*/ 3989533 h 4136908"/>
                  <a:gd name="connsiteX3" fmla="*/ 0 w 4183289"/>
                  <a:gd name="connsiteY3" fmla="*/ 3662739 h 4136908"/>
                  <a:gd name="connsiteX4" fmla="*/ 3646815 w 4183289"/>
                  <a:gd name="connsiteY4" fmla="*/ 0 h 4136908"/>
                  <a:gd name="connsiteX0" fmla="*/ 3646815 w 4193849"/>
                  <a:gd name="connsiteY0" fmla="*/ 0 h 4210260"/>
                  <a:gd name="connsiteX1" fmla="*/ 3922433 w 4193849"/>
                  <a:gd name="connsiteY1" fmla="*/ 263859 h 4210260"/>
                  <a:gd name="connsiteX2" fmla="*/ 496685 w 4193849"/>
                  <a:gd name="connsiteY2" fmla="*/ 4065733 h 4210260"/>
                  <a:gd name="connsiteX3" fmla="*/ 0 w 4193849"/>
                  <a:gd name="connsiteY3" fmla="*/ 3662739 h 4210260"/>
                  <a:gd name="connsiteX4" fmla="*/ 3646815 w 4193849"/>
                  <a:gd name="connsiteY4" fmla="*/ 0 h 4210260"/>
                  <a:gd name="connsiteX0" fmla="*/ 3646815 w 4187417"/>
                  <a:gd name="connsiteY0" fmla="*/ 0 h 4188243"/>
                  <a:gd name="connsiteX1" fmla="*/ 3922433 w 4187417"/>
                  <a:gd name="connsiteY1" fmla="*/ 263859 h 4188243"/>
                  <a:gd name="connsiteX2" fmla="*/ 405245 w 4187417"/>
                  <a:gd name="connsiteY2" fmla="*/ 4042873 h 4188243"/>
                  <a:gd name="connsiteX3" fmla="*/ 0 w 4187417"/>
                  <a:gd name="connsiteY3" fmla="*/ 3662739 h 4188243"/>
                  <a:gd name="connsiteX4" fmla="*/ 3646815 w 4187417"/>
                  <a:gd name="connsiteY4" fmla="*/ 0 h 4188243"/>
                  <a:gd name="connsiteX0" fmla="*/ 3646815 w 4188469"/>
                  <a:gd name="connsiteY0" fmla="*/ 0 h 4173571"/>
                  <a:gd name="connsiteX1" fmla="*/ 3922433 w 4188469"/>
                  <a:gd name="connsiteY1" fmla="*/ 263859 h 4173571"/>
                  <a:gd name="connsiteX2" fmla="*/ 420485 w 4188469"/>
                  <a:gd name="connsiteY2" fmla="*/ 4027633 h 4173571"/>
                  <a:gd name="connsiteX3" fmla="*/ 0 w 4188469"/>
                  <a:gd name="connsiteY3" fmla="*/ 3662739 h 4173571"/>
                  <a:gd name="connsiteX4" fmla="*/ 3646815 w 4188469"/>
                  <a:gd name="connsiteY4" fmla="*/ 0 h 4173571"/>
                  <a:gd name="connsiteX0" fmla="*/ 3646815 w 4178401"/>
                  <a:gd name="connsiteY0" fmla="*/ 0 h 4177738"/>
                  <a:gd name="connsiteX1" fmla="*/ 3922433 w 4178401"/>
                  <a:gd name="connsiteY1" fmla="*/ 263859 h 4177738"/>
                  <a:gd name="connsiteX2" fmla="*/ 420485 w 4178401"/>
                  <a:gd name="connsiteY2" fmla="*/ 4027633 h 4177738"/>
                  <a:gd name="connsiteX3" fmla="*/ 0 w 4178401"/>
                  <a:gd name="connsiteY3" fmla="*/ 3662739 h 4177738"/>
                  <a:gd name="connsiteX4" fmla="*/ 3646815 w 4178401"/>
                  <a:gd name="connsiteY4" fmla="*/ 0 h 4177738"/>
                  <a:gd name="connsiteX0" fmla="*/ 3646815 w 4173103"/>
                  <a:gd name="connsiteY0" fmla="*/ 0 h 4126462"/>
                  <a:gd name="connsiteX1" fmla="*/ 3922433 w 4173103"/>
                  <a:gd name="connsiteY1" fmla="*/ 263859 h 4126462"/>
                  <a:gd name="connsiteX2" fmla="*/ 336665 w 4173103"/>
                  <a:gd name="connsiteY2" fmla="*/ 3974293 h 4126462"/>
                  <a:gd name="connsiteX3" fmla="*/ 0 w 4173103"/>
                  <a:gd name="connsiteY3" fmla="*/ 3662739 h 4126462"/>
                  <a:gd name="connsiteX4" fmla="*/ 3646815 w 4173103"/>
                  <a:gd name="connsiteY4" fmla="*/ 0 h 4126462"/>
                  <a:gd name="connsiteX0" fmla="*/ 3646815 w 4171695"/>
                  <a:gd name="connsiteY0" fmla="*/ 0 h 4119141"/>
                  <a:gd name="connsiteX1" fmla="*/ 3922433 w 4171695"/>
                  <a:gd name="connsiteY1" fmla="*/ 263859 h 4119141"/>
                  <a:gd name="connsiteX2" fmla="*/ 313805 w 4171695"/>
                  <a:gd name="connsiteY2" fmla="*/ 3966673 h 4119141"/>
                  <a:gd name="connsiteX3" fmla="*/ 0 w 4171695"/>
                  <a:gd name="connsiteY3" fmla="*/ 3662739 h 4119141"/>
                  <a:gd name="connsiteX4" fmla="*/ 3646815 w 4171695"/>
                  <a:gd name="connsiteY4" fmla="*/ 0 h 4119141"/>
                  <a:gd name="connsiteX0" fmla="*/ 3646815 w 4172136"/>
                  <a:gd name="connsiteY0" fmla="*/ 0 h 4160770"/>
                  <a:gd name="connsiteX1" fmla="*/ 3922433 w 4172136"/>
                  <a:gd name="connsiteY1" fmla="*/ 263859 h 4160770"/>
                  <a:gd name="connsiteX2" fmla="*/ 313805 w 4172136"/>
                  <a:gd name="connsiteY2" fmla="*/ 3966673 h 4160770"/>
                  <a:gd name="connsiteX3" fmla="*/ 0 w 4172136"/>
                  <a:gd name="connsiteY3" fmla="*/ 3662739 h 4160770"/>
                  <a:gd name="connsiteX4" fmla="*/ 3646815 w 4172136"/>
                  <a:gd name="connsiteY4" fmla="*/ 0 h 4160770"/>
                  <a:gd name="connsiteX0" fmla="*/ 3646815 w 4169508"/>
                  <a:gd name="connsiteY0" fmla="*/ 0 h 4181390"/>
                  <a:gd name="connsiteX1" fmla="*/ 3922433 w 4169508"/>
                  <a:gd name="connsiteY1" fmla="*/ 263859 h 4181390"/>
                  <a:gd name="connsiteX2" fmla="*/ 313805 w 4169508"/>
                  <a:gd name="connsiteY2" fmla="*/ 3966673 h 4181390"/>
                  <a:gd name="connsiteX3" fmla="*/ 0 w 4169508"/>
                  <a:gd name="connsiteY3" fmla="*/ 3662739 h 4181390"/>
                  <a:gd name="connsiteX4" fmla="*/ 3646815 w 4169508"/>
                  <a:gd name="connsiteY4" fmla="*/ 0 h 4181390"/>
                  <a:gd name="connsiteX0" fmla="*/ 3654435 w 4177128"/>
                  <a:gd name="connsiteY0" fmla="*/ 0 h 4181390"/>
                  <a:gd name="connsiteX1" fmla="*/ 3930053 w 4177128"/>
                  <a:gd name="connsiteY1" fmla="*/ 263859 h 4181390"/>
                  <a:gd name="connsiteX2" fmla="*/ 321425 w 4177128"/>
                  <a:gd name="connsiteY2" fmla="*/ 3966673 h 4181390"/>
                  <a:gd name="connsiteX3" fmla="*/ 0 w 4177128"/>
                  <a:gd name="connsiteY3" fmla="*/ 3670359 h 4181390"/>
                  <a:gd name="connsiteX4" fmla="*/ 3654435 w 4177128"/>
                  <a:gd name="connsiteY4" fmla="*/ 0 h 4181390"/>
                  <a:gd name="connsiteX0" fmla="*/ 3639195 w 4161888"/>
                  <a:gd name="connsiteY0" fmla="*/ 0 h 4181390"/>
                  <a:gd name="connsiteX1" fmla="*/ 3914813 w 4161888"/>
                  <a:gd name="connsiteY1" fmla="*/ 263859 h 4181390"/>
                  <a:gd name="connsiteX2" fmla="*/ 306185 w 4161888"/>
                  <a:gd name="connsiteY2" fmla="*/ 3966673 h 4181390"/>
                  <a:gd name="connsiteX3" fmla="*/ 0 w 4161888"/>
                  <a:gd name="connsiteY3" fmla="*/ 3670359 h 4181390"/>
                  <a:gd name="connsiteX4" fmla="*/ 3639195 w 4161888"/>
                  <a:gd name="connsiteY4" fmla="*/ 0 h 4181390"/>
                  <a:gd name="connsiteX0" fmla="*/ 3639195 w 4161888"/>
                  <a:gd name="connsiteY0" fmla="*/ 0 h 4188381"/>
                  <a:gd name="connsiteX1" fmla="*/ 3914813 w 4161888"/>
                  <a:gd name="connsiteY1" fmla="*/ 263859 h 4188381"/>
                  <a:gd name="connsiteX2" fmla="*/ 306185 w 4161888"/>
                  <a:gd name="connsiteY2" fmla="*/ 3966673 h 4188381"/>
                  <a:gd name="connsiteX3" fmla="*/ 0 w 4161888"/>
                  <a:gd name="connsiteY3" fmla="*/ 3670359 h 4188381"/>
                  <a:gd name="connsiteX4" fmla="*/ 3639195 w 4161888"/>
                  <a:gd name="connsiteY4" fmla="*/ 0 h 4188381"/>
                  <a:gd name="connsiteX0" fmla="*/ 3639195 w 4161888"/>
                  <a:gd name="connsiteY0" fmla="*/ 0 h 4188381"/>
                  <a:gd name="connsiteX1" fmla="*/ 3914813 w 4161888"/>
                  <a:gd name="connsiteY1" fmla="*/ 263859 h 4188381"/>
                  <a:gd name="connsiteX2" fmla="*/ 306185 w 4161888"/>
                  <a:gd name="connsiteY2" fmla="*/ 3966673 h 4188381"/>
                  <a:gd name="connsiteX3" fmla="*/ 0 w 4161888"/>
                  <a:gd name="connsiteY3" fmla="*/ 3670359 h 4188381"/>
                  <a:gd name="connsiteX4" fmla="*/ 3639195 w 4161888"/>
                  <a:gd name="connsiteY4" fmla="*/ 0 h 4188381"/>
                  <a:gd name="connsiteX0" fmla="*/ 3639195 w 4161888"/>
                  <a:gd name="connsiteY0" fmla="*/ 0 h 4188381"/>
                  <a:gd name="connsiteX1" fmla="*/ 3914813 w 4161888"/>
                  <a:gd name="connsiteY1" fmla="*/ 263859 h 4188381"/>
                  <a:gd name="connsiteX2" fmla="*/ 306185 w 4161888"/>
                  <a:gd name="connsiteY2" fmla="*/ 3966673 h 4188381"/>
                  <a:gd name="connsiteX3" fmla="*/ 0 w 4161888"/>
                  <a:gd name="connsiteY3" fmla="*/ 3670359 h 4188381"/>
                  <a:gd name="connsiteX4" fmla="*/ 3639195 w 4161888"/>
                  <a:gd name="connsiteY4" fmla="*/ 0 h 4188381"/>
                  <a:gd name="connsiteX0" fmla="*/ 3639195 w 4161888"/>
                  <a:gd name="connsiteY0" fmla="*/ 0 h 4188381"/>
                  <a:gd name="connsiteX1" fmla="*/ 3914813 w 4161888"/>
                  <a:gd name="connsiteY1" fmla="*/ 263859 h 4188381"/>
                  <a:gd name="connsiteX2" fmla="*/ 306185 w 4161888"/>
                  <a:gd name="connsiteY2" fmla="*/ 3966673 h 4188381"/>
                  <a:gd name="connsiteX3" fmla="*/ 0 w 4161888"/>
                  <a:gd name="connsiteY3" fmla="*/ 3670359 h 4188381"/>
                  <a:gd name="connsiteX4" fmla="*/ 3639195 w 4161888"/>
                  <a:gd name="connsiteY4" fmla="*/ 0 h 4188381"/>
                  <a:gd name="connsiteX0" fmla="*/ 3639195 w 4161888"/>
                  <a:gd name="connsiteY0" fmla="*/ 0 h 4188381"/>
                  <a:gd name="connsiteX1" fmla="*/ 3914813 w 4161888"/>
                  <a:gd name="connsiteY1" fmla="*/ 263859 h 4188381"/>
                  <a:gd name="connsiteX2" fmla="*/ 306185 w 4161888"/>
                  <a:gd name="connsiteY2" fmla="*/ 3966673 h 4188381"/>
                  <a:gd name="connsiteX3" fmla="*/ 0 w 4161888"/>
                  <a:gd name="connsiteY3" fmla="*/ 3670359 h 4188381"/>
                  <a:gd name="connsiteX4" fmla="*/ 3639195 w 4161888"/>
                  <a:gd name="connsiteY4" fmla="*/ 0 h 4188381"/>
                  <a:gd name="connsiteX0" fmla="*/ 3639195 w 4160592"/>
                  <a:gd name="connsiteY0" fmla="*/ 0 h 4167583"/>
                  <a:gd name="connsiteX1" fmla="*/ 3914813 w 4160592"/>
                  <a:gd name="connsiteY1" fmla="*/ 263859 h 4167583"/>
                  <a:gd name="connsiteX2" fmla="*/ 306185 w 4160592"/>
                  <a:gd name="connsiteY2" fmla="*/ 3966673 h 4167583"/>
                  <a:gd name="connsiteX3" fmla="*/ 0 w 4160592"/>
                  <a:gd name="connsiteY3" fmla="*/ 3670359 h 4167583"/>
                  <a:gd name="connsiteX4" fmla="*/ 3639195 w 4160592"/>
                  <a:gd name="connsiteY4" fmla="*/ 0 h 4167583"/>
                  <a:gd name="connsiteX0" fmla="*/ 3639195 w 4164959"/>
                  <a:gd name="connsiteY0" fmla="*/ 0 h 4164737"/>
                  <a:gd name="connsiteX1" fmla="*/ 3914813 w 4164959"/>
                  <a:gd name="connsiteY1" fmla="*/ 263859 h 4164737"/>
                  <a:gd name="connsiteX2" fmla="*/ 306185 w 4164959"/>
                  <a:gd name="connsiteY2" fmla="*/ 3966673 h 4164737"/>
                  <a:gd name="connsiteX3" fmla="*/ 0 w 4164959"/>
                  <a:gd name="connsiteY3" fmla="*/ 3670359 h 4164737"/>
                  <a:gd name="connsiteX4" fmla="*/ 3639195 w 4164959"/>
                  <a:gd name="connsiteY4" fmla="*/ 0 h 4164737"/>
                  <a:gd name="connsiteX0" fmla="*/ 3639195 w 4155660"/>
                  <a:gd name="connsiteY0" fmla="*/ 0 h 4165604"/>
                  <a:gd name="connsiteX1" fmla="*/ 3914813 w 4155660"/>
                  <a:gd name="connsiteY1" fmla="*/ 263859 h 4165604"/>
                  <a:gd name="connsiteX2" fmla="*/ 306185 w 4155660"/>
                  <a:gd name="connsiteY2" fmla="*/ 3966673 h 4165604"/>
                  <a:gd name="connsiteX3" fmla="*/ 0 w 4155660"/>
                  <a:gd name="connsiteY3" fmla="*/ 3670359 h 4165604"/>
                  <a:gd name="connsiteX4" fmla="*/ 3639195 w 4155660"/>
                  <a:gd name="connsiteY4" fmla="*/ 0 h 4165604"/>
                  <a:gd name="connsiteX0" fmla="*/ 3639195 w 4155660"/>
                  <a:gd name="connsiteY0" fmla="*/ 0 h 4165604"/>
                  <a:gd name="connsiteX1" fmla="*/ 3914813 w 4155660"/>
                  <a:gd name="connsiteY1" fmla="*/ 263859 h 4165604"/>
                  <a:gd name="connsiteX2" fmla="*/ 306185 w 4155660"/>
                  <a:gd name="connsiteY2" fmla="*/ 3966673 h 4165604"/>
                  <a:gd name="connsiteX3" fmla="*/ 0 w 4155660"/>
                  <a:gd name="connsiteY3" fmla="*/ 3670359 h 4165604"/>
                  <a:gd name="connsiteX4" fmla="*/ 3639195 w 4155660"/>
                  <a:gd name="connsiteY4" fmla="*/ 0 h 4165604"/>
                  <a:gd name="connsiteX0" fmla="*/ 3639195 w 4155660"/>
                  <a:gd name="connsiteY0" fmla="*/ 0 h 4165604"/>
                  <a:gd name="connsiteX1" fmla="*/ 3914813 w 4155660"/>
                  <a:gd name="connsiteY1" fmla="*/ 263859 h 4165604"/>
                  <a:gd name="connsiteX2" fmla="*/ 306185 w 4155660"/>
                  <a:gd name="connsiteY2" fmla="*/ 3966673 h 4165604"/>
                  <a:gd name="connsiteX3" fmla="*/ 0 w 4155660"/>
                  <a:gd name="connsiteY3" fmla="*/ 3670359 h 4165604"/>
                  <a:gd name="connsiteX4" fmla="*/ 3639195 w 4155660"/>
                  <a:gd name="connsiteY4" fmla="*/ 0 h 4165604"/>
                  <a:gd name="connsiteX0" fmla="*/ 3639195 w 4155660"/>
                  <a:gd name="connsiteY0" fmla="*/ 0 h 4165604"/>
                  <a:gd name="connsiteX1" fmla="*/ 3914813 w 4155660"/>
                  <a:gd name="connsiteY1" fmla="*/ 263859 h 4165604"/>
                  <a:gd name="connsiteX2" fmla="*/ 306185 w 4155660"/>
                  <a:gd name="connsiteY2" fmla="*/ 3966673 h 4165604"/>
                  <a:gd name="connsiteX3" fmla="*/ 0 w 4155660"/>
                  <a:gd name="connsiteY3" fmla="*/ 3670359 h 4165604"/>
                  <a:gd name="connsiteX4" fmla="*/ 3639195 w 4155660"/>
                  <a:gd name="connsiteY4" fmla="*/ 0 h 4165604"/>
                  <a:gd name="connsiteX0" fmla="*/ 3639195 w 4155660"/>
                  <a:gd name="connsiteY0" fmla="*/ 0 h 4165604"/>
                  <a:gd name="connsiteX1" fmla="*/ 3914813 w 4155660"/>
                  <a:gd name="connsiteY1" fmla="*/ 263859 h 4165604"/>
                  <a:gd name="connsiteX2" fmla="*/ 306185 w 4155660"/>
                  <a:gd name="connsiteY2" fmla="*/ 3966673 h 4165604"/>
                  <a:gd name="connsiteX3" fmla="*/ 0 w 4155660"/>
                  <a:gd name="connsiteY3" fmla="*/ 3670359 h 4165604"/>
                  <a:gd name="connsiteX4" fmla="*/ 3639195 w 4155660"/>
                  <a:gd name="connsiteY4" fmla="*/ 0 h 4165604"/>
                  <a:gd name="connsiteX0" fmla="*/ 3639195 w 4155660"/>
                  <a:gd name="connsiteY0" fmla="*/ 0 h 4165604"/>
                  <a:gd name="connsiteX1" fmla="*/ 3914813 w 4155660"/>
                  <a:gd name="connsiteY1" fmla="*/ 263859 h 4165604"/>
                  <a:gd name="connsiteX2" fmla="*/ 306185 w 4155660"/>
                  <a:gd name="connsiteY2" fmla="*/ 3966673 h 4165604"/>
                  <a:gd name="connsiteX3" fmla="*/ 0 w 4155660"/>
                  <a:gd name="connsiteY3" fmla="*/ 3670359 h 4165604"/>
                  <a:gd name="connsiteX4" fmla="*/ 3639195 w 4155660"/>
                  <a:gd name="connsiteY4" fmla="*/ 0 h 4165604"/>
                  <a:gd name="connsiteX0" fmla="*/ 3639195 w 4155660"/>
                  <a:gd name="connsiteY0" fmla="*/ 0 h 4165604"/>
                  <a:gd name="connsiteX1" fmla="*/ 3914813 w 4155660"/>
                  <a:gd name="connsiteY1" fmla="*/ 263859 h 4165604"/>
                  <a:gd name="connsiteX2" fmla="*/ 306185 w 4155660"/>
                  <a:gd name="connsiteY2" fmla="*/ 3966673 h 4165604"/>
                  <a:gd name="connsiteX3" fmla="*/ 0 w 4155660"/>
                  <a:gd name="connsiteY3" fmla="*/ 3670359 h 4165604"/>
                  <a:gd name="connsiteX4" fmla="*/ 3639195 w 4155660"/>
                  <a:gd name="connsiteY4" fmla="*/ 0 h 4165604"/>
                  <a:gd name="connsiteX0" fmla="*/ 3639195 w 4154359"/>
                  <a:gd name="connsiteY0" fmla="*/ 0 h 4172517"/>
                  <a:gd name="connsiteX1" fmla="*/ 3914813 w 4154359"/>
                  <a:gd name="connsiteY1" fmla="*/ 263859 h 4172517"/>
                  <a:gd name="connsiteX2" fmla="*/ 306185 w 4154359"/>
                  <a:gd name="connsiteY2" fmla="*/ 3966673 h 4172517"/>
                  <a:gd name="connsiteX3" fmla="*/ 0 w 4154359"/>
                  <a:gd name="connsiteY3" fmla="*/ 3670359 h 4172517"/>
                  <a:gd name="connsiteX4" fmla="*/ 3639195 w 4154359"/>
                  <a:gd name="connsiteY4" fmla="*/ 0 h 4172517"/>
                  <a:gd name="connsiteX0" fmla="*/ 3639195 w 4159945"/>
                  <a:gd name="connsiteY0" fmla="*/ 0 h 4173599"/>
                  <a:gd name="connsiteX1" fmla="*/ 3914813 w 4159945"/>
                  <a:gd name="connsiteY1" fmla="*/ 263859 h 4173599"/>
                  <a:gd name="connsiteX2" fmla="*/ 306185 w 4159945"/>
                  <a:gd name="connsiteY2" fmla="*/ 3966673 h 4173599"/>
                  <a:gd name="connsiteX3" fmla="*/ 0 w 4159945"/>
                  <a:gd name="connsiteY3" fmla="*/ 3670359 h 4173599"/>
                  <a:gd name="connsiteX4" fmla="*/ 3639195 w 4159945"/>
                  <a:gd name="connsiteY4" fmla="*/ 0 h 4173599"/>
                  <a:gd name="connsiteX0" fmla="*/ 3639195 w 4156218"/>
                  <a:gd name="connsiteY0" fmla="*/ 0 h 4173599"/>
                  <a:gd name="connsiteX1" fmla="*/ 3914813 w 4156218"/>
                  <a:gd name="connsiteY1" fmla="*/ 263859 h 4173599"/>
                  <a:gd name="connsiteX2" fmla="*/ 306185 w 4156218"/>
                  <a:gd name="connsiteY2" fmla="*/ 3966673 h 4173599"/>
                  <a:gd name="connsiteX3" fmla="*/ 0 w 4156218"/>
                  <a:gd name="connsiteY3" fmla="*/ 3670359 h 4173599"/>
                  <a:gd name="connsiteX4" fmla="*/ 3639195 w 4156218"/>
                  <a:gd name="connsiteY4" fmla="*/ 0 h 4173599"/>
                  <a:gd name="connsiteX0" fmla="*/ 3639195 w 4148803"/>
                  <a:gd name="connsiteY0" fmla="*/ 0 h 4172786"/>
                  <a:gd name="connsiteX1" fmla="*/ 3914813 w 4148803"/>
                  <a:gd name="connsiteY1" fmla="*/ 263859 h 4172786"/>
                  <a:gd name="connsiteX2" fmla="*/ 306185 w 4148803"/>
                  <a:gd name="connsiteY2" fmla="*/ 3966673 h 4172786"/>
                  <a:gd name="connsiteX3" fmla="*/ 0 w 4148803"/>
                  <a:gd name="connsiteY3" fmla="*/ 3670359 h 4172786"/>
                  <a:gd name="connsiteX4" fmla="*/ 3639195 w 4148803"/>
                  <a:gd name="connsiteY4" fmla="*/ 0 h 4172786"/>
                  <a:gd name="connsiteX0" fmla="*/ 3639195 w 4156218"/>
                  <a:gd name="connsiteY0" fmla="*/ 0 h 4174417"/>
                  <a:gd name="connsiteX1" fmla="*/ 3914813 w 4156218"/>
                  <a:gd name="connsiteY1" fmla="*/ 263859 h 4174417"/>
                  <a:gd name="connsiteX2" fmla="*/ 306185 w 4156218"/>
                  <a:gd name="connsiteY2" fmla="*/ 3966673 h 4174417"/>
                  <a:gd name="connsiteX3" fmla="*/ 0 w 4156218"/>
                  <a:gd name="connsiteY3" fmla="*/ 3670359 h 4174417"/>
                  <a:gd name="connsiteX4" fmla="*/ 3639195 w 4156218"/>
                  <a:gd name="connsiteY4" fmla="*/ 0 h 4174417"/>
                  <a:gd name="connsiteX0" fmla="*/ 3639195 w 4154359"/>
                  <a:gd name="connsiteY0" fmla="*/ 0 h 4174417"/>
                  <a:gd name="connsiteX1" fmla="*/ 3914813 w 4154359"/>
                  <a:gd name="connsiteY1" fmla="*/ 263859 h 4174417"/>
                  <a:gd name="connsiteX2" fmla="*/ 306185 w 4154359"/>
                  <a:gd name="connsiteY2" fmla="*/ 3966673 h 4174417"/>
                  <a:gd name="connsiteX3" fmla="*/ 0 w 4154359"/>
                  <a:gd name="connsiteY3" fmla="*/ 3670359 h 4174417"/>
                  <a:gd name="connsiteX4" fmla="*/ 3639195 w 4154359"/>
                  <a:gd name="connsiteY4" fmla="*/ 0 h 4174417"/>
                  <a:gd name="connsiteX0" fmla="*/ 3639195 w 4154359"/>
                  <a:gd name="connsiteY0" fmla="*/ 0 h 4174417"/>
                  <a:gd name="connsiteX1" fmla="*/ 3914813 w 4154359"/>
                  <a:gd name="connsiteY1" fmla="*/ 263859 h 4174417"/>
                  <a:gd name="connsiteX2" fmla="*/ 306185 w 4154359"/>
                  <a:gd name="connsiteY2" fmla="*/ 3966673 h 4174417"/>
                  <a:gd name="connsiteX3" fmla="*/ 0 w 4154359"/>
                  <a:gd name="connsiteY3" fmla="*/ 3670359 h 4174417"/>
                  <a:gd name="connsiteX4" fmla="*/ 3639195 w 4154359"/>
                  <a:gd name="connsiteY4" fmla="*/ 0 h 4174417"/>
                  <a:gd name="connsiteX0" fmla="*/ 3632051 w 4147215"/>
                  <a:gd name="connsiteY0" fmla="*/ 0 h 4174417"/>
                  <a:gd name="connsiteX1" fmla="*/ 3907669 w 4147215"/>
                  <a:gd name="connsiteY1" fmla="*/ 263859 h 4174417"/>
                  <a:gd name="connsiteX2" fmla="*/ 299041 w 4147215"/>
                  <a:gd name="connsiteY2" fmla="*/ 3966673 h 4174417"/>
                  <a:gd name="connsiteX3" fmla="*/ 0 w 4147215"/>
                  <a:gd name="connsiteY3" fmla="*/ 3670359 h 4174417"/>
                  <a:gd name="connsiteX4" fmla="*/ 3632051 w 4147215"/>
                  <a:gd name="connsiteY4" fmla="*/ 0 h 4174417"/>
                  <a:gd name="connsiteX0" fmla="*/ 3632051 w 4147215"/>
                  <a:gd name="connsiteY0" fmla="*/ 0 h 4174417"/>
                  <a:gd name="connsiteX1" fmla="*/ 3907669 w 4147215"/>
                  <a:gd name="connsiteY1" fmla="*/ 263859 h 4174417"/>
                  <a:gd name="connsiteX2" fmla="*/ 299041 w 4147215"/>
                  <a:gd name="connsiteY2" fmla="*/ 3966673 h 4174417"/>
                  <a:gd name="connsiteX3" fmla="*/ 0 w 4147215"/>
                  <a:gd name="connsiteY3" fmla="*/ 3670359 h 4174417"/>
                  <a:gd name="connsiteX4" fmla="*/ 3632051 w 4147215"/>
                  <a:gd name="connsiteY4" fmla="*/ 0 h 4174417"/>
                  <a:gd name="connsiteX0" fmla="*/ 3632051 w 4147215"/>
                  <a:gd name="connsiteY0" fmla="*/ 0 h 4174417"/>
                  <a:gd name="connsiteX1" fmla="*/ 3907669 w 4147215"/>
                  <a:gd name="connsiteY1" fmla="*/ 263859 h 4174417"/>
                  <a:gd name="connsiteX2" fmla="*/ 299041 w 4147215"/>
                  <a:gd name="connsiteY2" fmla="*/ 3966673 h 4174417"/>
                  <a:gd name="connsiteX3" fmla="*/ 0 w 4147215"/>
                  <a:gd name="connsiteY3" fmla="*/ 3670359 h 4174417"/>
                  <a:gd name="connsiteX4" fmla="*/ 3632051 w 4147215"/>
                  <a:gd name="connsiteY4" fmla="*/ 0 h 4174417"/>
                  <a:gd name="connsiteX0" fmla="*/ 3632051 w 4147215"/>
                  <a:gd name="connsiteY0" fmla="*/ 0 h 4174417"/>
                  <a:gd name="connsiteX1" fmla="*/ 3907669 w 4147215"/>
                  <a:gd name="connsiteY1" fmla="*/ 263859 h 4174417"/>
                  <a:gd name="connsiteX2" fmla="*/ 299041 w 4147215"/>
                  <a:gd name="connsiteY2" fmla="*/ 3966673 h 4174417"/>
                  <a:gd name="connsiteX3" fmla="*/ 0 w 4147215"/>
                  <a:gd name="connsiteY3" fmla="*/ 3670359 h 4174417"/>
                  <a:gd name="connsiteX4" fmla="*/ 3632051 w 4147215"/>
                  <a:gd name="connsiteY4" fmla="*/ 0 h 4174417"/>
                  <a:gd name="connsiteX0" fmla="*/ 3632051 w 4147215"/>
                  <a:gd name="connsiteY0" fmla="*/ 0 h 4174417"/>
                  <a:gd name="connsiteX1" fmla="*/ 3907669 w 4147215"/>
                  <a:gd name="connsiteY1" fmla="*/ 263859 h 4174417"/>
                  <a:gd name="connsiteX2" fmla="*/ 299041 w 4147215"/>
                  <a:gd name="connsiteY2" fmla="*/ 3966673 h 4174417"/>
                  <a:gd name="connsiteX3" fmla="*/ 0 w 4147215"/>
                  <a:gd name="connsiteY3" fmla="*/ 3670359 h 4174417"/>
                  <a:gd name="connsiteX4" fmla="*/ 3632051 w 4147215"/>
                  <a:gd name="connsiteY4" fmla="*/ 0 h 4174417"/>
                  <a:gd name="connsiteX0" fmla="*/ 3632051 w 4147215"/>
                  <a:gd name="connsiteY0" fmla="*/ 0 h 4174417"/>
                  <a:gd name="connsiteX1" fmla="*/ 3907669 w 4147215"/>
                  <a:gd name="connsiteY1" fmla="*/ 263859 h 4174417"/>
                  <a:gd name="connsiteX2" fmla="*/ 299041 w 4147215"/>
                  <a:gd name="connsiteY2" fmla="*/ 3966673 h 4174417"/>
                  <a:gd name="connsiteX3" fmla="*/ 0 w 4147215"/>
                  <a:gd name="connsiteY3" fmla="*/ 3670359 h 4174417"/>
                  <a:gd name="connsiteX4" fmla="*/ 3632051 w 4147215"/>
                  <a:gd name="connsiteY4" fmla="*/ 0 h 4174417"/>
                  <a:gd name="connsiteX0" fmla="*/ 3632051 w 4136020"/>
                  <a:gd name="connsiteY0" fmla="*/ 0 h 4174298"/>
                  <a:gd name="connsiteX1" fmla="*/ 3895763 w 4136020"/>
                  <a:gd name="connsiteY1" fmla="*/ 261478 h 4174298"/>
                  <a:gd name="connsiteX2" fmla="*/ 299041 w 4136020"/>
                  <a:gd name="connsiteY2" fmla="*/ 3966673 h 4174298"/>
                  <a:gd name="connsiteX3" fmla="*/ 0 w 4136020"/>
                  <a:gd name="connsiteY3" fmla="*/ 3670359 h 4174298"/>
                  <a:gd name="connsiteX4" fmla="*/ 3632051 w 4136020"/>
                  <a:gd name="connsiteY4" fmla="*/ 0 h 4174298"/>
                  <a:gd name="connsiteX0" fmla="*/ 3632051 w 4145927"/>
                  <a:gd name="connsiteY0" fmla="*/ 0 h 4174298"/>
                  <a:gd name="connsiteX1" fmla="*/ 3895763 w 4145927"/>
                  <a:gd name="connsiteY1" fmla="*/ 261478 h 4174298"/>
                  <a:gd name="connsiteX2" fmla="*/ 299041 w 4145927"/>
                  <a:gd name="connsiteY2" fmla="*/ 3966673 h 4174298"/>
                  <a:gd name="connsiteX3" fmla="*/ 0 w 4145927"/>
                  <a:gd name="connsiteY3" fmla="*/ 3670359 h 4174298"/>
                  <a:gd name="connsiteX4" fmla="*/ 3632051 w 4145927"/>
                  <a:gd name="connsiteY4" fmla="*/ 0 h 4174298"/>
                  <a:gd name="connsiteX0" fmla="*/ 3632051 w 4145927"/>
                  <a:gd name="connsiteY0" fmla="*/ 0 h 4174298"/>
                  <a:gd name="connsiteX1" fmla="*/ 3895763 w 4145927"/>
                  <a:gd name="connsiteY1" fmla="*/ 261478 h 4174298"/>
                  <a:gd name="connsiteX2" fmla="*/ 299041 w 4145927"/>
                  <a:gd name="connsiteY2" fmla="*/ 3966673 h 4174298"/>
                  <a:gd name="connsiteX3" fmla="*/ 0 w 4145927"/>
                  <a:gd name="connsiteY3" fmla="*/ 3670359 h 4174298"/>
                  <a:gd name="connsiteX4" fmla="*/ 3632051 w 4145927"/>
                  <a:gd name="connsiteY4" fmla="*/ 0 h 4174298"/>
                  <a:gd name="connsiteX0" fmla="*/ 3632051 w 4145927"/>
                  <a:gd name="connsiteY0" fmla="*/ 0 h 4174298"/>
                  <a:gd name="connsiteX1" fmla="*/ 3895763 w 4145927"/>
                  <a:gd name="connsiteY1" fmla="*/ 261478 h 4174298"/>
                  <a:gd name="connsiteX2" fmla="*/ 299041 w 4145927"/>
                  <a:gd name="connsiteY2" fmla="*/ 3966673 h 4174298"/>
                  <a:gd name="connsiteX3" fmla="*/ 0 w 4145927"/>
                  <a:gd name="connsiteY3" fmla="*/ 3670359 h 4174298"/>
                  <a:gd name="connsiteX4" fmla="*/ 3632051 w 4145927"/>
                  <a:gd name="connsiteY4" fmla="*/ 0 h 4174298"/>
                  <a:gd name="connsiteX0" fmla="*/ 3632051 w 4145927"/>
                  <a:gd name="connsiteY0" fmla="*/ 0 h 4174298"/>
                  <a:gd name="connsiteX1" fmla="*/ 3895763 w 4145927"/>
                  <a:gd name="connsiteY1" fmla="*/ 261478 h 4174298"/>
                  <a:gd name="connsiteX2" fmla="*/ 299041 w 4145927"/>
                  <a:gd name="connsiteY2" fmla="*/ 3966673 h 4174298"/>
                  <a:gd name="connsiteX3" fmla="*/ 0 w 4145927"/>
                  <a:gd name="connsiteY3" fmla="*/ 3667978 h 4174298"/>
                  <a:gd name="connsiteX4" fmla="*/ 3632051 w 4145927"/>
                  <a:gd name="connsiteY4" fmla="*/ 0 h 4174298"/>
                  <a:gd name="connsiteX0" fmla="*/ 3632051 w 4145927"/>
                  <a:gd name="connsiteY0" fmla="*/ 0 h 4174298"/>
                  <a:gd name="connsiteX1" fmla="*/ 3895763 w 4145927"/>
                  <a:gd name="connsiteY1" fmla="*/ 261478 h 4174298"/>
                  <a:gd name="connsiteX2" fmla="*/ 299041 w 4145927"/>
                  <a:gd name="connsiteY2" fmla="*/ 3966673 h 4174298"/>
                  <a:gd name="connsiteX3" fmla="*/ 0 w 4145927"/>
                  <a:gd name="connsiteY3" fmla="*/ 3667978 h 4174298"/>
                  <a:gd name="connsiteX4" fmla="*/ 3632051 w 4145927"/>
                  <a:gd name="connsiteY4" fmla="*/ 0 h 4174298"/>
                  <a:gd name="connsiteX0" fmla="*/ 3632051 w 4145927"/>
                  <a:gd name="connsiteY0" fmla="*/ 0 h 4174298"/>
                  <a:gd name="connsiteX1" fmla="*/ 3895763 w 4145927"/>
                  <a:gd name="connsiteY1" fmla="*/ 261478 h 4174298"/>
                  <a:gd name="connsiteX2" fmla="*/ 299041 w 4145927"/>
                  <a:gd name="connsiteY2" fmla="*/ 3966673 h 4174298"/>
                  <a:gd name="connsiteX3" fmla="*/ 0 w 4145927"/>
                  <a:gd name="connsiteY3" fmla="*/ 3667978 h 4174298"/>
                  <a:gd name="connsiteX4" fmla="*/ 3632051 w 4145927"/>
                  <a:gd name="connsiteY4" fmla="*/ 0 h 4174298"/>
                  <a:gd name="connsiteX0" fmla="*/ 3622526 w 4136402"/>
                  <a:gd name="connsiteY0" fmla="*/ 0 h 4174298"/>
                  <a:gd name="connsiteX1" fmla="*/ 3886238 w 4136402"/>
                  <a:gd name="connsiteY1" fmla="*/ 261478 h 4174298"/>
                  <a:gd name="connsiteX2" fmla="*/ 289516 w 4136402"/>
                  <a:gd name="connsiteY2" fmla="*/ 3966673 h 4174298"/>
                  <a:gd name="connsiteX3" fmla="*/ 0 w 4136402"/>
                  <a:gd name="connsiteY3" fmla="*/ 3677503 h 4174298"/>
                  <a:gd name="connsiteX4" fmla="*/ 3622526 w 4136402"/>
                  <a:gd name="connsiteY4" fmla="*/ 0 h 4174298"/>
                  <a:gd name="connsiteX0" fmla="*/ 3622526 w 4136402"/>
                  <a:gd name="connsiteY0" fmla="*/ 0 h 4174298"/>
                  <a:gd name="connsiteX1" fmla="*/ 3886238 w 4136402"/>
                  <a:gd name="connsiteY1" fmla="*/ 261478 h 4174298"/>
                  <a:gd name="connsiteX2" fmla="*/ 289516 w 4136402"/>
                  <a:gd name="connsiteY2" fmla="*/ 3966673 h 4174298"/>
                  <a:gd name="connsiteX3" fmla="*/ 0 w 4136402"/>
                  <a:gd name="connsiteY3" fmla="*/ 3672741 h 4174298"/>
                  <a:gd name="connsiteX4" fmla="*/ 3622526 w 4136402"/>
                  <a:gd name="connsiteY4" fmla="*/ 0 h 4174298"/>
                  <a:gd name="connsiteX0" fmla="*/ 3622526 w 4136402"/>
                  <a:gd name="connsiteY0" fmla="*/ 0 h 4174298"/>
                  <a:gd name="connsiteX1" fmla="*/ 3886238 w 4136402"/>
                  <a:gd name="connsiteY1" fmla="*/ 261478 h 4174298"/>
                  <a:gd name="connsiteX2" fmla="*/ 289516 w 4136402"/>
                  <a:gd name="connsiteY2" fmla="*/ 3966673 h 4174298"/>
                  <a:gd name="connsiteX3" fmla="*/ 0 w 4136402"/>
                  <a:gd name="connsiteY3" fmla="*/ 3672741 h 4174298"/>
                  <a:gd name="connsiteX4" fmla="*/ 3622526 w 4136402"/>
                  <a:gd name="connsiteY4" fmla="*/ 0 h 4174298"/>
                  <a:gd name="connsiteX0" fmla="*/ 3622526 w 4136402"/>
                  <a:gd name="connsiteY0" fmla="*/ 0 h 4174298"/>
                  <a:gd name="connsiteX1" fmla="*/ 3886238 w 4136402"/>
                  <a:gd name="connsiteY1" fmla="*/ 261478 h 4174298"/>
                  <a:gd name="connsiteX2" fmla="*/ 289516 w 4136402"/>
                  <a:gd name="connsiteY2" fmla="*/ 3966673 h 4174298"/>
                  <a:gd name="connsiteX3" fmla="*/ 0 w 4136402"/>
                  <a:gd name="connsiteY3" fmla="*/ 3672741 h 4174298"/>
                  <a:gd name="connsiteX4" fmla="*/ 3622526 w 4136402"/>
                  <a:gd name="connsiteY4" fmla="*/ 0 h 4174298"/>
                  <a:gd name="connsiteX0" fmla="*/ 3622526 w 4136402"/>
                  <a:gd name="connsiteY0" fmla="*/ 0 h 4174298"/>
                  <a:gd name="connsiteX1" fmla="*/ 3886238 w 4136402"/>
                  <a:gd name="connsiteY1" fmla="*/ 261478 h 4174298"/>
                  <a:gd name="connsiteX2" fmla="*/ 289516 w 4136402"/>
                  <a:gd name="connsiteY2" fmla="*/ 3966673 h 4174298"/>
                  <a:gd name="connsiteX3" fmla="*/ 0 w 4136402"/>
                  <a:gd name="connsiteY3" fmla="*/ 3672741 h 4174298"/>
                  <a:gd name="connsiteX4" fmla="*/ 3622526 w 4136402"/>
                  <a:gd name="connsiteY4" fmla="*/ 0 h 4174298"/>
                  <a:gd name="connsiteX0" fmla="*/ 3613001 w 4126877"/>
                  <a:gd name="connsiteY0" fmla="*/ 0 h 4174298"/>
                  <a:gd name="connsiteX1" fmla="*/ 3876713 w 4126877"/>
                  <a:gd name="connsiteY1" fmla="*/ 261478 h 4174298"/>
                  <a:gd name="connsiteX2" fmla="*/ 279991 w 4126877"/>
                  <a:gd name="connsiteY2" fmla="*/ 3966673 h 4174298"/>
                  <a:gd name="connsiteX3" fmla="*/ 0 w 4126877"/>
                  <a:gd name="connsiteY3" fmla="*/ 3729891 h 4174298"/>
                  <a:gd name="connsiteX4" fmla="*/ 3613001 w 4126877"/>
                  <a:gd name="connsiteY4" fmla="*/ 0 h 4174298"/>
                  <a:gd name="connsiteX0" fmla="*/ 3624907 w 4138783"/>
                  <a:gd name="connsiteY0" fmla="*/ 0 h 4174298"/>
                  <a:gd name="connsiteX1" fmla="*/ 3888619 w 4138783"/>
                  <a:gd name="connsiteY1" fmla="*/ 261478 h 4174298"/>
                  <a:gd name="connsiteX2" fmla="*/ 291897 w 4138783"/>
                  <a:gd name="connsiteY2" fmla="*/ 3966673 h 4174298"/>
                  <a:gd name="connsiteX3" fmla="*/ 0 w 4138783"/>
                  <a:gd name="connsiteY3" fmla="*/ 3677504 h 4174298"/>
                  <a:gd name="connsiteX4" fmla="*/ 3624907 w 4138783"/>
                  <a:gd name="connsiteY4" fmla="*/ 0 h 4174298"/>
                  <a:gd name="connsiteX0" fmla="*/ 3617763 w 4131639"/>
                  <a:gd name="connsiteY0" fmla="*/ 0 h 4174298"/>
                  <a:gd name="connsiteX1" fmla="*/ 3881475 w 4131639"/>
                  <a:gd name="connsiteY1" fmla="*/ 261478 h 4174298"/>
                  <a:gd name="connsiteX2" fmla="*/ 284753 w 4131639"/>
                  <a:gd name="connsiteY2" fmla="*/ 3966673 h 4174298"/>
                  <a:gd name="connsiteX3" fmla="*/ 0 w 4131639"/>
                  <a:gd name="connsiteY3" fmla="*/ 3677504 h 4174298"/>
                  <a:gd name="connsiteX4" fmla="*/ 3617763 w 4131639"/>
                  <a:gd name="connsiteY4" fmla="*/ 0 h 4174298"/>
                  <a:gd name="connsiteX0" fmla="*/ 3617763 w 4131639"/>
                  <a:gd name="connsiteY0" fmla="*/ 0 h 4174298"/>
                  <a:gd name="connsiteX1" fmla="*/ 3881475 w 4131639"/>
                  <a:gd name="connsiteY1" fmla="*/ 261478 h 4174298"/>
                  <a:gd name="connsiteX2" fmla="*/ 284753 w 4131639"/>
                  <a:gd name="connsiteY2" fmla="*/ 3966673 h 4174298"/>
                  <a:gd name="connsiteX3" fmla="*/ 0 w 4131639"/>
                  <a:gd name="connsiteY3" fmla="*/ 3677504 h 4174298"/>
                  <a:gd name="connsiteX4" fmla="*/ 3617763 w 4131639"/>
                  <a:gd name="connsiteY4" fmla="*/ 0 h 4174298"/>
                  <a:gd name="connsiteX0" fmla="*/ 3617763 w 4131639"/>
                  <a:gd name="connsiteY0" fmla="*/ 0 h 4174298"/>
                  <a:gd name="connsiteX1" fmla="*/ 3881475 w 4131639"/>
                  <a:gd name="connsiteY1" fmla="*/ 261478 h 4174298"/>
                  <a:gd name="connsiteX2" fmla="*/ 284753 w 4131639"/>
                  <a:gd name="connsiteY2" fmla="*/ 3966673 h 4174298"/>
                  <a:gd name="connsiteX3" fmla="*/ 0 w 4131639"/>
                  <a:gd name="connsiteY3" fmla="*/ 3677504 h 4174298"/>
                  <a:gd name="connsiteX4" fmla="*/ 3617763 w 4131639"/>
                  <a:gd name="connsiteY4" fmla="*/ 0 h 4174298"/>
                  <a:gd name="connsiteX0" fmla="*/ 3617763 w 4131639"/>
                  <a:gd name="connsiteY0" fmla="*/ 0 h 4174298"/>
                  <a:gd name="connsiteX1" fmla="*/ 3881475 w 4131639"/>
                  <a:gd name="connsiteY1" fmla="*/ 261478 h 4174298"/>
                  <a:gd name="connsiteX2" fmla="*/ 284753 w 4131639"/>
                  <a:gd name="connsiteY2" fmla="*/ 3966673 h 4174298"/>
                  <a:gd name="connsiteX3" fmla="*/ 0 w 4131639"/>
                  <a:gd name="connsiteY3" fmla="*/ 3677504 h 4174298"/>
                  <a:gd name="connsiteX4" fmla="*/ 3617763 w 4131639"/>
                  <a:gd name="connsiteY4" fmla="*/ 0 h 4174298"/>
                  <a:gd name="connsiteX0" fmla="*/ 3617763 w 4131639"/>
                  <a:gd name="connsiteY0" fmla="*/ 0 h 4174298"/>
                  <a:gd name="connsiteX1" fmla="*/ 3881475 w 4131639"/>
                  <a:gd name="connsiteY1" fmla="*/ 261478 h 4174298"/>
                  <a:gd name="connsiteX2" fmla="*/ 284753 w 4131639"/>
                  <a:gd name="connsiteY2" fmla="*/ 3966673 h 4174298"/>
                  <a:gd name="connsiteX3" fmla="*/ 0 w 4131639"/>
                  <a:gd name="connsiteY3" fmla="*/ 3677504 h 4174298"/>
                  <a:gd name="connsiteX4" fmla="*/ 3617763 w 4131639"/>
                  <a:gd name="connsiteY4" fmla="*/ 0 h 4174298"/>
                  <a:gd name="connsiteX0" fmla="*/ 3617763 w 4131639"/>
                  <a:gd name="connsiteY0" fmla="*/ 0 h 4174298"/>
                  <a:gd name="connsiteX1" fmla="*/ 3881475 w 4131639"/>
                  <a:gd name="connsiteY1" fmla="*/ 261478 h 4174298"/>
                  <a:gd name="connsiteX2" fmla="*/ 284753 w 4131639"/>
                  <a:gd name="connsiteY2" fmla="*/ 3966673 h 4174298"/>
                  <a:gd name="connsiteX3" fmla="*/ 0 w 4131639"/>
                  <a:gd name="connsiteY3" fmla="*/ 3677504 h 4174298"/>
                  <a:gd name="connsiteX4" fmla="*/ 3617763 w 4131639"/>
                  <a:gd name="connsiteY4" fmla="*/ 0 h 4174298"/>
                  <a:gd name="connsiteX0" fmla="*/ 3617763 w 4128144"/>
                  <a:gd name="connsiteY0" fmla="*/ 0 h 4181055"/>
                  <a:gd name="connsiteX1" fmla="*/ 3881475 w 4128144"/>
                  <a:gd name="connsiteY1" fmla="*/ 261478 h 4181055"/>
                  <a:gd name="connsiteX2" fmla="*/ 284753 w 4128144"/>
                  <a:gd name="connsiteY2" fmla="*/ 3966673 h 4181055"/>
                  <a:gd name="connsiteX3" fmla="*/ 0 w 4128144"/>
                  <a:gd name="connsiteY3" fmla="*/ 3677504 h 4181055"/>
                  <a:gd name="connsiteX4" fmla="*/ 3617763 w 4128144"/>
                  <a:gd name="connsiteY4" fmla="*/ 0 h 4181055"/>
                  <a:gd name="connsiteX0" fmla="*/ 3617763 w 4128144"/>
                  <a:gd name="connsiteY0" fmla="*/ 0 h 4167595"/>
                  <a:gd name="connsiteX1" fmla="*/ 3881475 w 4128144"/>
                  <a:gd name="connsiteY1" fmla="*/ 261478 h 4167595"/>
                  <a:gd name="connsiteX2" fmla="*/ 284753 w 4128144"/>
                  <a:gd name="connsiteY2" fmla="*/ 3966673 h 4167595"/>
                  <a:gd name="connsiteX3" fmla="*/ 0 w 4128144"/>
                  <a:gd name="connsiteY3" fmla="*/ 3677504 h 4167595"/>
                  <a:gd name="connsiteX4" fmla="*/ 3617763 w 4128144"/>
                  <a:gd name="connsiteY4" fmla="*/ 0 h 4167595"/>
                  <a:gd name="connsiteX0" fmla="*/ 3617763 w 4130677"/>
                  <a:gd name="connsiteY0" fmla="*/ 0 h 4170939"/>
                  <a:gd name="connsiteX1" fmla="*/ 3881475 w 4130677"/>
                  <a:gd name="connsiteY1" fmla="*/ 261478 h 4170939"/>
                  <a:gd name="connsiteX2" fmla="*/ 284753 w 4130677"/>
                  <a:gd name="connsiteY2" fmla="*/ 3966673 h 4170939"/>
                  <a:gd name="connsiteX3" fmla="*/ 0 w 4130677"/>
                  <a:gd name="connsiteY3" fmla="*/ 3677504 h 4170939"/>
                  <a:gd name="connsiteX4" fmla="*/ 3617763 w 4130677"/>
                  <a:gd name="connsiteY4" fmla="*/ 0 h 4170939"/>
                  <a:gd name="connsiteX0" fmla="*/ 3617763 w 4125286"/>
                  <a:gd name="connsiteY0" fmla="*/ 0 h 4195430"/>
                  <a:gd name="connsiteX1" fmla="*/ 3881475 w 4125286"/>
                  <a:gd name="connsiteY1" fmla="*/ 261478 h 4195430"/>
                  <a:gd name="connsiteX2" fmla="*/ 194601 w 4125286"/>
                  <a:gd name="connsiteY2" fmla="*/ 3992430 h 4195430"/>
                  <a:gd name="connsiteX3" fmla="*/ 0 w 4125286"/>
                  <a:gd name="connsiteY3" fmla="*/ 3677504 h 4195430"/>
                  <a:gd name="connsiteX4" fmla="*/ 3617763 w 4125286"/>
                  <a:gd name="connsiteY4" fmla="*/ 0 h 4195430"/>
                  <a:gd name="connsiteX0" fmla="*/ 3617763 w 4133862"/>
                  <a:gd name="connsiteY0" fmla="*/ 0 h 4207682"/>
                  <a:gd name="connsiteX1" fmla="*/ 3881475 w 4133862"/>
                  <a:gd name="connsiteY1" fmla="*/ 261478 h 4207682"/>
                  <a:gd name="connsiteX2" fmla="*/ 336268 w 4133862"/>
                  <a:gd name="connsiteY2" fmla="*/ 4005309 h 4207682"/>
                  <a:gd name="connsiteX3" fmla="*/ 0 w 4133862"/>
                  <a:gd name="connsiteY3" fmla="*/ 3677504 h 4207682"/>
                  <a:gd name="connsiteX4" fmla="*/ 3617763 w 4133862"/>
                  <a:gd name="connsiteY4" fmla="*/ 0 h 4207682"/>
                  <a:gd name="connsiteX0" fmla="*/ 3617763 w 4140474"/>
                  <a:gd name="connsiteY0" fmla="*/ 0 h 4195430"/>
                  <a:gd name="connsiteX1" fmla="*/ 3881475 w 4140474"/>
                  <a:gd name="connsiteY1" fmla="*/ 261478 h 4195430"/>
                  <a:gd name="connsiteX2" fmla="*/ 439299 w 4140474"/>
                  <a:gd name="connsiteY2" fmla="*/ 3992430 h 4195430"/>
                  <a:gd name="connsiteX3" fmla="*/ 0 w 4140474"/>
                  <a:gd name="connsiteY3" fmla="*/ 3677504 h 4195430"/>
                  <a:gd name="connsiteX4" fmla="*/ 3617763 w 4140474"/>
                  <a:gd name="connsiteY4" fmla="*/ 0 h 4195430"/>
                  <a:gd name="connsiteX0" fmla="*/ 3617763 w 4140474"/>
                  <a:gd name="connsiteY0" fmla="*/ 0 h 4195430"/>
                  <a:gd name="connsiteX1" fmla="*/ 3881475 w 4140474"/>
                  <a:gd name="connsiteY1" fmla="*/ 261478 h 4195430"/>
                  <a:gd name="connsiteX2" fmla="*/ 439299 w 4140474"/>
                  <a:gd name="connsiteY2" fmla="*/ 3992430 h 4195430"/>
                  <a:gd name="connsiteX3" fmla="*/ 0 w 4140474"/>
                  <a:gd name="connsiteY3" fmla="*/ 3677504 h 4195430"/>
                  <a:gd name="connsiteX4" fmla="*/ 3617763 w 4140474"/>
                  <a:gd name="connsiteY4" fmla="*/ 0 h 4195430"/>
                  <a:gd name="connsiteX0" fmla="*/ 3617763 w 4140474"/>
                  <a:gd name="connsiteY0" fmla="*/ 0 h 4207681"/>
                  <a:gd name="connsiteX1" fmla="*/ 3881475 w 4140474"/>
                  <a:gd name="connsiteY1" fmla="*/ 261478 h 4207681"/>
                  <a:gd name="connsiteX2" fmla="*/ 439299 w 4140474"/>
                  <a:gd name="connsiteY2" fmla="*/ 4005308 h 4207681"/>
                  <a:gd name="connsiteX3" fmla="*/ 0 w 4140474"/>
                  <a:gd name="connsiteY3" fmla="*/ 3677504 h 4207681"/>
                  <a:gd name="connsiteX4" fmla="*/ 3617763 w 4140474"/>
                  <a:gd name="connsiteY4" fmla="*/ 0 h 4207681"/>
                  <a:gd name="connsiteX0" fmla="*/ 3617763 w 4140474"/>
                  <a:gd name="connsiteY0" fmla="*/ 0 h 4207681"/>
                  <a:gd name="connsiteX1" fmla="*/ 3881475 w 4140474"/>
                  <a:gd name="connsiteY1" fmla="*/ 261478 h 4207681"/>
                  <a:gd name="connsiteX2" fmla="*/ 439299 w 4140474"/>
                  <a:gd name="connsiteY2" fmla="*/ 4005308 h 4207681"/>
                  <a:gd name="connsiteX3" fmla="*/ 0 w 4140474"/>
                  <a:gd name="connsiteY3" fmla="*/ 3677504 h 4207681"/>
                  <a:gd name="connsiteX4" fmla="*/ 3617763 w 4140474"/>
                  <a:gd name="connsiteY4" fmla="*/ 0 h 4207681"/>
                  <a:gd name="connsiteX0" fmla="*/ 3617763 w 4140474"/>
                  <a:gd name="connsiteY0" fmla="*/ 0 h 4207681"/>
                  <a:gd name="connsiteX1" fmla="*/ 3881475 w 4140474"/>
                  <a:gd name="connsiteY1" fmla="*/ 261478 h 4207681"/>
                  <a:gd name="connsiteX2" fmla="*/ 439299 w 4140474"/>
                  <a:gd name="connsiteY2" fmla="*/ 4005308 h 4207681"/>
                  <a:gd name="connsiteX3" fmla="*/ 0 w 4140474"/>
                  <a:gd name="connsiteY3" fmla="*/ 3677504 h 4207681"/>
                  <a:gd name="connsiteX4" fmla="*/ 3617763 w 4140474"/>
                  <a:gd name="connsiteY4" fmla="*/ 0 h 4207681"/>
                  <a:gd name="connsiteX0" fmla="*/ 3617763 w 4140474"/>
                  <a:gd name="connsiteY0" fmla="*/ 0 h 4207681"/>
                  <a:gd name="connsiteX1" fmla="*/ 3881475 w 4140474"/>
                  <a:gd name="connsiteY1" fmla="*/ 261478 h 4207681"/>
                  <a:gd name="connsiteX2" fmla="*/ 439299 w 4140474"/>
                  <a:gd name="connsiteY2" fmla="*/ 4005308 h 4207681"/>
                  <a:gd name="connsiteX3" fmla="*/ 0 w 4140474"/>
                  <a:gd name="connsiteY3" fmla="*/ 3677504 h 4207681"/>
                  <a:gd name="connsiteX4" fmla="*/ 3617763 w 4140474"/>
                  <a:gd name="connsiteY4" fmla="*/ 0 h 4207681"/>
                  <a:gd name="connsiteX0" fmla="*/ 3617763 w 4140474"/>
                  <a:gd name="connsiteY0" fmla="*/ 0 h 4207681"/>
                  <a:gd name="connsiteX1" fmla="*/ 3881475 w 4140474"/>
                  <a:gd name="connsiteY1" fmla="*/ 261478 h 4207681"/>
                  <a:gd name="connsiteX2" fmla="*/ 439299 w 4140474"/>
                  <a:gd name="connsiteY2" fmla="*/ 4005308 h 4207681"/>
                  <a:gd name="connsiteX3" fmla="*/ 0 w 4140474"/>
                  <a:gd name="connsiteY3" fmla="*/ 3677504 h 4207681"/>
                  <a:gd name="connsiteX4" fmla="*/ 3617763 w 4140474"/>
                  <a:gd name="connsiteY4" fmla="*/ 0 h 4207681"/>
                  <a:gd name="connsiteX0" fmla="*/ 3617763 w 4141032"/>
                  <a:gd name="connsiteY0" fmla="*/ 0 h 4183522"/>
                  <a:gd name="connsiteX1" fmla="*/ 3881475 w 4141032"/>
                  <a:gd name="connsiteY1" fmla="*/ 261478 h 4183522"/>
                  <a:gd name="connsiteX2" fmla="*/ 447765 w 4141032"/>
                  <a:gd name="connsiteY2" fmla="*/ 3979908 h 4183522"/>
                  <a:gd name="connsiteX3" fmla="*/ 0 w 4141032"/>
                  <a:gd name="connsiteY3" fmla="*/ 3677504 h 4183522"/>
                  <a:gd name="connsiteX4" fmla="*/ 3617763 w 4141032"/>
                  <a:gd name="connsiteY4" fmla="*/ 0 h 4183522"/>
                  <a:gd name="connsiteX0" fmla="*/ 3617763 w 4141032"/>
                  <a:gd name="connsiteY0" fmla="*/ 0 h 4183522"/>
                  <a:gd name="connsiteX1" fmla="*/ 3881475 w 4141032"/>
                  <a:gd name="connsiteY1" fmla="*/ 261478 h 4183522"/>
                  <a:gd name="connsiteX2" fmla="*/ 447765 w 4141032"/>
                  <a:gd name="connsiteY2" fmla="*/ 3979908 h 4183522"/>
                  <a:gd name="connsiteX3" fmla="*/ 0 w 4141032"/>
                  <a:gd name="connsiteY3" fmla="*/ 3677504 h 4183522"/>
                  <a:gd name="connsiteX4" fmla="*/ 3617763 w 4141032"/>
                  <a:gd name="connsiteY4" fmla="*/ 0 h 4183522"/>
                  <a:gd name="connsiteX0" fmla="*/ 3617763 w 4141032"/>
                  <a:gd name="connsiteY0" fmla="*/ 0 h 4183522"/>
                  <a:gd name="connsiteX1" fmla="*/ 3881475 w 4141032"/>
                  <a:gd name="connsiteY1" fmla="*/ 261478 h 4183522"/>
                  <a:gd name="connsiteX2" fmla="*/ 447765 w 4141032"/>
                  <a:gd name="connsiteY2" fmla="*/ 3979908 h 4183522"/>
                  <a:gd name="connsiteX3" fmla="*/ 0 w 4141032"/>
                  <a:gd name="connsiteY3" fmla="*/ 3677504 h 4183522"/>
                  <a:gd name="connsiteX4" fmla="*/ 3617763 w 4141032"/>
                  <a:gd name="connsiteY4" fmla="*/ 0 h 4183522"/>
                  <a:gd name="connsiteX0" fmla="*/ 3617763 w 4141032"/>
                  <a:gd name="connsiteY0" fmla="*/ 0 h 4183522"/>
                  <a:gd name="connsiteX1" fmla="*/ 3881475 w 4141032"/>
                  <a:gd name="connsiteY1" fmla="*/ 261478 h 4183522"/>
                  <a:gd name="connsiteX2" fmla="*/ 447765 w 4141032"/>
                  <a:gd name="connsiteY2" fmla="*/ 3979908 h 4183522"/>
                  <a:gd name="connsiteX3" fmla="*/ 0 w 4141032"/>
                  <a:gd name="connsiteY3" fmla="*/ 3677504 h 4183522"/>
                  <a:gd name="connsiteX4" fmla="*/ 3617763 w 4141032"/>
                  <a:gd name="connsiteY4" fmla="*/ 0 h 4183522"/>
                  <a:gd name="connsiteX0" fmla="*/ 3617763 w 4141032"/>
                  <a:gd name="connsiteY0" fmla="*/ 0 h 4183522"/>
                  <a:gd name="connsiteX1" fmla="*/ 3881475 w 4141032"/>
                  <a:gd name="connsiteY1" fmla="*/ 261478 h 4183522"/>
                  <a:gd name="connsiteX2" fmla="*/ 447765 w 4141032"/>
                  <a:gd name="connsiteY2" fmla="*/ 3979908 h 4183522"/>
                  <a:gd name="connsiteX3" fmla="*/ 0 w 4141032"/>
                  <a:gd name="connsiteY3" fmla="*/ 3677504 h 4183522"/>
                  <a:gd name="connsiteX4" fmla="*/ 3617763 w 4141032"/>
                  <a:gd name="connsiteY4" fmla="*/ 0 h 4183522"/>
                  <a:gd name="connsiteX0" fmla="*/ 3617763 w 4142222"/>
                  <a:gd name="connsiteY0" fmla="*/ 0 h 4158097"/>
                  <a:gd name="connsiteX1" fmla="*/ 3881475 w 4142222"/>
                  <a:gd name="connsiteY1" fmla="*/ 261478 h 4158097"/>
                  <a:gd name="connsiteX2" fmla="*/ 447765 w 4142222"/>
                  <a:gd name="connsiteY2" fmla="*/ 3979908 h 4158097"/>
                  <a:gd name="connsiteX3" fmla="*/ 0 w 4142222"/>
                  <a:gd name="connsiteY3" fmla="*/ 3677504 h 4158097"/>
                  <a:gd name="connsiteX4" fmla="*/ 3617763 w 4142222"/>
                  <a:gd name="connsiteY4" fmla="*/ 0 h 4158097"/>
                  <a:gd name="connsiteX0" fmla="*/ 3617763 w 4142222"/>
                  <a:gd name="connsiteY0" fmla="*/ 0 h 4158097"/>
                  <a:gd name="connsiteX1" fmla="*/ 3881475 w 4142222"/>
                  <a:gd name="connsiteY1" fmla="*/ 261478 h 4158097"/>
                  <a:gd name="connsiteX2" fmla="*/ 447765 w 4142222"/>
                  <a:gd name="connsiteY2" fmla="*/ 3979908 h 4158097"/>
                  <a:gd name="connsiteX3" fmla="*/ 0 w 4142222"/>
                  <a:gd name="connsiteY3" fmla="*/ 3675123 h 4158097"/>
                  <a:gd name="connsiteX4" fmla="*/ 3617763 w 4142222"/>
                  <a:gd name="connsiteY4" fmla="*/ 0 h 4158097"/>
                  <a:gd name="connsiteX0" fmla="*/ 3617763 w 4137865"/>
                  <a:gd name="connsiteY0" fmla="*/ 0 h 4193422"/>
                  <a:gd name="connsiteX1" fmla="*/ 3881475 w 4137865"/>
                  <a:gd name="connsiteY1" fmla="*/ 261478 h 4193422"/>
                  <a:gd name="connsiteX2" fmla="*/ 381304 w 4137865"/>
                  <a:gd name="connsiteY2" fmla="*/ 4016869 h 4193422"/>
                  <a:gd name="connsiteX3" fmla="*/ 0 w 4137865"/>
                  <a:gd name="connsiteY3" fmla="*/ 3675123 h 4193422"/>
                  <a:gd name="connsiteX4" fmla="*/ 3617763 w 4137865"/>
                  <a:gd name="connsiteY4" fmla="*/ 0 h 4193422"/>
                  <a:gd name="connsiteX0" fmla="*/ 3617763 w 4137865"/>
                  <a:gd name="connsiteY0" fmla="*/ 0 h 4193422"/>
                  <a:gd name="connsiteX1" fmla="*/ 3881475 w 4137865"/>
                  <a:gd name="connsiteY1" fmla="*/ 261478 h 4193422"/>
                  <a:gd name="connsiteX2" fmla="*/ 381304 w 4137865"/>
                  <a:gd name="connsiteY2" fmla="*/ 4016869 h 4193422"/>
                  <a:gd name="connsiteX3" fmla="*/ 0 w 4137865"/>
                  <a:gd name="connsiteY3" fmla="*/ 3675123 h 4193422"/>
                  <a:gd name="connsiteX4" fmla="*/ 3617763 w 4137865"/>
                  <a:gd name="connsiteY4" fmla="*/ 0 h 4193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7865" h="4193422">
                    <a:moveTo>
                      <a:pt x="3617763" y="0"/>
                    </a:moveTo>
                    <a:cubicBezTo>
                      <a:pt x="3700536" y="81069"/>
                      <a:pt x="3810608" y="189934"/>
                      <a:pt x="3881475" y="261478"/>
                    </a:cubicBezTo>
                    <a:cubicBezTo>
                      <a:pt x="5028793" y="1759949"/>
                      <a:pt x="2050546" y="4979701"/>
                      <a:pt x="381304" y="4016869"/>
                    </a:cubicBezTo>
                    <a:cubicBezTo>
                      <a:pt x="201819" y="3913820"/>
                      <a:pt x="209380" y="3844565"/>
                      <a:pt x="0" y="3675123"/>
                    </a:cubicBezTo>
                    <a:cubicBezTo>
                      <a:pt x="1490925" y="4626066"/>
                      <a:pt x="4629702" y="1560267"/>
                      <a:pt x="3617763" y="0"/>
                    </a:cubicBezTo>
                    <a:close/>
                  </a:path>
                </a:pathLst>
              </a:custGeom>
              <a:solidFill>
                <a:sysClr val="windowText" lastClr="000000">
                  <a:lumMod val="65000"/>
                  <a:lumOff val="35000"/>
                </a:sys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rPr>
                  <a:t> </a:t>
                </a:r>
              </a:p>
            </p:txBody>
          </p:sp>
          <p:sp>
            <p:nvSpPr>
              <p:cNvPr id="26" name="Oval 25"/>
              <p:cNvSpPr/>
              <p:nvPr/>
            </p:nvSpPr>
            <p:spPr>
              <a:xfrm rot="16343469">
                <a:off x="568869" y="1795059"/>
                <a:ext cx="2314822" cy="1383842"/>
              </a:xfrm>
              <a:prstGeom prst="ellipse">
                <a:avLst/>
              </a:pr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27" name="Oval 26"/>
              <p:cNvSpPr/>
              <p:nvPr/>
            </p:nvSpPr>
            <p:spPr>
              <a:xfrm rot="16343469">
                <a:off x="813019" y="1950851"/>
                <a:ext cx="1806248" cy="1070662"/>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28" name="Oval 27"/>
              <p:cNvSpPr/>
              <p:nvPr/>
            </p:nvSpPr>
            <p:spPr>
              <a:xfrm rot="16343469">
                <a:off x="1055907" y="2087707"/>
                <a:ext cx="1330321" cy="795491"/>
              </a:xfrm>
              <a:prstGeom prst="ellipse">
                <a:avLst/>
              </a:pr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29" name="Oval 28"/>
              <p:cNvSpPr/>
              <p:nvPr/>
            </p:nvSpPr>
            <p:spPr>
              <a:xfrm rot="16343469">
                <a:off x="1311314" y="2242251"/>
                <a:ext cx="809422" cy="492076"/>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30" name="Oval 29"/>
              <p:cNvSpPr/>
              <p:nvPr/>
            </p:nvSpPr>
            <p:spPr>
              <a:xfrm rot="16343469">
                <a:off x="1548666" y="2373739"/>
                <a:ext cx="345354" cy="209953"/>
              </a:xfrm>
              <a:prstGeom prst="ellipse">
                <a:avLst/>
              </a:pr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grpSp>
            <p:nvGrpSpPr>
              <p:cNvPr id="31" name="Group 30"/>
              <p:cNvGrpSpPr/>
              <p:nvPr/>
            </p:nvGrpSpPr>
            <p:grpSpPr>
              <a:xfrm>
                <a:off x="565335" y="1972813"/>
                <a:ext cx="1310261" cy="1104189"/>
                <a:chOff x="565335" y="1972813"/>
                <a:chExt cx="1310261" cy="1104189"/>
              </a:xfrm>
            </p:grpSpPr>
            <p:grpSp>
              <p:nvGrpSpPr>
                <p:cNvPr id="32" name="Group 31"/>
                <p:cNvGrpSpPr/>
                <p:nvPr/>
              </p:nvGrpSpPr>
              <p:grpSpPr>
                <a:xfrm rot="1611131" flipH="1">
                  <a:off x="649389" y="1972813"/>
                  <a:ext cx="1150701" cy="408200"/>
                  <a:chOff x="4824756" y="2527524"/>
                  <a:chExt cx="3663420" cy="1298138"/>
                </a:xfrm>
              </p:grpSpPr>
              <p:sp>
                <p:nvSpPr>
                  <p:cNvPr id="77" name="Rectangle 14"/>
                  <p:cNvSpPr/>
                  <p:nvPr/>
                </p:nvSpPr>
                <p:spPr>
                  <a:xfrm rot="1545906" flipH="1">
                    <a:off x="5377672" y="3108738"/>
                    <a:ext cx="307886" cy="228553"/>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9131"/>
                      <a:gd name="connsiteY0" fmla="*/ 0 h 368300"/>
                      <a:gd name="connsiteX1" fmla="*/ 669131 w 669131"/>
                      <a:gd name="connsiteY1" fmla="*/ 223837 h 368300"/>
                      <a:gd name="connsiteX2" fmla="*/ 571500 w 669131"/>
                      <a:gd name="connsiteY2" fmla="*/ 368300 h 368300"/>
                      <a:gd name="connsiteX3" fmla="*/ 0 w 669131"/>
                      <a:gd name="connsiteY3" fmla="*/ 368300 h 368300"/>
                      <a:gd name="connsiteX4" fmla="*/ 0 w 669131"/>
                      <a:gd name="connsiteY4" fmla="*/ 0 h 368300"/>
                      <a:gd name="connsiteX0" fmla="*/ 0 w 683551"/>
                      <a:gd name="connsiteY0" fmla="*/ 0 h 368300"/>
                      <a:gd name="connsiteX1" fmla="*/ 669131 w 683551"/>
                      <a:gd name="connsiteY1" fmla="*/ 223837 h 368300"/>
                      <a:gd name="connsiteX2" fmla="*/ 571500 w 683551"/>
                      <a:gd name="connsiteY2" fmla="*/ 368300 h 368300"/>
                      <a:gd name="connsiteX3" fmla="*/ 0 w 683551"/>
                      <a:gd name="connsiteY3" fmla="*/ 368300 h 368300"/>
                      <a:gd name="connsiteX4" fmla="*/ 0 w 683551"/>
                      <a:gd name="connsiteY4" fmla="*/ 0 h 368300"/>
                      <a:gd name="connsiteX0" fmla="*/ 0 w 672707"/>
                      <a:gd name="connsiteY0" fmla="*/ 0 h 368300"/>
                      <a:gd name="connsiteX1" fmla="*/ 669131 w 672707"/>
                      <a:gd name="connsiteY1" fmla="*/ 223837 h 368300"/>
                      <a:gd name="connsiteX2" fmla="*/ 571500 w 672707"/>
                      <a:gd name="connsiteY2" fmla="*/ 368300 h 368300"/>
                      <a:gd name="connsiteX3" fmla="*/ 0 w 672707"/>
                      <a:gd name="connsiteY3" fmla="*/ 368300 h 368300"/>
                      <a:gd name="connsiteX4" fmla="*/ 0 w 672707"/>
                      <a:gd name="connsiteY4" fmla="*/ 0 h 368300"/>
                      <a:gd name="connsiteX0" fmla="*/ 0 w 673449"/>
                      <a:gd name="connsiteY0" fmla="*/ 0 h 370698"/>
                      <a:gd name="connsiteX1" fmla="*/ 669131 w 673449"/>
                      <a:gd name="connsiteY1" fmla="*/ 223837 h 370698"/>
                      <a:gd name="connsiteX2" fmla="*/ 571500 w 673449"/>
                      <a:gd name="connsiteY2" fmla="*/ 368300 h 370698"/>
                      <a:gd name="connsiteX3" fmla="*/ 0 w 673449"/>
                      <a:gd name="connsiteY3" fmla="*/ 368300 h 370698"/>
                      <a:gd name="connsiteX4" fmla="*/ 0 w 673449"/>
                      <a:gd name="connsiteY4" fmla="*/ 0 h 370698"/>
                      <a:gd name="connsiteX0" fmla="*/ 0 w 672956"/>
                      <a:gd name="connsiteY0" fmla="*/ 0 h 371937"/>
                      <a:gd name="connsiteX1" fmla="*/ 669131 w 672956"/>
                      <a:gd name="connsiteY1" fmla="*/ 223837 h 371937"/>
                      <a:gd name="connsiteX2" fmla="*/ 571500 w 672956"/>
                      <a:gd name="connsiteY2" fmla="*/ 368300 h 371937"/>
                      <a:gd name="connsiteX3" fmla="*/ 0 w 672956"/>
                      <a:gd name="connsiteY3" fmla="*/ 368300 h 371937"/>
                      <a:gd name="connsiteX4" fmla="*/ 0 w 672956"/>
                      <a:gd name="connsiteY4" fmla="*/ 0 h 371937"/>
                      <a:gd name="connsiteX0" fmla="*/ 0 w 671150"/>
                      <a:gd name="connsiteY0" fmla="*/ 0 h 371937"/>
                      <a:gd name="connsiteX1" fmla="*/ 669131 w 671150"/>
                      <a:gd name="connsiteY1" fmla="*/ 223837 h 371937"/>
                      <a:gd name="connsiteX2" fmla="*/ 571500 w 671150"/>
                      <a:gd name="connsiteY2" fmla="*/ 368300 h 371937"/>
                      <a:gd name="connsiteX3" fmla="*/ 0 w 671150"/>
                      <a:gd name="connsiteY3" fmla="*/ 368300 h 371937"/>
                      <a:gd name="connsiteX4" fmla="*/ 0 w 671150"/>
                      <a:gd name="connsiteY4" fmla="*/ 0 h 371937"/>
                      <a:gd name="connsiteX0" fmla="*/ 0 w 671778"/>
                      <a:gd name="connsiteY0" fmla="*/ 0 h 369189"/>
                      <a:gd name="connsiteX1" fmla="*/ 669131 w 671778"/>
                      <a:gd name="connsiteY1" fmla="*/ 223837 h 369189"/>
                      <a:gd name="connsiteX2" fmla="*/ 571500 w 671778"/>
                      <a:gd name="connsiteY2" fmla="*/ 368300 h 369189"/>
                      <a:gd name="connsiteX3" fmla="*/ 0 w 671778"/>
                      <a:gd name="connsiteY3" fmla="*/ 368300 h 369189"/>
                      <a:gd name="connsiteX4" fmla="*/ 0 w 671778"/>
                      <a:gd name="connsiteY4" fmla="*/ 0 h 369189"/>
                      <a:gd name="connsiteX0" fmla="*/ 0 w 671391"/>
                      <a:gd name="connsiteY0" fmla="*/ 0 h 369635"/>
                      <a:gd name="connsiteX1" fmla="*/ 669131 w 671391"/>
                      <a:gd name="connsiteY1" fmla="*/ 223837 h 369635"/>
                      <a:gd name="connsiteX2" fmla="*/ 571500 w 671391"/>
                      <a:gd name="connsiteY2" fmla="*/ 368300 h 369635"/>
                      <a:gd name="connsiteX3" fmla="*/ 0 w 671391"/>
                      <a:gd name="connsiteY3" fmla="*/ 368300 h 369635"/>
                      <a:gd name="connsiteX4" fmla="*/ 0 w 671391"/>
                      <a:gd name="connsiteY4" fmla="*/ 0 h 369635"/>
                      <a:gd name="connsiteX0" fmla="*/ 390525 w 671391"/>
                      <a:gd name="connsiteY0" fmla="*/ 0 h 276766"/>
                      <a:gd name="connsiteX1" fmla="*/ 669131 w 671391"/>
                      <a:gd name="connsiteY1" fmla="*/ 130968 h 276766"/>
                      <a:gd name="connsiteX2" fmla="*/ 571500 w 671391"/>
                      <a:gd name="connsiteY2" fmla="*/ 275431 h 276766"/>
                      <a:gd name="connsiteX3" fmla="*/ 0 w 671391"/>
                      <a:gd name="connsiteY3" fmla="*/ 275431 h 276766"/>
                      <a:gd name="connsiteX4" fmla="*/ 390525 w 671391"/>
                      <a:gd name="connsiteY4" fmla="*/ 0 h 276766"/>
                      <a:gd name="connsiteX0" fmla="*/ 92869 w 373735"/>
                      <a:gd name="connsiteY0" fmla="*/ 0 h 276766"/>
                      <a:gd name="connsiteX1" fmla="*/ 371475 w 373735"/>
                      <a:gd name="connsiteY1" fmla="*/ 130968 h 276766"/>
                      <a:gd name="connsiteX2" fmla="*/ 273844 w 373735"/>
                      <a:gd name="connsiteY2" fmla="*/ 275431 h 276766"/>
                      <a:gd name="connsiteX3" fmla="*/ 0 w 373735"/>
                      <a:gd name="connsiteY3" fmla="*/ 132556 h 276766"/>
                      <a:gd name="connsiteX4" fmla="*/ 92869 w 373735"/>
                      <a:gd name="connsiteY4" fmla="*/ 0 h 276766"/>
                      <a:gd name="connsiteX0" fmla="*/ 100013 w 380879"/>
                      <a:gd name="connsiteY0" fmla="*/ 0 h 276766"/>
                      <a:gd name="connsiteX1" fmla="*/ 378619 w 380879"/>
                      <a:gd name="connsiteY1" fmla="*/ 130968 h 276766"/>
                      <a:gd name="connsiteX2" fmla="*/ 280988 w 380879"/>
                      <a:gd name="connsiteY2" fmla="*/ 275431 h 276766"/>
                      <a:gd name="connsiteX3" fmla="*/ 0 w 380879"/>
                      <a:gd name="connsiteY3" fmla="*/ 134938 h 276766"/>
                      <a:gd name="connsiteX4" fmla="*/ 100013 w 380879"/>
                      <a:gd name="connsiteY4" fmla="*/ 0 h 276766"/>
                      <a:gd name="connsiteX0" fmla="*/ 80963 w 361829"/>
                      <a:gd name="connsiteY0" fmla="*/ 0 h 276766"/>
                      <a:gd name="connsiteX1" fmla="*/ 359569 w 361829"/>
                      <a:gd name="connsiteY1" fmla="*/ 130968 h 276766"/>
                      <a:gd name="connsiteX2" fmla="*/ 261938 w 361829"/>
                      <a:gd name="connsiteY2" fmla="*/ 275431 h 276766"/>
                      <a:gd name="connsiteX3" fmla="*/ 0 w 361829"/>
                      <a:gd name="connsiteY3" fmla="*/ 142081 h 276766"/>
                      <a:gd name="connsiteX4" fmla="*/ 80963 w 361829"/>
                      <a:gd name="connsiteY4" fmla="*/ 0 h 276766"/>
                      <a:gd name="connsiteX0" fmla="*/ 80963 w 361829"/>
                      <a:gd name="connsiteY0" fmla="*/ 0 h 276766"/>
                      <a:gd name="connsiteX1" fmla="*/ 359569 w 361829"/>
                      <a:gd name="connsiteY1" fmla="*/ 130968 h 276766"/>
                      <a:gd name="connsiteX2" fmla="*/ 261938 w 361829"/>
                      <a:gd name="connsiteY2" fmla="*/ 275431 h 276766"/>
                      <a:gd name="connsiteX3" fmla="*/ 0 w 361829"/>
                      <a:gd name="connsiteY3" fmla="*/ 142081 h 276766"/>
                      <a:gd name="connsiteX4" fmla="*/ 80963 w 361829"/>
                      <a:gd name="connsiteY4" fmla="*/ 0 h 276766"/>
                      <a:gd name="connsiteX0" fmla="*/ 83344 w 364210"/>
                      <a:gd name="connsiteY0" fmla="*/ 0 h 276766"/>
                      <a:gd name="connsiteX1" fmla="*/ 361950 w 364210"/>
                      <a:gd name="connsiteY1" fmla="*/ 130968 h 276766"/>
                      <a:gd name="connsiteX2" fmla="*/ 264319 w 364210"/>
                      <a:gd name="connsiteY2" fmla="*/ 275431 h 276766"/>
                      <a:gd name="connsiteX3" fmla="*/ 0 w 364210"/>
                      <a:gd name="connsiteY3" fmla="*/ 144463 h 276766"/>
                      <a:gd name="connsiteX4" fmla="*/ 83344 w 364210"/>
                      <a:gd name="connsiteY4" fmla="*/ 0 h 276766"/>
                      <a:gd name="connsiteX0" fmla="*/ 83344 w 364210"/>
                      <a:gd name="connsiteY0" fmla="*/ 0 h 276766"/>
                      <a:gd name="connsiteX1" fmla="*/ 361950 w 364210"/>
                      <a:gd name="connsiteY1" fmla="*/ 130968 h 276766"/>
                      <a:gd name="connsiteX2" fmla="*/ 264319 w 364210"/>
                      <a:gd name="connsiteY2" fmla="*/ 275431 h 276766"/>
                      <a:gd name="connsiteX3" fmla="*/ 0 w 364210"/>
                      <a:gd name="connsiteY3" fmla="*/ 144463 h 276766"/>
                      <a:gd name="connsiteX4" fmla="*/ 83344 w 364210"/>
                      <a:gd name="connsiteY4" fmla="*/ 0 h 276766"/>
                      <a:gd name="connsiteX0" fmla="*/ 76200 w 357066"/>
                      <a:gd name="connsiteY0" fmla="*/ 0 h 276766"/>
                      <a:gd name="connsiteX1" fmla="*/ 354806 w 357066"/>
                      <a:gd name="connsiteY1" fmla="*/ 130968 h 276766"/>
                      <a:gd name="connsiteX2" fmla="*/ 257175 w 357066"/>
                      <a:gd name="connsiteY2" fmla="*/ 275431 h 276766"/>
                      <a:gd name="connsiteX3" fmla="*/ 0 w 357066"/>
                      <a:gd name="connsiteY3" fmla="*/ 123032 h 276766"/>
                      <a:gd name="connsiteX4" fmla="*/ 76200 w 357066"/>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8306"/>
                      <a:gd name="connsiteY0" fmla="*/ 0 h 276766"/>
                      <a:gd name="connsiteX1" fmla="*/ 376237 w 378306"/>
                      <a:gd name="connsiteY1" fmla="*/ 130968 h 276766"/>
                      <a:gd name="connsiteX2" fmla="*/ 271462 w 378306"/>
                      <a:gd name="connsiteY2" fmla="*/ 275431 h 276766"/>
                      <a:gd name="connsiteX3" fmla="*/ 0 w 378306"/>
                      <a:gd name="connsiteY3" fmla="*/ 134938 h 276766"/>
                      <a:gd name="connsiteX4" fmla="*/ 90487 w 378306"/>
                      <a:gd name="connsiteY4" fmla="*/ 0 h 276766"/>
                      <a:gd name="connsiteX0" fmla="*/ 90487 w 376245"/>
                      <a:gd name="connsiteY0" fmla="*/ 0 h 277332"/>
                      <a:gd name="connsiteX1" fmla="*/ 376237 w 376245"/>
                      <a:gd name="connsiteY1" fmla="*/ 130968 h 277332"/>
                      <a:gd name="connsiteX2" fmla="*/ 271462 w 376245"/>
                      <a:gd name="connsiteY2" fmla="*/ 275431 h 277332"/>
                      <a:gd name="connsiteX3" fmla="*/ 0 w 376245"/>
                      <a:gd name="connsiteY3" fmla="*/ 134938 h 277332"/>
                      <a:gd name="connsiteX4" fmla="*/ 90487 w 376245"/>
                      <a:gd name="connsiteY4" fmla="*/ 0 h 277332"/>
                      <a:gd name="connsiteX0" fmla="*/ 90487 w 376245"/>
                      <a:gd name="connsiteY0" fmla="*/ 0 h 277257"/>
                      <a:gd name="connsiteX1" fmla="*/ 376237 w 376245"/>
                      <a:gd name="connsiteY1" fmla="*/ 130968 h 277257"/>
                      <a:gd name="connsiteX2" fmla="*/ 271462 w 376245"/>
                      <a:gd name="connsiteY2" fmla="*/ 275431 h 277257"/>
                      <a:gd name="connsiteX3" fmla="*/ 0 w 376245"/>
                      <a:gd name="connsiteY3" fmla="*/ 134938 h 277257"/>
                      <a:gd name="connsiteX4" fmla="*/ 90487 w 376245"/>
                      <a:gd name="connsiteY4" fmla="*/ 0 h 277257"/>
                      <a:gd name="connsiteX0" fmla="*/ 90487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0487 w 376244"/>
                      <a:gd name="connsiteY4" fmla="*/ 0 h 277257"/>
                      <a:gd name="connsiteX0" fmla="*/ 95249 w 376244"/>
                      <a:gd name="connsiteY0" fmla="*/ 0 h 279638"/>
                      <a:gd name="connsiteX1" fmla="*/ 376237 w 376244"/>
                      <a:gd name="connsiteY1" fmla="*/ 133349 h 279638"/>
                      <a:gd name="connsiteX2" fmla="*/ 271462 w 376244"/>
                      <a:gd name="connsiteY2" fmla="*/ 277812 h 279638"/>
                      <a:gd name="connsiteX3" fmla="*/ 0 w 376244"/>
                      <a:gd name="connsiteY3" fmla="*/ 137319 h 279638"/>
                      <a:gd name="connsiteX4" fmla="*/ 95249 w 376244"/>
                      <a:gd name="connsiteY4" fmla="*/ 0 h 279638"/>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8625"/>
                      <a:gd name="connsiteY0" fmla="*/ 0 h 277335"/>
                      <a:gd name="connsiteX1" fmla="*/ 378618 w 378625"/>
                      <a:gd name="connsiteY1" fmla="*/ 133349 h 277335"/>
                      <a:gd name="connsiteX2" fmla="*/ 271462 w 378625"/>
                      <a:gd name="connsiteY2" fmla="*/ 275431 h 277335"/>
                      <a:gd name="connsiteX3" fmla="*/ 0 w 378625"/>
                      <a:gd name="connsiteY3" fmla="*/ 134938 h 277335"/>
                      <a:gd name="connsiteX4" fmla="*/ 97630 w 378625"/>
                      <a:gd name="connsiteY4" fmla="*/ 0 h 277335"/>
                      <a:gd name="connsiteX0" fmla="*/ 97630 w 378625"/>
                      <a:gd name="connsiteY0" fmla="*/ 0 h 277335"/>
                      <a:gd name="connsiteX1" fmla="*/ 378618 w 378625"/>
                      <a:gd name="connsiteY1" fmla="*/ 133349 h 277335"/>
                      <a:gd name="connsiteX2" fmla="*/ 271462 w 378625"/>
                      <a:gd name="connsiteY2" fmla="*/ 275431 h 277335"/>
                      <a:gd name="connsiteX3" fmla="*/ 0 w 378625"/>
                      <a:gd name="connsiteY3" fmla="*/ 134938 h 277335"/>
                      <a:gd name="connsiteX4" fmla="*/ 97630 w 378625"/>
                      <a:gd name="connsiteY4" fmla="*/ 0 h 277335"/>
                      <a:gd name="connsiteX0" fmla="*/ 97630 w 378618"/>
                      <a:gd name="connsiteY0" fmla="*/ 0 h 279249"/>
                      <a:gd name="connsiteX1" fmla="*/ 378618 w 378618"/>
                      <a:gd name="connsiteY1" fmla="*/ 133349 h 279249"/>
                      <a:gd name="connsiteX2" fmla="*/ 271462 w 378618"/>
                      <a:gd name="connsiteY2" fmla="*/ 275431 h 279249"/>
                      <a:gd name="connsiteX3" fmla="*/ 0 w 378618"/>
                      <a:gd name="connsiteY3" fmla="*/ 134938 h 279249"/>
                      <a:gd name="connsiteX4" fmla="*/ 97630 w 378618"/>
                      <a:gd name="connsiteY4" fmla="*/ 0 h 279249"/>
                      <a:gd name="connsiteX0" fmla="*/ 97630 w 378618"/>
                      <a:gd name="connsiteY0" fmla="*/ 0 h 278045"/>
                      <a:gd name="connsiteX1" fmla="*/ 378618 w 378618"/>
                      <a:gd name="connsiteY1" fmla="*/ 133349 h 278045"/>
                      <a:gd name="connsiteX2" fmla="*/ 271462 w 378618"/>
                      <a:gd name="connsiteY2" fmla="*/ 275431 h 278045"/>
                      <a:gd name="connsiteX3" fmla="*/ 0 w 378618"/>
                      <a:gd name="connsiteY3" fmla="*/ 134938 h 278045"/>
                      <a:gd name="connsiteX4" fmla="*/ 97630 w 378618"/>
                      <a:gd name="connsiteY4" fmla="*/ 0 h 278045"/>
                      <a:gd name="connsiteX0" fmla="*/ 97630 w 378618"/>
                      <a:gd name="connsiteY0" fmla="*/ 0 h 278045"/>
                      <a:gd name="connsiteX1" fmla="*/ 378618 w 378618"/>
                      <a:gd name="connsiteY1" fmla="*/ 133349 h 278045"/>
                      <a:gd name="connsiteX2" fmla="*/ 271462 w 378618"/>
                      <a:gd name="connsiteY2" fmla="*/ 275431 h 278045"/>
                      <a:gd name="connsiteX3" fmla="*/ 0 w 378618"/>
                      <a:gd name="connsiteY3" fmla="*/ 134938 h 278045"/>
                      <a:gd name="connsiteX4" fmla="*/ 97630 w 378618"/>
                      <a:gd name="connsiteY4" fmla="*/ 0 h 278045"/>
                      <a:gd name="connsiteX0" fmla="*/ 97630 w 378618"/>
                      <a:gd name="connsiteY0" fmla="*/ 0 h 278045"/>
                      <a:gd name="connsiteX1" fmla="*/ 378618 w 378618"/>
                      <a:gd name="connsiteY1" fmla="*/ 133349 h 278045"/>
                      <a:gd name="connsiteX2" fmla="*/ 271462 w 378618"/>
                      <a:gd name="connsiteY2" fmla="*/ 275431 h 278045"/>
                      <a:gd name="connsiteX3" fmla="*/ 0 w 378618"/>
                      <a:gd name="connsiteY3" fmla="*/ 134938 h 278045"/>
                      <a:gd name="connsiteX4" fmla="*/ 97630 w 378618"/>
                      <a:gd name="connsiteY4" fmla="*/ 0 h 278045"/>
                      <a:gd name="connsiteX0" fmla="*/ 97630 w 378618"/>
                      <a:gd name="connsiteY0" fmla="*/ 0 h 278045"/>
                      <a:gd name="connsiteX1" fmla="*/ 378618 w 378618"/>
                      <a:gd name="connsiteY1" fmla="*/ 133349 h 278045"/>
                      <a:gd name="connsiteX2" fmla="*/ 271462 w 378618"/>
                      <a:gd name="connsiteY2" fmla="*/ 275431 h 278045"/>
                      <a:gd name="connsiteX3" fmla="*/ 0 w 378618"/>
                      <a:gd name="connsiteY3" fmla="*/ 134938 h 278045"/>
                      <a:gd name="connsiteX4" fmla="*/ 97630 w 378618"/>
                      <a:gd name="connsiteY4" fmla="*/ 0 h 278045"/>
                      <a:gd name="connsiteX0" fmla="*/ 97630 w 378618"/>
                      <a:gd name="connsiteY0" fmla="*/ 0 h 278045"/>
                      <a:gd name="connsiteX1" fmla="*/ 378618 w 378618"/>
                      <a:gd name="connsiteY1" fmla="*/ 133349 h 278045"/>
                      <a:gd name="connsiteX2" fmla="*/ 271462 w 378618"/>
                      <a:gd name="connsiteY2" fmla="*/ 275431 h 278045"/>
                      <a:gd name="connsiteX3" fmla="*/ 0 w 378618"/>
                      <a:gd name="connsiteY3" fmla="*/ 134938 h 278045"/>
                      <a:gd name="connsiteX4" fmla="*/ 97630 w 378618"/>
                      <a:gd name="connsiteY4" fmla="*/ 0 h 278045"/>
                      <a:gd name="connsiteX0" fmla="*/ 97630 w 380999"/>
                      <a:gd name="connsiteY0" fmla="*/ 0 h 278189"/>
                      <a:gd name="connsiteX1" fmla="*/ 380999 w 380999"/>
                      <a:gd name="connsiteY1" fmla="*/ 135730 h 278189"/>
                      <a:gd name="connsiteX2" fmla="*/ 271462 w 380999"/>
                      <a:gd name="connsiteY2" fmla="*/ 275431 h 278189"/>
                      <a:gd name="connsiteX3" fmla="*/ 0 w 380999"/>
                      <a:gd name="connsiteY3" fmla="*/ 134938 h 278189"/>
                      <a:gd name="connsiteX4" fmla="*/ 97630 w 380999"/>
                      <a:gd name="connsiteY4" fmla="*/ 0 h 278189"/>
                      <a:gd name="connsiteX0" fmla="*/ 97630 w 380999"/>
                      <a:gd name="connsiteY0" fmla="*/ 0 h 278667"/>
                      <a:gd name="connsiteX1" fmla="*/ 380999 w 380999"/>
                      <a:gd name="connsiteY1" fmla="*/ 135730 h 278667"/>
                      <a:gd name="connsiteX2" fmla="*/ 271462 w 380999"/>
                      <a:gd name="connsiteY2" fmla="*/ 275431 h 278667"/>
                      <a:gd name="connsiteX3" fmla="*/ 0 w 380999"/>
                      <a:gd name="connsiteY3" fmla="*/ 134938 h 278667"/>
                      <a:gd name="connsiteX4" fmla="*/ 97630 w 380999"/>
                      <a:gd name="connsiteY4" fmla="*/ 0 h 278667"/>
                      <a:gd name="connsiteX0" fmla="*/ 97630 w 380999"/>
                      <a:gd name="connsiteY0" fmla="*/ 0 h 277506"/>
                      <a:gd name="connsiteX1" fmla="*/ 380999 w 380999"/>
                      <a:gd name="connsiteY1" fmla="*/ 135730 h 277506"/>
                      <a:gd name="connsiteX2" fmla="*/ 271462 w 380999"/>
                      <a:gd name="connsiteY2" fmla="*/ 275431 h 277506"/>
                      <a:gd name="connsiteX3" fmla="*/ 0 w 380999"/>
                      <a:gd name="connsiteY3" fmla="*/ 134938 h 277506"/>
                      <a:gd name="connsiteX4" fmla="*/ 97630 w 380999"/>
                      <a:gd name="connsiteY4" fmla="*/ 0 h 277506"/>
                      <a:gd name="connsiteX0" fmla="*/ 97630 w 380999"/>
                      <a:gd name="connsiteY0" fmla="*/ 0 h 277506"/>
                      <a:gd name="connsiteX1" fmla="*/ 380999 w 380999"/>
                      <a:gd name="connsiteY1" fmla="*/ 135730 h 277506"/>
                      <a:gd name="connsiteX2" fmla="*/ 271462 w 380999"/>
                      <a:gd name="connsiteY2" fmla="*/ 275431 h 277506"/>
                      <a:gd name="connsiteX3" fmla="*/ 0 w 380999"/>
                      <a:gd name="connsiteY3" fmla="*/ 134938 h 277506"/>
                      <a:gd name="connsiteX4" fmla="*/ 97630 w 380999"/>
                      <a:gd name="connsiteY4" fmla="*/ 0 h 277506"/>
                      <a:gd name="connsiteX0" fmla="*/ 97630 w 380999"/>
                      <a:gd name="connsiteY0" fmla="*/ 0 h 278925"/>
                      <a:gd name="connsiteX1" fmla="*/ 380999 w 380999"/>
                      <a:gd name="connsiteY1" fmla="*/ 135730 h 278925"/>
                      <a:gd name="connsiteX2" fmla="*/ 271462 w 380999"/>
                      <a:gd name="connsiteY2" fmla="*/ 275431 h 278925"/>
                      <a:gd name="connsiteX3" fmla="*/ 0 w 380999"/>
                      <a:gd name="connsiteY3" fmla="*/ 134938 h 278925"/>
                      <a:gd name="connsiteX4" fmla="*/ 97630 w 380999"/>
                      <a:gd name="connsiteY4" fmla="*/ 0 h 278925"/>
                      <a:gd name="connsiteX0" fmla="*/ 97630 w 376236"/>
                      <a:gd name="connsiteY0" fmla="*/ 0 h 278797"/>
                      <a:gd name="connsiteX1" fmla="*/ 376236 w 376236"/>
                      <a:gd name="connsiteY1" fmla="*/ 133349 h 278797"/>
                      <a:gd name="connsiteX2" fmla="*/ 271462 w 376236"/>
                      <a:gd name="connsiteY2" fmla="*/ 275431 h 278797"/>
                      <a:gd name="connsiteX3" fmla="*/ 0 w 376236"/>
                      <a:gd name="connsiteY3" fmla="*/ 134938 h 278797"/>
                      <a:gd name="connsiteX4" fmla="*/ 97630 w 376236"/>
                      <a:gd name="connsiteY4" fmla="*/ 0 h 278797"/>
                      <a:gd name="connsiteX0" fmla="*/ 97630 w 376241"/>
                      <a:gd name="connsiteY0" fmla="*/ 0 h 278918"/>
                      <a:gd name="connsiteX1" fmla="*/ 376236 w 376241"/>
                      <a:gd name="connsiteY1" fmla="*/ 133349 h 278918"/>
                      <a:gd name="connsiteX2" fmla="*/ 271462 w 376241"/>
                      <a:gd name="connsiteY2" fmla="*/ 275431 h 278918"/>
                      <a:gd name="connsiteX3" fmla="*/ 0 w 376241"/>
                      <a:gd name="connsiteY3" fmla="*/ 134938 h 278918"/>
                      <a:gd name="connsiteX4" fmla="*/ 97630 w 376241"/>
                      <a:gd name="connsiteY4" fmla="*/ 0 h 278918"/>
                      <a:gd name="connsiteX0" fmla="*/ 97630 w 376236"/>
                      <a:gd name="connsiteY0" fmla="*/ 0 h 279326"/>
                      <a:gd name="connsiteX1" fmla="*/ 376236 w 376236"/>
                      <a:gd name="connsiteY1" fmla="*/ 133349 h 279326"/>
                      <a:gd name="connsiteX2" fmla="*/ 271462 w 376236"/>
                      <a:gd name="connsiteY2" fmla="*/ 275431 h 279326"/>
                      <a:gd name="connsiteX3" fmla="*/ 0 w 376236"/>
                      <a:gd name="connsiteY3" fmla="*/ 134938 h 279326"/>
                      <a:gd name="connsiteX4" fmla="*/ 97630 w 376236"/>
                      <a:gd name="connsiteY4" fmla="*/ 0 h 279326"/>
                      <a:gd name="connsiteX0" fmla="*/ 97630 w 376236"/>
                      <a:gd name="connsiteY0" fmla="*/ 0 h 277109"/>
                      <a:gd name="connsiteX1" fmla="*/ 376236 w 376236"/>
                      <a:gd name="connsiteY1" fmla="*/ 133349 h 277109"/>
                      <a:gd name="connsiteX2" fmla="*/ 271462 w 376236"/>
                      <a:gd name="connsiteY2" fmla="*/ 275431 h 277109"/>
                      <a:gd name="connsiteX3" fmla="*/ 0 w 376236"/>
                      <a:gd name="connsiteY3" fmla="*/ 134938 h 277109"/>
                      <a:gd name="connsiteX4" fmla="*/ 97630 w 376236"/>
                      <a:gd name="connsiteY4" fmla="*/ 0 h 277109"/>
                      <a:gd name="connsiteX0" fmla="*/ 97630 w 376236"/>
                      <a:gd name="connsiteY0" fmla="*/ 0 h 277109"/>
                      <a:gd name="connsiteX1" fmla="*/ 376236 w 376236"/>
                      <a:gd name="connsiteY1" fmla="*/ 133349 h 277109"/>
                      <a:gd name="connsiteX2" fmla="*/ 271462 w 376236"/>
                      <a:gd name="connsiteY2" fmla="*/ 275431 h 277109"/>
                      <a:gd name="connsiteX3" fmla="*/ 0 w 376236"/>
                      <a:gd name="connsiteY3" fmla="*/ 134938 h 277109"/>
                      <a:gd name="connsiteX4" fmla="*/ 97630 w 376236"/>
                      <a:gd name="connsiteY4" fmla="*/ 0 h 277109"/>
                      <a:gd name="connsiteX0" fmla="*/ 97630 w 376236"/>
                      <a:gd name="connsiteY0" fmla="*/ 0 h 277803"/>
                      <a:gd name="connsiteX1" fmla="*/ 376236 w 376236"/>
                      <a:gd name="connsiteY1" fmla="*/ 133349 h 277803"/>
                      <a:gd name="connsiteX2" fmla="*/ 271462 w 376236"/>
                      <a:gd name="connsiteY2" fmla="*/ 275431 h 277803"/>
                      <a:gd name="connsiteX3" fmla="*/ 0 w 376236"/>
                      <a:gd name="connsiteY3" fmla="*/ 134938 h 277803"/>
                      <a:gd name="connsiteX4" fmla="*/ 97630 w 376236"/>
                      <a:gd name="connsiteY4" fmla="*/ 0 h 277803"/>
                      <a:gd name="connsiteX0" fmla="*/ 97630 w 376236"/>
                      <a:gd name="connsiteY0" fmla="*/ 0 h 277803"/>
                      <a:gd name="connsiteX1" fmla="*/ 376236 w 376236"/>
                      <a:gd name="connsiteY1" fmla="*/ 133349 h 277803"/>
                      <a:gd name="connsiteX2" fmla="*/ 276225 w 376236"/>
                      <a:gd name="connsiteY2" fmla="*/ 275431 h 277803"/>
                      <a:gd name="connsiteX3" fmla="*/ 0 w 376236"/>
                      <a:gd name="connsiteY3" fmla="*/ 134938 h 277803"/>
                      <a:gd name="connsiteX4" fmla="*/ 97630 w 376236"/>
                      <a:gd name="connsiteY4" fmla="*/ 0 h 277803"/>
                      <a:gd name="connsiteX0" fmla="*/ 97630 w 376236"/>
                      <a:gd name="connsiteY0" fmla="*/ 0 h 277803"/>
                      <a:gd name="connsiteX1" fmla="*/ 376236 w 376236"/>
                      <a:gd name="connsiteY1" fmla="*/ 133349 h 277803"/>
                      <a:gd name="connsiteX2" fmla="*/ 276225 w 376236"/>
                      <a:gd name="connsiteY2" fmla="*/ 275431 h 277803"/>
                      <a:gd name="connsiteX3" fmla="*/ 0 w 376236"/>
                      <a:gd name="connsiteY3" fmla="*/ 134938 h 277803"/>
                      <a:gd name="connsiteX4" fmla="*/ 97630 w 376236"/>
                      <a:gd name="connsiteY4" fmla="*/ 0 h 277803"/>
                      <a:gd name="connsiteX0" fmla="*/ 97630 w 376236"/>
                      <a:gd name="connsiteY0" fmla="*/ 0 h 275947"/>
                      <a:gd name="connsiteX1" fmla="*/ 376236 w 376236"/>
                      <a:gd name="connsiteY1" fmla="*/ 133349 h 275947"/>
                      <a:gd name="connsiteX2" fmla="*/ 276225 w 376236"/>
                      <a:gd name="connsiteY2" fmla="*/ 275431 h 275947"/>
                      <a:gd name="connsiteX3" fmla="*/ 0 w 376236"/>
                      <a:gd name="connsiteY3" fmla="*/ 134938 h 275947"/>
                      <a:gd name="connsiteX4" fmla="*/ 97630 w 376236"/>
                      <a:gd name="connsiteY4" fmla="*/ 0 h 275947"/>
                      <a:gd name="connsiteX0" fmla="*/ 97630 w 376236"/>
                      <a:gd name="connsiteY0" fmla="*/ 0 h 275947"/>
                      <a:gd name="connsiteX1" fmla="*/ 376236 w 376236"/>
                      <a:gd name="connsiteY1" fmla="*/ 133349 h 275947"/>
                      <a:gd name="connsiteX2" fmla="*/ 280987 w 376236"/>
                      <a:gd name="connsiteY2" fmla="*/ 275431 h 275947"/>
                      <a:gd name="connsiteX3" fmla="*/ 0 w 376236"/>
                      <a:gd name="connsiteY3" fmla="*/ 134938 h 275947"/>
                      <a:gd name="connsiteX4" fmla="*/ 97630 w 376236"/>
                      <a:gd name="connsiteY4" fmla="*/ 0 h 275947"/>
                      <a:gd name="connsiteX0" fmla="*/ 97630 w 376236"/>
                      <a:gd name="connsiteY0" fmla="*/ 0 h 248851"/>
                      <a:gd name="connsiteX1" fmla="*/ 376236 w 376236"/>
                      <a:gd name="connsiteY1" fmla="*/ 133349 h 248851"/>
                      <a:gd name="connsiteX2" fmla="*/ 300037 w 376236"/>
                      <a:gd name="connsiteY2" fmla="*/ 246856 h 248851"/>
                      <a:gd name="connsiteX3" fmla="*/ 0 w 376236"/>
                      <a:gd name="connsiteY3" fmla="*/ 134938 h 248851"/>
                      <a:gd name="connsiteX4" fmla="*/ 97630 w 376236"/>
                      <a:gd name="connsiteY4" fmla="*/ 0 h 248851"/>
                      <a:gd name="connsiteX0" fmla="*/ 97630 w 376236"/>
                      <a:gd name="connsiteY0" fmla="*/ 0 h 271281"/>
                      <a:gd name="connsiteX1" fmla="*/ 376236 w 376236"/>
                      <a:gd name="connsiteY1" fmla="*/ 133349 h 271281"/>
                      <a:gd name="connsiteX2" fmla="*/ 283368 w 376236"/>
                      <a:gd name="connsiteY2" fmla="*/ 270669 h 271281"/>
                      <a:gd name="connsiteX3" fmla="*/ 0 w 376236"/>
                      <a:gd name="connsiteY3" fmla="*/ 134938 h 271281"/>
                      <a:gd name="connsiteX4" fmla="*/ 97630 w 376236"/>
                      <a:gd name="connsiteY4" fmla="*/ 0 h 271281"/>
                      <a:gd name="connsiteX0" fmla="*/ 97630 w 376236"/>
                      <a:gd name="connsiteY0" fmla="*/ 0 h 271281"/>
                      <a:gd name="connsiteX1" fmla="*/ 376236 w 376236"/>
                      <a:gd name="connsiteY1" fmla="*/ 133349 h 271281"/>
                      <a:gd name="connsiteX2" fmla="*/ 283368 w 376236"/>
                      <a:gd name="connsiteY2" fmla="*/ 270669 h 271281"/>
                      <a:gd name="connsiteX3" fmla="*/ 0 w 376236"/>
                      <a:gd name="connsiteY3" fmla="*/ 134938 h 271281"/>
                      <a:gd name="connsiteX4" fmla="*/ 97630 w 376236"/>
                      <a:gd name="connsiteY4" fmla="*/ 0 h 271281"/>
                      <a:gd name="connsiteX0" fmla="*/ 97630 w 376236"/>
                      <a:gd name="connsiteY0" fmla="*/ 0 h 271339"/>
                      <a:gd name="connsiteX1" fmla="*/ 376236 w 376236"/>
                      <a:gd name="connsiteY1" fmla="*/ 133349 h 271339"/>
                      <a:gd name="connsiteX2" fmla="*/ 283368 w 376236"/>
                      <a:gd name="connsiteY2" fmla="*/ 270669 h 271339"/>
                      <a:gd name="connsiteX3" fmla="*/ 0 w 376236"/>
                      <a:gd name="connsiteY3" fmla="*/ 134938 h 271339"/>
                      <a:gd name="connsiteX4" fmla="*/ 97630 w 376236"/>
                      <a:gd name="connsiteY4" fmla="*/ 0 h 271339"/>
                      <a:gd name="connsiteX0" fmla="*/ 97630 w 376236"/>
                      <a:gd name="connsiteY0" fmla="*/ 0 h 271231"/>
                      <a:gd name="connsiteX1" fmla="*/ 376236 w 376236"/>
                      <a:gd name="connsiteY1" fmla="*/ 133349 h 271231"/>
                      <a:gd name="connsiteX2" fmla="*/ 283368 w 376236"/>
                      <a:gd name="connsiteY2" fmla="*/ 270669 h 271231"/>
                      <a:gd name="connsiteX3" fmla="*/ 0 w 376236"/>
                      <a:gd name="connsiteY3" fmla="*/ 134938 h 271231"/>
                      <a:gd name="connsiteX4" fmla="*/ 97630 w 376236"/>
                      <a:gd name="connsiteY4" fmla="*/ 0 h 271231"/>
                      <a:gd name="connsiteX0" fmla="*/ 97630 w 376236"/>
                      <a:gd name="connsiteY0" fmla="*/ 0 h 271187"/>
                      <a:gd name="connsiteX1" fmla="*/ 376236 w 376236"/>
                      <a:gd name="connsiteY1" fmla="*/ 133349 h 271187"/>
                      <a:gd name="connsiteX2" fmla="*/ 283368 w 376236"/>
                      <a:gd name="connsiteY2" fmla="*/ 270669 h 271187"/>
                      <a:gd name="connsiteX3" fmla="*/ 0 w 376236"/>
                      <a:gd name="connsiteY3" fmla="*/ 134938 h 271187"/>
                      <a:gd name="connsiteX4" fmla="*/ 97630 w 376236"/>
                      <a:gd name="connsiteY4" fmla="*/ 0 h 271187"/>
                      <a:gd name="connsiteX0" fmla="*/ 97630 w 376236"/>
                      <a:gd name="connsiteY0" fmla="*/ 0 h 271187"/>
                      <a:gd name="connsiteX1" fmla="*/ 376236 w 376236"/>
                      <a:gd name="connsiteY1" fmla="*/ 133349 h 271187"/>
                      <a:gd name="connsiteX2" fmla="*/ 283368 w 376236"/>
                      <a:gd name="connsiteY2" fmla="*/ 270669 h 271187"/>
                      <a:gd name="connsiteX3" fmla="*/ 0 w 376236"/>
                      <a:gd name="connsiteY3" fmla="*/ 134938 h 271187"/>
                      <a:gd name="connsiteX4" fmla="*/ 97630 w 376236"/>
                      <a:gd name="connsiteY4" fmla="*/ 0 h 271187"/>
                      <a:gd name="connsiteX0" fmla="*/ 97630 w 373855"/>
                      <a:gd name="connsiteY0" fmla="*/ 0 h 271148"/>
                      <a:gd name="connsiteX1" fmla="*/ 373855 w 373855"/>
                      <a:gd name="connsiteY1" fmla="*/ 130968 h 271148"/>
                      <a:gd name="connsiteX2" fmla="*/ 283368 w 373855"/>
                      <a:gd name="connsiteY2" fmla="*/ 270669 h 271148"/>
                      <a:gd name="connsiteX3" fmla="*/ 0 w 373855"/>
                      <a:gd name="connsiteY3" fmla="*/ 134938 h 271148"/>
                      <a:gd name="connsiteX4" fmla="*/ 97630 w 373855"/>
                      <a:gd name="connsiteY4" fmla="*/ 0 h 271148"/>
                      <a:gd name="connsiteX0" fmla="*/ 97630 w 373855"/>
                      <a:gd name="connsiteY0" fmla="*/ 0 h 273495"/>
                      <a:gd name="connsiteX1" fmla="*/ 373855 w 373855"/>
                      <a:gd name="connsiteY1" fmla="*/ 130968 h 273495"/>
                      <a:gd name="connsiteX2" fmla="*/ 285750 w 373855"/>
                      <a:gd name="connsiteY2" fmla="*/ 273050 h 273495"/>
                      <a:gd name="connsiteX3" fmla="*/ 0 w 373855"/>
                      <a:gd name="connsiteY3" fmla="*/ 134938 h 273495"/>
                      <a:gd name="connsiteX4" fmla="*/ 97630 w 373855"/>
                      <a:gd name="connsiteY4" fmla="*/ 0 h 273495"/>
                      <a:gd name="connsiteX0" fmla="*/ 97630 w 373862"/>
                      <a:gd name="connsiteY0" fmla="*/ 0 h 273268"/>
                      <a:gd name="connsiteX1" fmla="*/ 373855 w 373862"/>
                      <a:gd name="connsiteY1" fmla="*/ 130968 h 273268"/>
                      <a:gd name="connsiteX2" fmla="*/ 285750 w 373862"/>
                      <a:gd name="connsiteY2" fmla="*/ 273050 h 273268"/>
                      <a:gd name="connsiteX3" fmla="*/ 0 w 373862"/>
                      <a:gd name="connsiteY3" fmla="*/ 134938 h 273268"/>
                      <a:gd name="connsiteX4" fmla="*/ 97630 w 373862"/>
                      <a:gd name="connsiteY4" fmla="*/ 0 h 273268"/>
                      <a:gd name="connsiteX0" fmla="*/ 97630 w 373855"/>
                      <a:gd name="connsiteY0" fmla="*/ 0 h 273331"/>
                      <a:gd name="connsiteX1" fmla="*/ 373855 w 373855"/>
                      <a:gd name="connsiteY1" fmla="*/ 130968 h 273331"/>
                      <a:gd name="connsiteX2" fmla="*/ 285750 w 373855"/>
                      <a:gd name="connsiteY2" fmla="*/ 273050 h 273331"/>
                      <a:gd name="connsiteX3" fmla="*/ 0 w 373855"/>
                      <a:gd name="connsiteY3" fmla="*/ 134938 h 273331"/>
                      <a:gd name="connsiteX4" fmla="*/ 97630 w 373855"/>
                      <a:gd name="connsiteY4" fmla="*/ 0 h 273331"/>
                      <a:gd name="connsiteX0" fmla="*/ 97630 w 373855"/>
                      <a:gd name="connsiteY0" fmla="*/ 0 h 273675"/>
                      <a:gd name="connsiteX1" fmla="*/ 373855 w 373855"/>
                      <a:gd name="connsiteY1" fmla="*/ 130968 h 273675"/>
                      <a:gd name="connsiteX2" fmla="*/ 285750 w 373855"/>
                      <a:gd name="connsiteY2" fmla="*/ 273050 h 273675"/>
                      <a:gd name="connsiteX3" fmla="*/ 0 w 373855"/>
                      <a:gd name="connsiteY3" fmla="*/ 134938 h 273675"/>
                      <a:gd name="connsiteX4" fmla="*/ 97630 w 373855"/>
                      <a:gd name="connsiteY4" fmla="*/ 0 h 273675"/>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88310 w 364877"/>
                      <a:gd name="connsiteY0" fmla="*/ 0 h 273626"/>
                      <a:gd name="connsiteX1" fmla="*/ 364535 w 364877"/>
                      <a:gd name="connsiteY1" fmla="*/ 130968 h 273626"/>
                      <a:gd name="connsiteX2" fmla="*/ 276430 w 364877"/>
                      <a:gd name="connsiteY2" fmla="*/ 273050 h 273626"/>
                      <a:gd name="connsiteX3" fmla="*/ 0 w 364877"/>
                      <a:gd name="connsiteY3" fmla="*/ 140530 h 273626"/>
                      <a:gd name="connsiteX4" fmla="*/ 88310 w 364877"/>
                      <a:gd name="connsiteY4" fmla="*/ 0 h 273626"/>
                      <a:gd name="connsiteX0" fmla="*/ 92038 w 368605"/>
                      <a:gd name="connsiteY0" fmla="*/ 0 h 273626"/>
                      <a:gd name="connsiteX1" fmla="*/ 368263 w 368605"/>
                      <a:gd name="connsiteY1" fmla="*/ 130968 h 273626"/>
                      <a:gd name="connsiteX2" fmla="*/ 280158 w 368605"/>
                      <a:gd name="connsiteY2" fmla="*/ 273050 h 273626"/>
                      <a:gd name="connsiteX3" fmla="*/ 0 w 368605"/>
                      <a:gd name="connsiteY3" fmla="*/ 140530 h 273626"/>
                      <a:gd name="connsiteX4" fmla="*/ 92038 w 368605"/>
                      <a:gd name="connsiteY4" fmla="*/ 0 h 273626"/>
                      <a:gd name="connsiteX0" fmla="*/ 92038 w 368605"/>
                      <a:gd name="connsiteY0" fmla="*/ 0 h 273626"/>
                      <a:gd name="connsiteX1" fmla="*/ 368263 w 368605"/>
                      <a:gd name="connsiteY1" fmla="*/ 130968 h 273626"/>
                      <a:gd name="connsiteX2" fmla="*/ 280158 w 368605"/>
                      <a:gd name="connsiteY2" fmla="*/ 273050 h 273626"/>
                      <a:gd name="connsiteX3" fmla="*/ 0 w 368605"/>
                      <a:gd name="connsiteY3" fmla="*/ 140530 h 273626"/>
                      <a:gd name="connsiteX4" fmla="*/ 92038 w 368605"/>
                      <a:gd name="connsiteY4" fmla="*/ 0 h 273626"/>
                      <a:gd name="connsiteX0" fmla="*/ 92038 w 368605"/>
                      <a:gd name="connsiteY0" fmla="*/ 0 h 273626"/>
                      <a:gd name="connsiteX1" fmla="*/ 368263 w 368605"/>
                      <a:gd name="connsiteY1" fmla="*/ 130968 h 273626"/>
                      <a:gd name="connsiteX2" fmla="*/ 280158 w 368605"/>
                      <a:gd name="connsiteY2" fmla="*/ 273050 h 273626"/>
                      <a:gd name="connsiteX3" fmla="*/ 0 w 368605"/>
                      <a:gd name="connsiteY3" fmla="*/ 140530 h 273626"/>
                      <a:gd name="connsiteX4" fmla="*/ 92038 w 368605"/>
                      <a:gd name="connsiteY4" fmla="*/ 0 h 273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605" h="273626">
                        <a:moveTo>
                          <a:pt x="92038" y="0"/>
                        </a:moveTo>
                        <a:lnTo>
                          <a:pt x="368263" y="130968"/>
                        </a:lnTo>
                        <a:cubicBezTo>
                          <a:pt x="373818" y="229125"/>
                          <a:pt x="310317" y="279666"/>
                          <a:pt x="280158" y="273050"/>
                        </a:cubicBezTo>
                        <a:lnTo>
                          <a:pt x="0" y="140530"/>
                        </a:lnTo>
                        <a:cubicBezTo>
                          <a:pt x="68057" y="136997"/>
                          <a:pt x="97594" y="48359"/>
                          <a:pt x="92038" y="0"/>
                        </a:cubicBezTo>
                        <a:close/>
                      </a:path>
                    </a:pathLst>
                  </a:custGeom>
                  <a:solidFill>
                    <a:srgbClr val="669E40"/>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78" name="Rectangle 26"/>
                  <p:cNvSpPr/>
                  <p:nvPr/>
                </p:nvSpPr>
                <p:spPr>
                  <a:xfrm rot="6059" flipH="1">
                    <a:off x="7019342" y="3150478"/>
                    <a:ext cx="183351" cy="129383"/>
                  </a:xfrm>
                  <a:custGeom>
                    <a:avLst/>
                    <a:gdLst>
                      <a:gd name="connsiteX0" fmla="*/ 0 w 178006"/>
                      <a:gd name="connsiteY0" fmla="*/ 0 h 154899"/>
                      <a:gd name="connsiteX1" fmla="*/ 178006 w 178006"/>
                      <a:gd name="connsiteY1" fmla="*/ 0 h 154899"/>
                      <a:gd name="connsiteX2" fmla="*/ 178006 w 178006"/>
                      <a:gd name="connsiteY2" fmla="*/ 154899 h 154899"/>
                      <a:gd name="connsiteX3" fmla="*/ 0 w 178006"/>
                      <a:gd name="connsiteY3" fmla="*/ 154899 h 154899"/>
                      <a:gd name="connsiteX4" fmla="*/ 0 w 178006"/>
                      <a:gd name="connsiteY4" fmla="*/ 0 h 154899"/>
                      <a:gd name="connsiteX0" fmla="*/ 0 w 189837"/>
                      <a:gd name="connsiteY0" fmla="*/ 0 h 154899"/>
                      <a:gd name="connsiteX1" fmla="*/ 178006 w 189837"/>
                      <a:gd name="connsiteY1" fmla="*/ 0 h 154899"/>
                      <a:gd name="connsiteX2" fmla="*/ 178006 w 189837"/>
                      <a:gd name="connsiteY2" fmla="*/ 154899 h 154899"/>
                      <a:gd name="connsiteX3" fmla="*/ 0 w 189837"/>
                      <a:gd name="connsiteY3" fmla="*/ 154899 h 154899"/>
                      <a:gd name="connsiteX4" fmla="*/ 0 w 189837"/>
                      <a:gd name="connsiteY4" fmla="*/ 0 h 154899"/>
                      <a:gd name="connsiteX0" fmla="*/ 0 w 200791"/>
                      <a:gd name="connsiteY0" fmla="*/ 0 h 154899"/>
                      <a:gd name="connsiteX1" fmla="*/ 178006 w 200791"/>
                      <a:gd name="connsiteY1" fmla="*/ 0 h 154899"/>
                      <a:gd name="connsiteX2" fmla="*/ 178006 w 200791"/>
                      <a:gd name="connsiteY2" fmla="*/ 154899 h 154899"/>
                      <a:gd name="connsiteX3" fmla="*/ 0 w 200791"/>
                      <a:gd name="connsiteY3" fmla="*/ 154899 h 154899"/>
                      <a:gd name="connsiteX4" fmla="*/ 0 w 200791"/>
                      <a:gd name="connsiteY4" fmla="*/ 0 h 154899"/>
                      <a:gd name="connsiteX0" fmla="*/ 0 w 198296"/>
                      <a:gd name="connsiteY0" fmla="*/ 0 h 154899"/>
                      <a:gd name="connsiteX1" fmla="*/ 178006 w 198296"/>
                      <a:gd name="connsiteY1" fmla="*/ 0 h 154899"/>
                      <a:gd name="connsiteX2" fmla="*/ 178006 w 198296"/>
                      <a:gd name="connsiteY2" fmla="*/ 154899 h 154899"/>
                      <a:gd name="connsiteX3" fmla="*/ 0 w 198296"/>
                      <a:gd name="connsiteY3" fmla="*/ 154899 h 154899"/>
                      <a:gd name="connsiteX4" fmla="*/ 0 w 198296"/>
                      <a:gd name="connsiteY4" fmla="*/ 0 h 154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296" h="154899">
                        <a:moveTo>
                          <a:pt x="0" y="0"/>
                        </a:moveTo>
                        <a:lnTo>
                          <a:pt x="178006" y="0"/>
                        </a:lnTo>
                        <a:cubicBezTo>
                          <a:pt x="205490" y="64847"/>
                          <a:pt x="204626" y="103685"/>
                          <a:pt x="178006" y="154899"/>
                        </a:cubicBezTo>
                        <a:lnTo>
                          <a:pt x="0" y="154899"/>
                        </a:lnTo>
                        <a:lnTo>
                          <a:pt x="0" y="0"/>
                        </a:lnTo>
                        <a:close/>
                      </a:path>
                    </a:pathLst>
                  </a:custGeom>
                  <a:solidFill>
                    <a:srgbClr val="BFBFB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grpSp>
                <p:nvGrpSpPr>
                  <p:cNvPr id="79" name="Group 78"/>
                  <p:cNvGrpSpPr/>
                  <p:nvPr/>
                </p:nvGrpSpPr>
                <p:grpSpPr>
                  <a:xfrm rot="2700000">
                    <a:off x="7273000" y="2610486"/>
                    <a:ext cx="1298138" cy="1132214"/>
                    <a:chOff x="4084527" y="737296"/>
                    <a:chExt cx="1640542" cy="1430853"/>
                  </a:xfrm>
                </p:grpSpPr>
                <p:grpSp>
                  <p:nvGrpSpPr>
                    <p:cNvPr id="92" name="Group 91"/>
                    <p:cNvGrpSpPr/>
                    <p:nvPr/>
                  </p:nvGrpSpPr>
                  <p:grpSpPr>
                    <a:xfrm rot="18913881">
                      <a:off x="4402009" y="737296"/>
                      <a:ext cx="1323060" cy="1019404"/>
                      <a:chOff x="5687211" y="3859429"/>
                      <a:chExt cx="1323060" cy="1019404"/>
                    </a:xfrm>
                  </p:grpSpPr>
                  <p:sp>
                    <p:nvSpPr>
                      <p:cNvPr id="96" name="Rounded Rectangle 31"/>
                      <p:cNvSpPr/>
                      <p:nvPr/>
                    </p:nvSpPr>
                    <p:spPr>
                      <a:xfrm rot="21431920" flipH="1">
                        <a:off x="5698900" y="3867410"/>
                        <a:ext cx="1311371" cy="1011423"/>
                      </a:xfrm>
                      <a:custGeom>
                        <a:avLst/>
                        <a:gdLst>
                          <a:gd name="connsiteX0" fmla="*/ 0 w 1234463"/>
                          <a:gd name="connsiteY0" fmla="*/ 56234 h 958157"/>
                          <a:gd name="connsiteX1" fmla="*/ 56234 w 1234463"/>
                          <a:gd name="connsiteY1" fmla="*/ 0 h 958157"/>
                          <a:gd name="connsiteX2" fmla="*/ 1178229 w 1234463"/>
                          <a:gd name="connsiteY2" fmla="*/ 0 h 958157"/>
                          <a:gd name="connsiteX3" fmla="*/ 1234463 w 1234463"/>
                          <a:gd name="connsiteY3" fmla="*/ 56234 h 958157"/>
                          <a:gd name="connsiteX4" fmla="*/ 1234463 w 1234463"/>
                          <a:gd name="connsiteY4" fmla="*/ 901923 h 958157"/>
                          <a:gd name="connsiteX5" fmla="*/ 1178229 w 1234463"/>
                          <a:gd name="connsiteY5" fmla="*/ 958157 h 958157"/>
                          <a:gd name="connsiteX6" fmla="*/ 56234 w 1234463"/>
                          <a:gd name="connsiteY6" fmla="*/ 958157 h 958157"/>
                          <a:gd name="connsiteX7" fmla="*/ 0 w 1234463"/>
                          <a:gd name="connsiteY7" fmla="*/ 901923 h 958157"/>
                          <a:gd name="connsiteX8" fmla="*/ 0 w 1234463"/>
                          <a:gd name="connsiteY8" fmla="*/ 56234 h 958157"/>
                          <a:gd name="connsiteX0" fmla="*/ 0 w 1234463"/>
                          <a:gd name="connsiteY0" fmla="*/ 56234 h 958157"/>
                          <a:gd name="connsiteX1" fmla="*/ 56234 w 1234463"/>
                          <a:gd name="connsiteY1" fmla="*/ 0 h 958157"/>
                          <a:gd name="connsiteX2" fmla="*/ 1178229 w 1234463"/>
                          <a:gd name="connsiteY2" fmla="*/ 0 h 958157"/>
                          <a:gd name="connsiteX3" fmla="*/ 1234463 w 1234463"/>
                          <a:gd name="connsiteY3" fmla="*/ 56234 h 958157"/>
                          <a:gd name="connsiteX4" fmla="*/ 1234463 w 1234463"/>
                          <a:gd name="connsiteY4" fmla="*/ 901923 h 958157"/>
                          <a:gd name="connsiteX5" fmla="*/ 1178229 w 1234463"/>
                          <a:gd name="connsiteY5" fmla="*/ 958157 h 958157"/>
                          <a:gd name="connsiteX6" fmla="*/ 56234 w 1234463"/>
                          <a:gd name="connsiteY6" fmla="*/ 958157 h 958157"/>
                          <a:gd name="connsiteX7" fmla="*/ 0 w 1234463"/>
                          <a:gd name="connsiteY7" fmla="*/ 901923 h 958157"/>
                          <a:gd name="connsiteX8" fmla="*/ 10778 w 1234463"/>
                          <a:gd name="connsiteY8" fmla="*/ 506039 h 958157"/>
                          <a:gd name="connsiteX9" fmla="*/ 0 w 1234463"/>
                          <a:gd name="connsiteY9" fmla="*/ 56234 h 958157"/>
                          <a:gd name="connsiteX0" fmla="*/ 0 w 1234463"/>
                          <a:gd name="connsiteY0" fmla="*/ 56234 h 958157"/>
                          <a:gd name="connsiteX1" fmla="*/ 56234 w 1234463"/>
                          <a:gd name="connsiteY1" fmla="*/ 0 h 958157"/>
                          <a:gd name="connsiteX2" fmla="*/ 1178229 w 1234463"/>
                          <a:gd name="connsiteY2" fmla="*/ 0 h 958157"/>
                          <a:gd name="connsiteX3" fmla="*/ 1234463 w 1234463"/>
                          <a:gd name="connsiteY3" fmla="*/ 56234 h 958157"/>
                          <a:gd name="connsiteX4" fmla="*/ 1234463 w 1234463"/>
                          <a:gd name="connsiteY4" fmla="*/ 901923 h 958157"/>
                          <a:gd name="connsiteX5" fmla="*/ 1178229 w 1234463"/>
                          <a:gd name="connsiteY5" fmla="*/ 958157 h 958157"/>
                          <a:gd name="connsiteX6" fmla="*/ 56234 w 1234463"/>
                          <a:gd name="connsiteY6" fmla="*/ 958157 h 958157"/>
                          <a:gd name="connsiteX7" fmla="*/ 0 w 1234463"/>
                          <a:gd name="connsiteY7" fmla="*/ 901923 h 958157"/>
                          <a:gd name="connsiteX8" fmla="*/ 207561 w 1234463"/>
                          <a:gd name="connsiteY8" fmla="*/ 562599 h 958157"/>
                          <a:gd name="connsiteX9" fmla="*/ 0 w 1234463"/>
                          <a:gd name="connsiteY9" fmla="*/ 56234 h 958157"/>
                          <a:gd name="connsiteX0" fmla="*/ 0 w 1234463"/>
                          <a:gd name="connsiteY0" fmla="*/ 56234 h 958157"/>
                          <a:gd name="connsiteX1" fmla="*/ 56234 w 1234463"/>
                          <a:gd name="connsiteY1" fmla="*/ 0 h 958157"/>
                          <a:gd name="connsiteX2" fmla="*/ 1178229 w 1234463"/>
                          <a:gd name="connsiteY2" fmla="*/ 0 h 958157"/>
                          <a:gd name="connsiteX3" fmla="*/ 1234463 w 1234463"/>
                          <a:gd name="connsiteY3" fmla="*/ 56234 h 958157"/>
                          <a:gd name="connsiteX4" fmla="*/ 1234463 w 1234463"/>
                          <a:gd name="connsiteY4" fmla="*/ 901923 h 958157"/>
                          <a:gd name="connsiteX5" fmla="*/ 1178229 w 1234463"/>
                          <a:gd name="connsiteY5" fmla="*/ 958157 h 958157"/>
                          <a:gd name="connsiteX6" fmla="*/ 56234 w 1234463"/>
                          <a:gd name="connsiteY6" fmla="*/ 958157 h 958157"/>
                          <a:gd name="connsiteX7" fmla="*/ 0 w 1234463"/>
                          <a:gd name="connsiteY7" fmla="*/ 901923 h 958157"/>
                          <a:gd name="connsiteX8" fmla="*/ 207561 w 1234463"/>
                          <a:gd name="connsiteY8" fmla="*/ 562599 h 958157"/>
                          <a:gd name="connsiteX9" fmla="*/ 0 w 1234463"/>
                          <a:gd name="connsiteY9" fmla="*/ 56234 h 958157"/>
                          <a:gd name="connsiteX0" fmla="*/ 0 w 1235642"/>
                          <a:gd name="connsiteY0" fmla="*/ 56234 h 958157"/>
                          <a:gd name="connsiteX1" fmla="*/ 56234 w 1235642"/>
                          <a:gd name="connsiteY1" fmla="*/ 0 h 958157"/>
                          <a:gd name="connsiteX2" fmla="*/ 1178229 w 1235642"/>
                          <a:gd name="connsiteY2" fmla="*/ 0 h 958157"/>
                          <a:gd name="connsiteX3" fmla="*/ 1235642 w 1235642"/>
                          <a:gd name="connsiteY3" fmla="*/ 247187 h 958157"/>
                          <a:gd name="connsiteX4" fmla="*/ 1234463 w 1235642"/>
                          <a:gd name="connsiteY4" fmla="*/ 901923 h 958157"/>
                          <a:gd name="connsiteX5" fmla="*/ 1178229 w 1235642"/>
                          <a:gd name="connsiteY5" fmla="*/ 958157 h 958157"/>
                          <a:gd name="connsiteX6" fmla="*/ 56234 w 1235642"/>
                          <a:gd name="connsiteY6" fmla="*/ 958157 h 958157"/>
                          <a:gd name="connsiteX7" fmla="*/ 0 w 1235642"/>
                          <a:gd name="connsiteY7" fmla="*/ 901923 h 958157"/>
                          <a:gd name="connsiteX8" fmla="*/ 207561 w 1235642"/>
                          <a:gd name="connsiteY8" fmla="*/ 562599 h 958157"/>
                          <a:gd name="connsiteX9" fmla="*/ 0 w 1235642"/>
                          <a:gd name="connsiteY9" fmla="*/ 56234 h 958157"/>
                          <a:gd name="connsiteX0" fmla="*/ 0 w 1235642"/>
                          <a:gd name="connsiteY0" fmla="*/ 56234 h 958157"/>
                          <a:gd name="connsiteX1" fmla="*/ 56234 w 1235642"/>
                          <a:gd name="connsiteY1" fmla="*/ 0 h 958157"/>
                          <a:gd name="connsiteX2" fmla="*/ 1001323 w 1235642"/>
                          <a:gd name="connsiteY2" fmla="*/ 10823 h 958157"/>
                          <a:gd name="connsiteX3" fmla="*/ 1235642 w 1235642"/>
                          <a:gd name="connsiteY3" fmla="*/ 247187 h 958157"/>
                          <a:gd name="connsiteX4" fmla="*/ 1234463 w 1235642"/>
                          <a:gd name="connsiteY4" fmla="*/ 901923 h 958157"/>
                          <a:gd name="connsiteX5" fmla="*/ 1178229 w 1235642"/>
                          <a:gd name="connsiteY5" fmla="*/ 958157 h 958157"/>
                          <a:gd name="connsiteX6" fmla="*/ 56234 w 1235642"/>
                          <a:gd name="connsiteY6" fmla="*/ 958157 h 958157"/>
                          <a:gd name="connsiteX7" fmla="*/ 0 w 1235642"/>
                          <a:gd name="connsiteY7" fmla="*/ 901923 h 958157"/>
                          <a:gd name="connsiteX8" fmla="*/ 207561 w 1235642"/>
                          <a:gd name="connsiteY8" fmla="*/ 562599 h 958157"/>
                          <a:gd name="connsiteX9" fmla="*/ 0 w 1235642"/>
                          <a:gd name="connsiteY9" fmla="*/ 56234 h 958157"/>
                          <a:gd name="connsiteX0" fmla="*/ 0 w 1235642"/>
                          <a:gd name="connsiteY0" fmla="*/ 56234 h 958157"/>
                          <a:gd name="connsiteX1" fmla="*/ 56234 w 1235642"/>
                          <a:gd name="connsiteY1" fmla="*/ 0 h 958157"/>
                          <a:gd name="connsiteX2" fmla="*/ 997633 w 1235642"/>
                          <a:gd name="connsiteY2" fmla="*/ 4156 h 958157"/>
                          <a:gd name="connsiteX3" fmla="*/ 1235642 w 1235642"/>
                          <a:gd name="connsiteY3" fmla="*/ 247187 h 958157"/>
                          <a:gd name="connsiteX4" fmla="*/ 1234463 w 1235642"/>
                          <a:gd name="connsiteY4" fmla="*/ 901923 h 958157"/>
                          <a:gd name="connsiteX5" fmla="*/ 1178229 w 1235642"/>
                          <a:gd name="connsiteY5" fmla="*/ 958157 h 958157"/>
                          <a:gd name="connsiteX6" fmla="*/ 56234 w 1235642"/>
                          <a:gd name="connsiteY6" fmla="*/ 958157 h 958157"/>
                          <a:gd name="connsiteX7" fmla="*/ 0 w 1235642"/>
                          <a:gd name="connsiteY7" fmla="*/ 901923 h 958157"/>
                          <a:gd name="connsiteX8" fmla="*/ 207561 w 1235642"/>
                          <a:gd name="connsiteY8" fmla="*/ 562599 h 958157"/>
                          <a:gd name="connsiteX9" fmla="*/ 0 w 1235642"/>
                          <a:gd name="connsiteY9" fmla="*/ 56234 h 958157"/>
                          <a:gd name="connsiteX0" fmla="*/ 0 w 1235642"/>
                          <a:gd name="connsiteY0" fmla="*/ 56234 h 958157"/>
                          <a:gd name="connsiteX1" fmla="*/ 56234 w 1235642"/>
                          <a:gd name="connsiteY1" fmla="*/ 0 h 958157"/>
                          <a:gd name="connsiteX2" fmla="*/ 980609 w 1235642"/>
                          <a:gd name="connsiteY2" fmla="*/ 4869 h 958157"/>
                          <a:gd name="connsiteX3" fmla="*/ 1235642 w 1235642"/>
                          <a:gd name="connsiteY3" fmla="*/ 247187 h 958157"/>
                          <a:gd name="connsiteX4" fmla="*/ 1234463 w 1235642"/>
                          <a:gd name="connsiteY4" fmla="*/ 901923 h 958157"/>
                          <a:gd name="connsiteX5" fmla="*/ 1178229 w 1235642"/>
                          <a:gd name="connsiteY5" fmla="*/ 958157 h 958157"/>
                          <a:gd name="connsiteX6" fmla="*/ 56234 w 1235642"/>
                          <a:gd name="connsiteY6" fmla="*/ 958157 h 958157"/>
                          <a:gd name="connsiteX7" fmla="*/ 0 w 1235642"/>
                          <a:gd name="connsiteY7" fmla="*/ 901923 h 958157"/>
                          <a:gd name="connsiteX8" fmla="*/ 207561 w 1235642"/>
                          <a:gd name="connsiteY8" fmla="*/ 562599 h 958157"/>
                          <a:gd name="connsiteX9" fmla="*/ 0 w 1235642"/>
                          <a:gd name="connsiteY9" fmla="*/ 56234 h 958157"/>
                          <a:gd name="connsiteX0" fmla="*/ 0 w 1235642"/>
                          <a:gd name="connsiteY0" fmla="*/ 56234 h 958157"/>
                          <a:gd name="connsiteX1" fmla="*/ 56234 w 1235642"/>
                          <a:gd name="connsiteY1" fmla="*/ 0 h 958157"/>
                          <a:gd name="connsiteX2" fmla="*/ 980609 w 1235642"/>
                          <a:gd name="connsiteY2" fmla="*/ 4869 h 958157"/>
                          <a:gd name="connsiteX3" fmla="*/ 1235642 w 1235642"/>
                          <a:gd name="connsiteY3" fmla="*/ 247187 h 958157"/>
                          <a:gd name="connsiteX4" fmla="*/ 1234463 w 1235642"/>
                          <a:gd name="connsiteY4" fmla="*/ 901923 h 958157"/>
                          <a:gd name="connsiteX5" fmla="*/ 1178229 w 1235642"/>
                          <a:gd name="connsiteY5" fmla="*/ 958157 h 958157"/>
                          <a:gd name="connsiteX6" fmla="*/ 56234 w 1235642"/>
                          <a:gd name="connsiteY6" fmla="*/ 958157 h 958157"/>
                          <a:gd name="connsiteX7" fmla="*/ 0 w 1235642"/>
                          <a:gd name="connsiteY7" fmla="*/ 901923 h 958157"/>
                          <a:gd name="connsiteX8" fmla="*/ 207561 w 1235642"/>
                          <a:gd name="connsiteY8" fmla="*/ 562599 h 958157"/>
                          <a:gd name="connsiteX9" fmla="*/ 0 w 1235642"/>
                          <a:gd name="connsiteY9" fmla="*/ 56234 h 958157"/>
                          <a:gd name="connsiteX0" fmla="*/ 0 w 1235642"/>
                          <a:gd name="connsiteY0" fmla="*/ 56234 h 958157"/>
                          <a:gd name="connsiteX1" fmla="*/ 56234 w 1235642"/>
                          <a:gd name="connsiteY1" fmla="*/ 0 h 958157"/>
                          <a:gd name="connsiteX2" fmla="*/ 980609 w 1235642"/>
                          <a:gd name="connsiteY2" fmla="*/ 4869 h 958157"/>
                          <a:gd name="connsiteX3" fmla="*/ 1235642 w 1235642"/>
                          <a:gd name="connsiteY3" fmla="*/ 247187 h 958157"/>
                          <a:gd name="connsiteX4" fmla="*/ 1234463 w 1235642"/>
                          <a:gd name="connsiteY4" fmla="*/ 901923 h 958157"/>
                          <a:gd name="connsiteX5" fmla="*/ 1178229 w 1235642"/>
                          <a:gd name="connsiteY5" fmla="*/ 958157 h 958157"/>
                          <a:gd name="connsiteX6" fmla="*/ 56234 w 1235642"/>
                          <a:gd name="connsiteY6" fmla="*/ 958157 h 958157"/>
                          <a:gd name="connsiteX7" fmla="*/ 0 w 1235642"/>
                          <a:gd name="connsiteY7" fmla="*/ 901923 h 958157"/>
                          <a:gd name="connsiteX8" fmla="*/ 207561 w 1235642"/>
                          <a:gd name="connsiteY8" fmla="*/ 562599 h 958157"/>
                          <a:gd name="connsiteX9" fmla="*/ 0 w 1235642"/>
                          <a:gd name="connsiteY9" fmla="*/ 56234 h 958157"/>
                          <a:gd name="connsiteX0" fmla="*/ 0 w 1235642"/>
                          <a:gd name="connsiteY0" fmla="*/ 56234 h 958157"/>
                          <a:gd name="connsiteX1" fmla="*/ 56234 w 1235642"/>
                          <a:gd name="connsiteY1" fmla="*/ 0 h 958157"/>
                          <a:gd name="connsiteX2" fmla="*/ 980609 w 1235642"/>
                          <a:gd name="connsiteY2" fmla="*/ 4869 h 958157"/>
                          <a:gd name="connsiteX3" fmla="*/ 1235642 w 1235642"/>
                          <a:gd name="connsiteY3" fmla="*/ 247187 h 958157"/>
                          <a:gd name="connsiteX4" fmla="*/ 1234463 w 1235642"/>
                          <a:gd name="connsiteY4" fmla="*/ 901923 h 958157"/>
                          <a:gd name="connsiteX5" fmla="*/ 1178229 w 1235642"/>
                          <a:gd name="connsiteY5" fmla="*/ 958157 h 958157"/>
                          <a:gd name="connsiteX6" fmla="*/ 56234 w 1235642"/>
                          <a:gd name="connsiteY6" fmla="*/ 958157 h 958157"/>
                          <a:gd name="connsiteX7" fmla="*/ 0 w 1235642"/>
                          <a:gd name="connsiteY7" fmla="*/ 901923 h 958157"/>
                          <a:gd name="connsiteX8" fmla="*/ 207561 w 1235642"/>
                          <a:gd name="connsiteY8" fmla="*/ 562599 h 958157"/>
                          <a:gd name="connsiteX9" fmla="*/ 0 w 1235642"/>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53228 w 1242309"/>
                          <a:gd name="connsiteY2" fmla="*/ 2606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30538 w 1242309"/>
                          <a:gd name="connsiteY8" fmla="*/ 541172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193514 w 1242309"/>
                          <a:gd name="connsiteY8" fmla="*/ 552956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6848 w 1242309"/>
                          <a:gd name="connsiteY8" fmla="*/ 545577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2961 w 1242309"/>
                          <a:gd name="connsiteY8" fmla="*/ 5276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2814 w 1242309"/>
                          <a:gd name="connsiteY8" fmla="*/ 524695 h 958157"/>
                          <a:gd name="connsiteX9" fmla="*/ 0 w 1242309"/>
                          <a:gd name="connsiteY9" fmla="*/ 56234 h 958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2309" h="958157">
                            <a:moveTo>
                              <a:pt x="0" y="56234"/>
                            </a:moveTo>
                            <a:cubicBezTo>
                              <a:pt x="0" y="25177"/>
                              <a:pt x="25177" y="0"/>
                              <a:pt x="56234" y="0"/>
                            </a:cubicBezTo>
                            <a:lnTo>
                              <a:pt x="939895" y="9987"/>
                            </a:lnTo>
                            <a:cubicBezTo>
                              <a:pt x="1075235" y="56777"/>
                              <a:pt x="1179580" y="99105"/>
                              <a:pt x="1242309" y="243497"/>
                            </a:cubicBezTo>
                            <a:cubicBezTo>
                              <a:pt x="1239694" y="462972"/>
                              <a:pt x="1237078" y="682448"/>
                              <a:pt x="1234463" y="901923"/>
                            </a:cubicBezTo>
                            <a:cubicBezTo>
                              <a:pt x="1234463" y="932980"/>
                              <a:pt x="1209286" y="958157"/>
                              <a:pt x="1178229" y="958157"/>
                            </a:cubicBezTo>
                            <a:lnTo>
                              <a:pt x="56234" y="958157"/>
                            </a:lnTo>
                            <a:cubicBezTo>
                              <a:pt x="25177" y="958157"/>
                              <a:pt x="0" y="932980"/>
                              <a:pt x="0" y="901923"/>
                            </a:cubicBezTo>
                            <a:lnTo>
                              <a:pt x="202814" y="524695"/>
                            </a:lnTo>
                            <a:cubicBezTo>
                              <a:pt x="133865" y="361581"/>
                              <a:pt x="68949" y="219348"/>
                              <a:pt x="0" y="56234"/>
                            </a:cubicBezTo>
                            <a:close/>
                          </a:path>
                        </a:pathLst>
                      </a:custGeom>
                      <a:solidFill>
                        <a:srgbClr val="548235"/>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97" name="Freeform 96"/>
                      <p:cNvSpPr/>
                      <p:nvPr/>
                    </p:nvSpPr>
                    <p:spPr>
                      <a:xfrm rot="-120000">
                        <a:off x="5687211" y="3859429"/>
                        <a:ext cx="1308478" cy="553611"/>
                      </a:xfrm>
                      <a:custGeom>
                        <a:avLst/>
                        <a:gdLst>
                          <a:gd name="connsiteX0" fmla="*/ 1248294 w 1308478"/>
                          <a:gd name="connsiteY0" fmla="*/ 5 h 553611"/>
                          <a:gd name="connsiteX1" fmla="*/ 1308478 w 1308478"/>
                          <a:gd name="connsiteY1" fmla="*/ 58529 h 553611"/>
                          <a:gd name="connsiteX2" fmla="*/ 1153485 w 1308478"/>
                          <a:gd name="connsiteY2" fmla="*/ 429545 h 553611"/>
                          <a:gd name="connsiteX3" fmla="*/ 1102303 w 1308478"/>
                          <a:gd name="connsiteY3" fmla="*/ 553611 h 553611"/>
                          <a:gd name="connsiteX4" fmla="*/ 7230 w 1308478"/>
                          <a:gd name="connsiteY4" fmla="*/ 553611 h 553611"/>
                          <a:gd name="connsiteX5" fmla="*/ 0 w 1308478"/>
                          <a:gd name="connsiteY5" fmla="*/ 274524 h 553611"/>
                          <a:gd name="connsiteX6" fmla="*/ 315748 w 1308478"/>
                          <a:gd name="connsiteY6" fmla="*/ 23592 h 553611"/>
                          <a:gd name="connsiteX7" fmla="*/ 1248294 w 1308478"/>
                          <a:gd name="connsiteY7" fmla="*/ 5 h 553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8478" h="553611">
                            <a:moveTo>
                              <a:pt x="1248294" y="5"/>
                            </a:moveTo>
                            <a:cubicBezTo>
                              <a:pt x="1281074" y="-453"/>
                              <a:pt x="1308020" y="25749"/>
                              <a:pt x="1308478" y="58529"/>
                            </a:cubicBezTo>
                            <a:cubicBezTo>
                              <a:pt x="1255703" y="188417"/>
                              <a:pt x="1205149" y="305873"/>
                              <a:pt x="1153485" y="429545"/>
                            </a:cubicBezTo>
                            <a:lnTo>
                              <a:pt x="1102303" y="553611"/>
                            </a:lnTo>
                            <a:lnTo>
                              <a:pt x="7230" y="553611"/>
                            </a:lnTo>
                            <a:lnTo>
                              <a:pt x="0" y="274524"/>
                            </a:lnTo>
                            <a:cubicBezTo>
                              <a:pt x="64078" y="121194"/>
                              <a:pt x="173588" y="74976"/>
                              <a:pt x="315748" y="23592"/>
                            </a:cubicBezTo>
                            <a:lnTo>
                              <a:pt x="1248294" y="5"/>
                            </a:lnTo>
                            <a:close/>
                          </a:path>
                        </a:pathLst>
                      </a:custGeom>
                      <a:solidFill>
                        <a:srgbClr val="669E40"/>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grpSp>
                <p:grpSp>
                  <p:nvGrpSpPr>
                    <p:cNvPr id="93" name="Group 92"/>
                    <p:cNvGrpSpPr/>
                    <p:nvPr/>
                  </p:nvGrpSpPr>
                  <p:grpSpPr>
                    <a:xfrm rot="18913881">
                      <a:off x="4084527" y="1096825"/>
                      <a:ext cx="1617770" cy="1071324"/>
                      <a:chOff x="5147595" y="3987338"/>
                      <a:chExt cx="1617770" cy="1071324"/>
                    </a:xfrm>
                  </p:grpSpPr>
                  <p:sp>
                    <p:nvSpPr>
                      <p:cNvPr id="94" name="Freeform 93"/>
                      <p:cNvSpPr/>
                      <p:nvPr/>
                    </p:nvSpPr>
                    <p:spPr>
                      <a:xfrm>
                        <a:off x="5155242" y="3987338"/>
                        <a:ext cx="1610123" cy="1071324"/>
                      </a:xfrm>
                      <a:custGeom>
                        <a:avLst/>
                        <a:gdLst>
                          <a:gd name="connsiteX0" fmla="*/ 1335822 w 1610123"/>
                          <a:gd name="connsiteY0" fmla="*/ 345 h 1071324"/>
                          <a:gd name="connsiteX1" fmla="*/ 1478916 w 1610123"/>
                          <a:gd name="connsiteY1" fmla="*/ 126227 h 1071324"/>
                          <a:gd name="connsiteX2" fmla="*/ 1531164 w 1610123"/>
                          <a:gd name="connsiteY2" fmla="*/ 942708 h 1071324"/>
                          <a:gd name="connsiteX3" fmla="*/ 1384173 w 1610123"/>
                          <a:gd name="connsiteY3" fmla="*/ 1067963 h 1071324"/>
                          <a:gd name="connsiteX4" fmla="*/ 449052 w 1610123"/>
                          <a:gd name="connsiteY4" fmla="*/ 1065336 h 1071324"/>
                          <a:gd name="connsiteX5" fmla="*/ 3462 w 1610123"/>
                          <a:gd name="connsiteY5" fmla="*/ 551873 h 1071324"/>
                          <a:gd name="connsiteX6" fmla="*/ 3815 w 1610123"/>
                          <a:gd name="connsiteY6" fmla="*/ 396027 h 1071324"/>
                          <a:gd name="connsiteX7" fmla="*/ 383072 w 1610123"/>
                          <a:gd name="connsiteY7" fmla="*/ 48804 h 1071324"/>
                          <a:gd name="connsiteX8" fmla="*/ 1335822 w 1610123"/>
                          <a:gd name="connsiteY8" fmla="*/ 345 h 1071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0123" h="1071324">
                            <a:moveTo>
                              <a:pt x="1335822" y="345"/>
                            </a:moveTo>
                            <a:cubicBezTo>
                              <a:pt x="1410097" y="-4408"/>
                              <a:pt x="1450098" y="40128"/>
                              <a:pt x="1478916" y="126227"/>
                            </a:cubicBezTo>
                            <a:cubicBezTo>
                              <a:pt x="1591959" y="355747"/>
                              <a:pt x="1680625" y="528483"/>
                              <a:pt x="1531164" y="942708"/>
                            </a:cubicBezTo>
                            <a:cubicBezTo>
                              <a:pt x="1535917" y="1016983"/>
                              <a:pt x="1458449" y="1063210"/>
                              <a:pt x="1384173" y="1067963"/>
                            </a:cubicBezTo>
                            <a:cubicBezTo>
                              <a:pt x="1069510" y="1073104"/>
                              <a:pt x="727828" y="1072439"/>
                              <a:pt x="449052" y="1065336"/>
                            </a:cubicBezTo>
                            <a:cubicBezTo>
                              <a:pt x="389555" y="1040009"/>
                              <a:pt x="89492" y="660575"/>
                              <a:pt x="3462" y="551873"/>
                            </a:cubicBezTo>
                            <a:cubicBezTo>
                              <a:pt x="-1246" y="479598"/>
                              <a:pt x="-1175" y="465498"/>
                              <a:pt x="3815" y="396027"/>
                            </a:cubicBezTo>
                            <a:cubicBezTo>
                              <a:pt x="88884" y="306131"/>
                              <a:pt x="308797" y="53557"/>
                              <a:pt x="383072" y="48804"/>
                            </a:cubicBezTo>
                            <a:lnTo>
                              <a:pt x="1335822" y="345"/>
                            </a:lnTo>
                            <a:close/>
                          </a:path>
                        </a:pathLst>
                      </a:custGeom>
                      <a:solidFill>
                        <a:srgbClr val="669E40"/>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95" name="Freeform 94"/>
                      <p:cNvSpPr/>
                      <p:nvPr/>
                    </p:nvSpPr>
                    <p:spPr>
                      <a:xfrm rot="-120000">
                        <a:off x="5147595" y="4006842"/>
                        <a:ext cx="1592890" cy="420116"/>
                      </a:xfrm>
                      <a:custGeom>
                        <a:avLst/>
                        <a:gdLst>
                          <a:gd name="connsiteX0" fmla="*/ 1351136 w 1592890"/>
                          <a:gd name="connsiteY0" fmla="*/ 72 h 420116"/>
                          <a:gd name="connsiteX1" fmla="*/ 1489750 w 1592890"/>
                          <a:gd name="connsiteY1" fmla="*/ 130871 h 420116"/>
                          <a:gd name="connsiteX2" fmla="*/ 1586578 w 1592890"/>
                          <a:gd name="connsiteY2" fmla="*/ 384388 h 420116"/>
                          <a:gd name="connsiteX3" fmla="*/ 1592890 w 1592890"/>
                          <a:gd name="connsiteY3" fmla="*/ 420116 h 420116"/>
                          <a:gd name="connsiteX4" fmla="*/ 0 w 1592890"/>
                          <a:gd name="connsiteY4" fmla="*/ 420116 h 420116"/>
                          <a:gd name="connsiteX5" fmla="*/ 1793 w 1592890"/>
                          <a:gd name="connsiteY5" fmla="*/ 392396 h 420116"/>
                          <a:gd name="connsiteX6" fmla="*/ 6131 w 1592890"/>
                          <a:gd name="connsiteY6" fmla="*/ 349026 h 420116"/>
                          <a:gd name="connsiteX7" fmla="*/ 397275 w 1592890"/>
                          <a:gd name="connsiteY7" fmla="*/ 15251 h 420116"/>
                          <a:gd name="connsiteX8" fmla="*/ 1351136 w 1592890"/>
                          <a:gd name="connsiteY8" fmla="*/ 72 h 420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2890" h="420116">
                            <a:moveTo>
                              <a:pt x="1351136" y="72"/>
                            </a:moveTo>
                            <a:cubicBezTo>
                              <a:pt x="1425532" y="-2086"/>
                              <a:pt x="1463954" y="43819"/>
                              <a:pt x="1489750" y="130871"/>
                            </a:cubicBezTo>
                            <a:cubicBezTo>
                              <a:pt x="1529111" y="218368"/>
                              <a:pt x="1565325" y="297765"/>
                              <a:pt x="1586578" y="384388"/>
                            </a:cubicBezTo>
                            <a:lnTo>
                              <a:pt x="1592890" y="420116"/>
                            </a:lnTo>
                            <a:lnTo>
                              <a:pt x="0" y="420116"/>
                            </a:lnTo>
                            <a:lnTo>
                              <a:pt x="1793" y="392396"/>
                            </a:lnTo>
                            <a:cubicBezTo>
                              <a:pt x="2854" y="380206"/>
                              <a:pt x="4279" y="366340"/>
                              <a:pt x="6131" y="349026"/>
                            </a:cubicBezTo>
                            <a:cubicBezTo>
                              <a:pt x="94286" y="262154"/>
                              <a:pt x="322880" y="17409"/>
                              <a:pt x="397275" y="15251"/>
                            </a:cubicBezTo>
                            <a:lnTo>
                              <a:pt x="1351136" y="72"/>
                            </a:lnTo>
                            <a:close/>
                          </a:path>
                        </a:pathLst>
                      </a:custGeom>
                      <a:solidFill>
                        <a:srgbClr val="548235"/>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grpSp>
              </p:grpSp>
              <p:sp>
                <p:nvSpPr>
                  <p:cNvPr id="80" name="Rectangle 13"/>
                  <p:cNvSpPr/>
                  <p:nvPr/>
                </p:nvSpPr>
                <p:spPr>
                  <a:xfrm rot="1545906" flipH="1">
                    <a:off x="4824756" y="3122888"/>
                    <a:ext cx="318241" cy="179673"/>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578644"/>
                      <a:gd name="connsiteY0" fmla="*/ 0 h 368300"/>
                      <a:gd name="connsiteX1" fmla="*/ 571500 w 578644"/>
                      <a:gd name="connsiteY1" fmla="*/ 0 h 368300"/>
                      <a:gd name="connsiteX2" fmla="*/ 578644 w 578644"/>
                      <a:gd name="connsiteY2" fmla="*/ 356394 h 368300"/>
                      <a:gd name="connsiteX3" fmla="*/ 0 w 578644"/>
                      <a:gd name="connsiteY3" fmla="*/ 368300 h 368300"/>
                      <a:gd name="connsiteX4" fmla="*/ 0 w 578644"/>
                      <a:gd name="connsiteY4" fmla="*/ 0 h 368300"/>
                      <a:gd name="connsiteX0" fmla="*/ 0 w 578644"/>
                      <a:gd name="connsiteY0" fmla="*/ 0 h 368300"/>
                      <a:gd name="connsiteX1" fmla="*/ 571500 w 578644"/>
                      <a:gd name="connsiteY1" fmla="*/ 0 h 368300"/>
                      <a:gd name="connsiteX2" fmla="*/ 578644 w 578644"/>
                      <a:gd name="connsiteY2" fmla="*/ 361156 h 368300"/>
                      <a:gd name="connsiteX3" fmla="*/ 0 w 578644"/>
                      <a:gd name="connsiteY3" fmla="*/ 368300 h 368300"/>
                      <a:gd name="connsiteX4" fmla="*/ 0 w 578644"/>
                      <a:gd name="connsiteY4" fmla="*/ 0 h 368300"/>
                      <a:gd name="connsiteX0" fmla="*/ 0 w 578644"/>
                      <a:gd name="connsiteY0" fmla="*/ 0 h 368300"/>
                      <a:gd name="connsiteX1" fmla="*/ 240506 w 578644"/>
                      <a:gd name="connsiteY1" fmla="*/ 159544 h 368300"/>
                      <a:gd name="connsiteX2" fmla="*/ 578644 w 578644"/>
                      <a:gd name="connsiteY2" fmla="*/ 361156 h 368300"/>
                      <a:gd name="connsiteX3" fmla="*/ 0 w 578644"/>
                      <a:gd name="connsiteY3" fmla="*/ 368300 h 368300"/>
                      <a:gd name="connsiteX4" fmla="*/ 0 w 578644"/>
                      <a:gd name="connsiteY4" fmla="*/ 0 h 368300"/>
                      <a:gd name="connsiteX0" fmla="*/ 0 w 578644"/>
                      <a:gd name="connsiteY0" fmla="*/ 0 h 361156"/>
                      <a:gd name="connsiteX1" fmla="*/ 240506 w 578644"/>
                      <a:gd name="connsiteY1" fmla="*/ 159544 h 361156"/>
                      <a:gd name="connsiteX2" fmla="*/ 578644 w 578644"/>
                      <a:gd name="connsiteY2" fmla="*/ 361156 h 361156"/>
                      <a:gd name="connsiteX3" fmla="*/ 195262 w 578644"/>
                      <a:gd name="connsiteY3" fmla="*/ 215900 h 361156"/>
                      <a:gd name="connsiteX4" fmla="*/ 0 w 578644"/>
                      <a:gd name="connsiteY4" fmla="*/ 0 h 361156"/>
                      <a:gd name="connsiteX0" fmla="*/ 0 w 578644"/>
                      <a:gd name="connsiteY0" fmla="*/ 0 h 361156"/>
                      <a:gd name="connsiteX1" fmla="*/ 240506 w 578644"/>
                      <a:gd name="connsiteY1" fmla="*/ 159544 h 361156"/>
                      <a:gd name="connsiteX2" fmla="*/ 578644 w 578644"/>
                      <a:gd name="connsiteY2" fmla="*/ 361156 h 361156"/>
                      <a:gd name="connsiteX3" fmla="*/ 195262 w 578644"/>
                      <a:gd name="connsiteY3" fmla="*/ 215900 h 361156"/>
                      <a:gd name="connsiteX4" fmla="*/ 0 w 578644"/>
                      <a:gd name="connsiteY4" fmla="*/ 0 h 361156"/>
                      <a:gd name="connsiteX0" fmla="*/ 0 w 578644"/>
                      <a:gd name="connsiteY0" fmla="*/ 0 h 361156"/>
                      <a:gd name="connsiteX1" fmla="*/ 240506 w 578644"/>
                      <a:gd name="connsiteY1" fmla="*/ 159544 h 361156"/>
                      <a:gd name="connsiteX2" fmla="*/ 578644 w 578644"/>
                      <a:gd name="connsiteY2" fmla="*/ 361156 h 361156"/>
                      <a:gd name="connsiteX3" fmla="*/ 195262 w 578644"/>
                      <a:gd name="connsiteY3" fmla="*/ 215900 h 361156"/>
                      <a:gd name="connsiteX4" fmla="*/ 0 w 578644"/>
                      <a:gd name="connsiteY4" fmla="*/ 0 h 361156"/>
                      <a:gd name="connsiteX0" fmla="*/ 0 w 578644"/>
                      <a:gd name="connsiteY0" fmla="*/ 0 h 361156"/>
                      <a:gd name="connsiteX1" fmla="*/ 240506 w 578644"/>
                      <a:gd name="connsiteY1" fmla="*/ 159544 h 361156"/>
                      <a:gd name="connsiteX2" fmla="*/ 578644 w 578644"/>
                      <a:gd name="connsiteY2" fmla="*/ 361156 h 361156"/>
                      <a:gd name="connsiteX3" fmla="*/ 195262 w 578644"/>
                      <a:gd name="connsiteY3" fmla="*/ 215900 h 361156"/>
                      <a:gd name="connsiteX4" fmla="*/ 0 w 578644"/>
                      <a:gd name="connsiteY4" fmla="*/ 0 h 361156"/>
                      <a:gd name="connsiteX0" fmla="*/ 0 w 578644"/>
                      <a:gd name="connsiteY0" fmla="*/ 0 h 361156"/>
                      <a:gd name="connsiteX1" fmla="*/ 240506 w 578644"/>
                      <a:gd name="connsiteY1" fmla="*/ 159544 h 361156"/>
                      <a:gd name="connsiteX2" fmla="*/ 578644 w 578644"/>
                      <a:gd name="connsiteY2" fmla="*/ 361156 h 361156"/>
                      <a:gd name="connsiteX3" fmla="*/ 195262 w 578644"/>
                      <a:gd name="connsiteY3" fmla="*/ 215900 h 361156"/>
                      <a:gd name="connsiteX4" fmla="*/ 0 w 578644"/>
                      <a:gd name="connsiteY4" fmla="*/ 0 h 361156"/>
                      <a:gd name="connsiteX0" fmla="*/ 0 w 578644"/>
                      <a:gd name="connsiteY0" fmla="*/ 0 h 361156"/>
                      <a:gd name="connsiteX1" fmla="*/ 240506 w 578644"/>
                      <a:gd name="connsiteY1" fmla="*/ 159544 h 361156"/>
                      <a:gd name="connsiteX2" fmla="*/ 578644 w 578644"/>
                      <a:gd name="connsiteY2" fmla="*/ 361156 h 361156"/>
                      <a:gd name="connsiteX3" fmla="*/ 195262 w 578644"/>
                      <a:gd name="connsiteY3" fmla="*/ 215900 h 361156"/>
                      <a:gd name="connsiteX4" fmla="*/ 0 w 578644"/>
                      <a:gd name="connsiteY4" fmla="*/ 0 h 361156"/>
                      <a:gd name="connsiteX0" fmla="*/ 0 w 578644"/>
                      <a:gd name="connsiteY0" fmla="*/ 0 h 361156"/>
                      <a:gd name="connsiteX1" fmla="*/ 240506 w 578644"/>
                      <a:gd name="connsiteY1" fmla="*/ 159544 h 361156"/>
                      <a:gd name="connsiteX2" fmla="*/ 578644 w 578644"/>
                      <a:gd name="connsiteY2" fmla="*/ 361156 h 361156"/>
                      <a:gd name="connsiteX3" fmla="*/ 195262 w 578644"/>
                      <a:gd name="connsiteY3" fmla="*/ 215900 h 361156"/>
                      <a:gd name="connsiteX4" fmla="*/ 0 w 578644"/>
                      <a:gd name="connsiteY4" fmla="*/ 0 h 361156"/>
                      <a:gd name="connsiteX0" fmla="*/ 0 w 559594"/>
                      <a:gd name="connsiteY0" fmla="*/ 0 h 346869"/>
                      <a:gd name="connsiteX1" fmla="*/ 240506 w 559594"/>
                      <a:gd name="connsiteY1" fmla="*/ 159544 h 346869"/>
                      <a:gd name="connsiteX2" fmla="*/ 559594 w 559594"/>
                      <a:gd name="connsiteY2" fmla="*/ 346869 h 346869"/>
                      <a:gd name="connsiteX3" fmla="*/ 195262 w 559594"/>
                      <a:gd name="connsiteY3" fmla="*/ 215900 h 346869"/>
                      <a:gd name="connsiteX4" fmla="*/ 0 w 559594"/>
                      <a:gd name="connsiteY4" fmla="*/ 0 h 346869"/>
                      <a:gd name="connsiteX0" fmla="*/ 0 w 559594"/>
                      <a:gd name="connsiteY0" fmla="*/ 0 h 346869"/>
                      <a:gd name="connsiteX1" fmla="*/ 240506 w 559594"/>
                      <a:gd name="connsiteY1" fmla="*/ 159544 h 346869"/>
                      <a:gd name="connsiteX2" fmla="*/ 559594 w 559594"/>
                      <a:gd name="connsiteY2" fmla="*/ 346869 h 346869"/>
                      <a:gd name="connsiteX3" fmla="*/ 195262 w 559594"/>
                      <a:gd name="connsiteY3" fmla="*/ 215900 h 346869"/>
                      <a:gd name="connsiteX4" fmla="*/ 0 w 559594"/>
                      <a:gd name="connsiteY4" fmla="*/ 0 h 346869"/>
                      <a:gd name="connsiteX0" fmla="*/ 0 w 559594"/>
                      <a:gd name="connsiteY0" fmla="*/ 0 h 346869"/>
                      <a:gd name="connsiteX1" fmla="*/ 240506 w 559594"/>
                      <a:gd name="connsiteY1" fmla="*/ 159544 h 346869"/>
                      <a:gd name="connsiteX2" fmla="*/ 559594 w 559594"/>
                      <a:gd name="connsiteY2" fmla="*/ 346869 h 346869"/>
                      <a:gd name="connsiteX3" fmla="*/ 195262 w 559594"/>
                      <a:gd name="connsiteY3" fmla="*/ 215900 h 346869"/>
                      <a:gd name="connsiteX4" fmla="*/ 0 w 559594"/>
                      <a:gd name="connsiteY4" fmla="*/ 0 h 346869"/>
                      <a:gd name="connsiteX0" fmla="*/ 0 w 559594"/>
                      <a:gd name="connsiteY0" fmla="*/ 0 h 346869"/>
                      <a:gd name="connsiteX1" fmla="*/ 240506 w 559594"/>
                      <a:gd name="connsiteY1" fmla="*/ 159544 h 346869"/>
                      <a:gd name="connsiteX2" fmla="*/ 559594 w 559594"/>
                      <a:gd name="connsiteY2" fmla="*/ 346869 h 346869"/>
                      <a:gd name="connsiteX3" fmla="*/ 195262 w 559594"/>
                      <a:gd name="connsiteY3" fmla="*/ 215900 h 346869"/>
                      <a:gd name="connsiteX4" fmla="*/ 0 w 559594"/>
                      <a:gd name="connsiteY4" fmla="*/ 0 h 346869"/>
                      <a:gd name="connsiteX0" fmla="*/ 0 w 559594"/>
                      <a:gd name="connsiteY0" fmla="*/ 0 h 346869"/>
                      <a:gd name="connsiteX1" fmla="*/ 240506 w 559594"/>
                      <a:gd name="connsiteY1" fmla="*/ 159544 h 346869"/>
                      <a:gd name="connsiteX2" fmla="*/ 559594 w 559594"/>
                      <a:gd name="connsiteY2" fmla="*/ 346869 h 346869"/>
                      <a:gd name="connsiteX3" fmla="*/ 195262 w 559594"/>
                      <a:gd name="connsiteY3" fmla="*/ 215900 h 346869"/>
                      <a:gd name="connsiteX4" fmla="*/ 0 w 559594"/>
                      <a:gd name="connsiteY4" fmla="*/ 0 h 346869"/>
                      <a:gd name="connsiteX0" fmla="*/ 0 w 559594"/>
                      <a:gd name="connsiteY0" fmla="*/ 0 h 346869"/>
                      <a:gd name="connsiteX1" fmla="*/ 240506 w 559594"/>
                      <a:gd name="connsiteY1" fmla="*/ 159544 h 346869"/>
                      <a:gd name="connsiteX2" fmla="*/ 559594 w 559594"/>
                      <a:gd name="connsiteY2" fmla="*/ 346869 h 346869"/>
                      <a:gd name="connsiteX3" fmla="*/ 195262 w 559594"/>
                      <a:gd name="connsiteY3" fmla="*/ 215900 h 346869"/>
                      <a:gd name="connsiteX4" fmla="*/ 0 w 559594"/>
                      <a:gd name="connsiteY4" fmla="*/ 0 h 346869"/>
                      <a:gd name="connsiteX0" fmla="*/ 0 w 559594"/>
                      <a:gd name="connsiteY0" fmla="*/ 0 h 346869"/>
                      <a:gd name="connsiteX1" fmla="*/ 219075 w 559594"/>
                      <a:gd name="connsiteY1" fmla="*/ 147638 h 346869"/>
                      <a:gd name="connsiteX2" fmla="*/ 559594 w 559594"/>
                      <a:gd name="connsiteY2" fmla="*/ 346869 h 346869"/>
                      <a:gd name="connsiteX3" fmla="*/ 195262 w 559594"/>
                      <a:gd name="connsiteY3" fmla="*/ 215900 h 346869"/>
                      <a:gd name="connsiteX4" fmla="*/ 0 w 559594"/>
                      <a:gd name="connsiteY4" fmla="*/ 0 h 346869"/>
                      <a:gd name="connsiteX0" fmla="*/ 0 w 559594"/>
                      <a:gd name="connsiteY0" fmla="*/ 0 h 346869"/>
                      <a:gd name="connsiteX1" fmla="*/ 219075 w 559594"/>
                      <a:gd name="connsiteY1" fmla="*/ 147638 h 346869"/>
                      <a:gd name="connsiteX2" fmla="*/ 559594 w 559594"/>
                      <a:gd name="connsiteY2" fmla="*/ 346869 h 346869"/>
                      <a:gd name="connsiteX3" fmla="*/ 183355 w 559594"/>
                      <a:gd name="connsiteY3" fmla="*/ 208756 h 346869"/>
                      <a:gd name="connsiteX4" fmla="*/ 0 w 559594"/>
                      <a:gd name="connsiteY4" fmla="*/ 0 h 346869"/>
                      <a:gd name="connsiteX0" fmla="*/ 0 w 376239"/>
                      <a:gd name="connsiteY0" fmla="*/ 61118 h 199231"/>
                      <a:gd name="connsiteX1" fmla="*/ 35720 w 376239"/>
                      <a:gd name="connsiteY1" fmla="*/ 0 h 199231"/>
                      <a:gd name="connsiteX2" fmla="*/ 376239 w 376239"/>
                      <a:gd name="connsiteY2" fmla="*/ 199231 h 199231"/>
                      <a:gd name="connsiteX3" fmla="*/ 0 w 376239"/>
                      <a:gd name="connsiteY3" fmla="*/ 61118 h 199231"/>
                      <a:gd name="connsiteX0" fmla="*/ 0 w 376239"/>
                      <a:gd name="connsiteY0" fmla="*/ 61118 h 199231"/>
                      <a:gd name="connsiteX1" fmla="*/ 35720 w 376239"/>
                      <a:gd name="connsiteY1" fmla="*/ 0 h 199231"/>
                      <a:gd name="connsiteX2" fmla="*/ 376239 w 376239"/>
                      <a:gd name="connsiteY2" fmla="*/ 199231 h 199231"/>
                      <a:gd name="connsiteX3" fmla="*/ 0 w 376239"/>
                      <a:gd name="connsiteY3" fmla="*/ 61118 h 199231"/>
                      <a:gd name="connsiteX0" fmla="*/ 0 w 376239"/>
                      <a:gd name="connsiteY0" fmla="*/ 61118 h 199231"/>
                      <a:gd name="connsiteX1" fmla="*/ 35720 w 376239"/>
                      <a:gd name="connsiteY1" fmla="*/ 0 h 199231"/>
                      <a:gd name="connsiteX2" fmla="*/ 376239 w 376239"/>
                      <a:gd name="connsiteY2" fmla="*/ 199231 h 199231"/>
                      <a:gd name="connsiteX3" fmla="*/ 0 w 376239"/>
                      <a:gd name="connsiteY3" fmla="*/ 61118 h 199231"/>
                      <a:gd name="connsiteX0" fmla="*/ 0 w 376239"/>
                      <a:gd name="connsiteY0" fmla="*/ 76993 h 215106"/>
                      <a:gd name="connsiteX1" fmla="*/ 42070 w 376239"/>
                      <a:gd name="connsiteY1" fmla="*/ 0 h 215106"/>
                      <a:gd name="connsiteX2" fmla="*/ 376239 w 376239"/>
                      <a:gd name="connsiteY2" fmla="*/ 215106 h 215106"/>
                      <a:gd name="connsiteX3" fmla="*/ 0 w 376239"/>
                      <a:gd name="connsiteY3" fmla="*/ 76993 h 215106"/>
                      <a:gd name="connsiteX0" fmla="*/ 0 w 376239"/>
                      <a:gd name="connsiteY0" fmla="*/ 76993 h 215106"/>
                      <a:gd name="connsiteX1" fmla="*/ 35720 w 376239"/>
                      <a:gd name="connsiteY1" fmla="*/ 0 h 215106"/>
                      <a:gd name="connsiteX2" fmla="*/ 376239 w 376239"/>
                      <a:gd name="connsiteY2" fmla="*/ 215106 h 215106"/>
                      <a:gd name="connsiteX3" fmla="*/ 0 w 376239"/>
                      <a:gd name="connsiteY3" fmla="*/ 76993 h 215106"/>
                      <a:gd name="connsiteX0" fmla="*/ 0 w 381002"/>
                      <a:gd name="connsiteY0" fmla="*/ 76993 h 215106"/>
                      <a:gd name="connsiteX1" fmla="*/ 40483 w 381002"/>
                      <a:gd name="connsiteY1" fmla="*/ 0 h 215106"/>
                      <a:gd name="connsiteX2" fmla="*/ 381002 w 381002"/>
                      <a:gd name="connsiteY2" fmla="*/ 215106 h 215106"/>
                      <a:gd name="connsiteX3" fmla="*/ 0 w 381002"/>
                      <a:gd name="connsiteY3" fmla="*/ 76993 h 215106"/>
                    </a:gdLst>
                    <a:ahLst/>
                    <a:cxnLst>
                      <a:cxn ang="0">
                        <a:pos x="connsiteX0" y="connsiteY0"/>
                      </a:cxn>
                      <a:cxn ang="0">
                        <a:pos x="connsiteX1" y="connsiteY1"/>
                      </a:cxn>
                      <a:cxn ang="0">
                        <a:pos x="connsiteX2" y="connsiteY2"/>
                      </a:cxn>
                      <a:cxn ang="0">
                        <a:pos x="connsiteX3" y="connsiteY3"/>
                      </a:cxn>
                    </a:cxnLst>
                    <a:rect l="l" t="t" r="r" b="b"/>
                    <a:pathLst>
                      <a:path w="381002" h="215106">
                        <a:moveTo>
                          <a:pt x="0" y="76993"/>
                        </a:moveTo>
                        <a:cubicBezTo>
                          <a:pt x="19051" y="61382"/>
                          <a:pt x="33338" y="27516"/>
                          <a:pt x="40483" y="0"/>
                        </a:cubicBezTo>
                        <a:cubicBezTo>
                          <a:pt x="153196" y="67204"/>
                          <a:pt x="299244" y="155046"/>
                          <a:pt x="381002" y="215106"/>
                        </a:cubicBezTo>
                        <a:cubicBezTo>
                          <a:pt x="293689" y="202405"/>
                          <a:pt x="130175" y="139699"/>
                          <a:pt x="0" y="76993"/>
                        </a:cubicBezTo>
                        <a:close/>
                      </a:path>
                    </a:pathLst>
                  </a:custGeom>
                  <a:solidFill>
                    <a:srgbClr val="D9D9D9"/>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81" name="Rectangle 15"/>
                  <p:cNvSpPr/>
                  <p:nvPr/>
                </p:nvSpPr>
                <p:spPr>
                  <a:xfrm rot="1545906" flipH="1">
                    <a:off x="5155839" y="3113253"/>
                    <a:ext cx="278462" cy="218126"/>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31031"/>
                      <a:gd name="connsiteY0" fmla="*/ 0 h 368300"/>
                      <a:gd name="connsiteX1" fmla="*/ 631031 w 631031"/>
                      <a:gd name="connsiteY1" fmla="*/ 259556 h 368300"/>
                      <a:gd name="connsiteX2" fmla="*/ 571500 w 631031"/>
                      <a:gd name="connsiteY2" fmla="*/ 368300 h 368300"/>
                      <a:gd name="connsiteX3" fmla="*/ 0 w 631031"/>
                      <a:gd name="connsiteY3" fmla="*/ 368300 h 368300"/>
                      <a:gd name="connsiteX4" fmla="*/ 0 w 631031"/>
                      <a:gd name="connsiteY4" fmla="*/ 0 h 368300"/>
                      <a:gd name="connsiteX0" fmla="*/ 366712 w 631031"/>
                      <a:gd name="connsiteY0" fmla="*/ 0 h 258763"/>
                      <a:gd name="connsiteX1" fmla="*/ 631031 w 631031"/>
                      <a:gd name="connsiteY1" fmla="*/ 150019 h 258763"/>
                      <a:gd name="connsiteX2" fmla="*/ 571500 w 631031"/>
                      <a:gd name="connsiteY2" fmla="*/ 258763 h 258763"/>
                      <a:gd name="connsiteX3" fmla="*/ 0 w 631031"/>
                      <a:gd name="connsiteY3" fmla="*/ 258763 h 258763"/>
                      <a:gd name="connsiteX4" fmla="*/ 366712 w 631031"/>
                      <a:gd name="connsiteY4" fmla="*/ 0 h 258763"/>
                      <a:gd name="connsiteX0" fmla="*/ 111919 w 376238"/>
                      <a:gd name="connsiteY0" fmla="*/ 0 h 258763"/>
                      <a:gd name="connsiteX1" fmla="*/ 376238 w 376238"/>
                      <a:gd name="connsiteY1" fmla="*/ 150019 h 258763"/>
                      <a:gd name="connsiteX2" fmla="*/ 316707 w 376238"/>
                      <a:gd name="connsiteY2" fmla="*/ 258763 h 258763"/>
                      <a:gd name="connsiteX3" fmla="*/ 0 w 376238"/>
                      <a:gd name="connsiteY3" fmla="*/ 146844 h 258763"/>
                      <a:gd name="connsiteX4" fmla="*/ 111919 w 376238"/>
                      <a:gd name="connsiteY4" fmla="*/ 0 h 258763"/>
                      <a:gd name="connsiteX0" fmla="*/ 111919 w 376238"/>
                      <a:gd name="connsiteY0" fmla="*/ 0 h 258763"/>
                      <a:gd name="connsiteX1" fmla="*/ 376238 w 376238"/>
                      <a:gd name="connsiteY1" fmla="*/ 150019 h 258763"/>
                      <a:gd name="connsiteX2" fmla="*/ 316707 w 376238"/>
                      <a:gd name="connsiteY2" fmla="*/ 258763 h 258763"/>
                      <a:gd name="connsiteX3" fmla="*/ 0 w 376238"/>
                      <a:gd name="connsiteY3" fmla="*/ 146844 h 258763"/>
                      <a:gd name="connsiteX4" fmla="*/ 111919 w 376238"/>
                      <a:gd name="connsiteY4" fmla="*/ 0 h 258763"/>
                      <a:gd name="connsiteX0" fmla="*/ 111919 w 376238"/>
                      <a:gd name="connsiteY0" fmla="*/ 0 h 258763"/>
                      <a:gd name="connsiteX1" fmla="*/ 376238 w 376238"/>
                      <a:gd name="connsiteY1" fmla="*/ 150019 h 258763"/>
                      <a:gd name="connsiteX2" fmla="*/ 316707 w 376238"/>
                      <a:gd name="connsiteY2" fmla="*/ 258763 h 258763"/>
                      <a:gd name="connsiteX3" fmla="*/ 0 w 376238"/>
                      <a:gd name="connsiteY3" fmla="*/ 146844 h 258763"/>
                      <a:gd name="connsiteX4" fmla="*/ 111919 w 376238"/>
                      <a:gd name="connsiteY4" fmla="*/ 0 h 258763"/>
                      <a:gd name="connsiteX0" fmla="*/ 111919 w 376238"/>
                      <a:gd name="connsiteY0" fmla="*/ 0 h 258763"/>
                      <a:gd name="connsiteX1" fmla="*/ 376238 w 376238"/>
                      <a:gd name="connsiteY1" fmla="*/ 150019 h 258763"/>
                      <a:gd name="connsiteX2" fmla="*/ 316707 w 376238"/>
                      <a:gd name="connsiteY2" fmla="*/ 258763 h 258763"/>
                      <a:gd name="connsiteX3" fmla="*/ 0 w 376238"/>
                      <a:gd name="connsiteY3" fmla="*/ 146844 h 258763"/>
                      <a:gd name="connsiteX4" fmla="*/ 111919 w 376238"/>
                      <a:gd name="connsiteY4" fmla="*/ 0 h 258763"/>
                      <a:gd name="connsiteX0" fmla="*/ 104776 w 369095"/>
                      <a:gd name="connsiteY0" fmla="*/ 0 h 258763"/>
                      <a:gd name="connsiteX1" fmla="*/ 369095 w 369095"/>
                      <a:gd name="connsiteY1" fmla="*/ 150019 h 258763"/>
                      <a:gd name="connsiteX2" fmla="*/ 309564 w 369095"/>
                      <a:gd name="connsiteY2" fmla="*/ 258763 h 258763"/>
                      <a:gd name="connsiteX3" fmla="*/ 0 w 369095"/>
                      <a:gd name="connsiteY3" fmla="*/ 139700 h 258763"/>
                      <a:gd name="connsiteX4" fmla="*/ 104776 w 369095"/>
                      <a:gd name="connsiteY4" fmla="*/ 0 h 258763"/>
                      <a:gd name="connsiteX0" fmla="*/ 104776 w 369095"/>
                      <a:gd name="connsiteY0" fmla="*/ 0 h 258763"/>
                      <a:gd name="connsiteX1" fmla="*/ 369095 w 369095"/>
                      <a:gd name="connsiteY1" fmla="*/ 150019 h 258763"/>
                      <a:gd name="connsiteX2" fmla="*/ 309564 w 369095"/>
                      <a:gd name="connsiteY2" fmla="*/ 258763 h 258763"/>
                      <a:gd name="connsiteX3" fmla="*/ 0 w 369095"/>
                      <a:gd name="connsiteY3" fmla="*/ 139700 h 258763"/>
                      <a:gd name="connsiteX4" fmla="*/ 104776 w 369095"/>
                      <a:gd name="connsiteY4" fmla="*/ 0 h 258763"/>
                      <a:gd name="connsiteX0" fmla="*/ 104776 w 369095"/>
                      <a:gd name="connsiteY0" fmla="*/ 0 h 206375"/>
                      <a:gd name="connsiteX1" fmla="*/ 369095 w 369095"/>
                      <a:gd name="connsiteY1" fmla="*/ 150019 h 206375"/>
                      <a:gd name="connsiteX2" fmla="*/ 230983 w 369095"/>
                      <a:gd name="connsiteY2" fmla="*/ 206375 h 206375"/>
                      <a:gd name="connsiteX3" fmla="*/ 0 w 369095"/>
                      <a:gd name="connsiteY3" fmla="*/ 139700 h 206375"/>
                      <a:gd name="connsiteX4" fmla="*/ 104776 w 369095"/>
                      <a:gd name="connsiteY4" fmla="*/ 0 h 206375"/>
                      <a:gd name="connsiteX0" fmla="*/ 104776 w 369095"/>
                      <a:gd name="connsiteY0" fmla="*/ 0 h 261144"/>
                      <a:gd name="connsiteX1" fmla="*/ 369095 w 369095"/>
                      <a:gd name="connsiteY1" fmla="*/ 150019 h 261144"/>
                      <a:gd name="connsiteX2" fmla="*/ 278608 w 369095"/>
                      <a:gd name="connsiteY2" fmla="*/ 261144 h 261144"/>
                      <a:gd name="connsiteX3" fmla="*/ 0 w 369095"/>
                      <a:gd name="connsiteY3" fmla="*/ 139700 h 261144"/>
                      <a:gd name="connsiteX4" fmla="*/ 104776 w 369095"/>
                      <a:gd name="connsiteY4" fmla="*/ 0 h 261144"/>
                      <a:gd name="connsiteX0" fmla="*/ 104776 w 369095"/>
                      <a:gd name="connsiteY0" fmla="*/ 0 h 263525"/>
                      <a:gd name="connsiteX1" fmla="*/ 369095 w 369095"/>
                      <a:gd name="connsiteY1" fmla="*/ 150019 h 263525"/>
                      <a:gd name="connsiteX2" fmla="*/ 271464 w 369095"/>
                      <a:gd name="connsiteY2" fmla="*/ 263525 h 263525"/>
                      <a:gd name="connsiteX3" fmla="*/ 0 w 369095"/>
                      <a:gd name="connsiteY3" fmla="*/ 139700 h 263525"/>
                      <a:gd name="connsiteX4" fmla="*/ 104776 w 369095"/>
                      <a:gd name="connsiteY4" fmla="*/ 0 h 263525"/>
                      <a:gd name="connsiteX0" fmla="*/ 104776 w 302420"/>
                      <a:gd name="connsiteY0" fmla="*/ 0 h 263525"/>
                      <a:gd name="connsiteX1" fmla="*/ 302420 w 302420"/>
                      <a:gd name="connsiteY1" fmla="*/ 78581 h 263525"/>
                      <a:gd name="connsiteX2" fmla="*/ 271464 w 302420"/>
                      <a:gd name="connsiteY2" fmla="*/ 263525 h 263525"/>
                      <a:gd name="connsiteX3" fmla="*/ 0 w 302420"/>
                      <a:gd name="connsiteY3" fmla="*/ 139700 h 263525"/>
                      <a:gd name="connsiteX4" fmla="*/ 104776 w 302420"/>
                      <a:gd name="connsiteY4" fmla="*/ 0 h 263525"/>
                      <a:gd name="connsiteX0" fmla="*/ 104776 w 354807"/>
                      <a:gd name="connsiteY0" fmla="*/ 0 h 263525"/>
                      <a:gd name="connsiteX1" fmla="*/ 354807 w 354807"/>
                      <a:gd name="connsiteY1" fmla="*/ 135731 h 263525"/>
                      <a:gd name="connsiteX2" fmla="*/ 271464 w 354807"/>
                      <a:gd name="connsiteY2" fmla="*/ 263525 h 263525"/>
                      <a:gd name="connsiteX3" fmla="*/ 0 w 354807"/>
                      <a:gd name="connsiteY3" fmla="*/ 139700 h 263525"/>
                      <a:gd name="connsiteX4" fmla="*/ 104776 w 354807"/>
                      <a:gd name="connsiteY4" fmla="*/ 0 h 263525"/>
                      <a:gd name="connsiteX0" fmla="*/ 104776 w 359570"/>
                      <a:gd name="connsiteY0" fmla="*/ 0 h 263525"/>
                      <a:gd name="connsiteX1" fmla="*/ 359570 w 359570"/>
                      <a:gd name="connsiteY1" fmla="*/ 135731 h 263525"/>
                      <a:gd name="connsiteX2" fmla="*/ 271464 w 359570"/>
                      <a:gd name="connsiteY2" fmla="*/ 263525 h 263525"/>
                      <a:gd name="connsiteX3" fmla="*/ 0 w 359570"/>
                      <a:gd name="connsiteY3" fmla="*/ 139700 h 263525"/>
                      <a:gd name="connsiteX4" fmla="*/ 104776 w 359570"/>
                      <a:gd name="connsiteY4" fmla="*/ 0 h 263525"/>
                      <a:gd name="connsiteX0" fmla="*/ 104776 w 359570"/>
                      <a:gd name="connsiteY0" fmla="*/ 0 h 263525"/>
                      <a:gd name="connsiteX1" fmla="*/ 359570 w 359570"/>
                      <a:gd name="connsiteY1" fmla="*/ 135731 h 263525"/>
                      <a:gd name="connsiteX2" fmla="*/ 271464 w 359570"/>
                      <a:gd name="connsiteY2" fmla="*/ 263525 h 263525"/>
                      <a:gd name="connsiteX3" fmla="*/ 0 w 359570"/>
                      <a:gd name="connsiteY3" fmla="*/ 139700 h 263525"/>
                      <a:gd name="connsiteX4" fmla="*/ 104776 w 359570"/>
                      <a:gd name="connsiteY4" fmla="*/ 0 h 263525"/>
                      <a:gd name="connsiteX0" fmla="*/ 104776 w 359570"/>
                      <a:gd name="connsiteY0" fmla="*/ 0 h 263525"/>
                      <a:gd name="connsiteX1" fmla="*/ 359570 w 359570"/>
                      <a:gd name="connsiteY1" fmla="*/ 135731 h 263525"/>
                      <a:gd name="connsiteX2" fmla="*/ 271464 w 359570"/>
                      <a:gd name="connsiteY2" fmla="*/ 263525 h 263525"/>
                      <a:gd name="connsiteX3" fmla="*/ 0 w 359570"/>
                      <a:gd name="connsiteY3" fmla="*/ 139700 h 263525"/>
                      <a:gd name="connsiteX4" fmla="*/ 104776 w 359570"/>
                      <a:gd name="connsiteY4" fmla="*/ 0 h 263525"/>
                      <a:gd name="connsiteX0" fmla="*/ 104776 w 359570"/>
                      <a:gd name="connsiteY0" fmla="*/ 0 h 263525"/>
                      <a:gd name="connsiteX1" fmla="*/ 359570 w 359570"/>
                      <a:gd name="connsiteY1" fmla="*/ 135731 h 263525"/>
                      <a:gd name="connsiteX2" fmla="*/ 271464 w 359570"/>
                      <a:gd name="connsiteY2" fmla="*/ 263525 h 263525"/>
                      <a:gd name="connsiteX3" fmla="*/ 0 w 359570"/>
                      <a:gd name="connsiteY3" fmla="*/ 139700 h 263525"/>
                      <a:gd name="connsiteX4" fmla="*/ 104776 w 359570"/>
                      <a:gd name="connsiteY4" fmla="*/ 0 h 263525"/>
                      <a:gd name="connsiteX0" fmla="*/ 104776 w 359570"/>
                      <a:gd name="connsiteY0" fmla="*/ 0 h 263525"/>
                      <a:gd name="connsiteX1" fmla="*/ 359570 w 359570"/>
                      <a:gd name="connsiteY1" fmla="*/ 135731 h 263525"/>
                      <a:gd name="connsiteX2" fmla="*/ 271464 w 359570"/>
                      <a:gd name="connsiteY2" fmla="*/ 263525 h 263525"/>
                      <a:gd name="connsiteX3" fmla="*/ 0 w 359570"/>
                      <a:gd name="connsiteY3" fmla="*/ 139700 h 263525"/>
                      <a:gd name="connsiteX4" fmla="*/ 104776 w 359570"/>
                      <a:gd name="connsiteY4" fmla="*/ 0 h 263525"/>
                      <a:gd name="connsiteX0" fmla="*/ 104776 w 300039"/>
                      <a:gd name="connsiteY0" fmla="*/ 0 h 263525"/>
                      <a:gd name="connsiteX1" fmla="*/ 300039 w 300039"/>
                      <a:gd name="connsiteY1" fmla="*/ 97631 h 263525"/>
                      <a:gd name="connsiteX2" fmla="*/ 271464 w 300039"/>
                      <a:gd name="connsiteY2" fmla="*/ 263525 h 263525"/>
                      <a:gd name="connsiteX3" fmla="*/ 0 w 300039"/>
                      <a:gd name="connsiteY3" fmla="*/ 139700 h 263525"/>
                      <a:gd name="connsiteX4" fmla="*/ 104776 w 300039"/>
                      <a:gd name="connsiteY4" fmla="*/ 0 h 263525"/>
                      <a:gd name="connsiteX0" fmla="*/ 104776 w 352427"/>
                      <a:gd name="connsiteY0" fmla="*/ 0 h 263525"/>
                      <a:gd name="connsiteX1" fmla="*/ 352427 w 352427"/>
                      <a:gd name="connsiteY1" fmla="*/ 142874 h 263525"/>
                      <a:gd name="connsiteX2" fmla="*/ 271464 w 352427"/>
                      <a:gd name="connsiteY2" fmla="*/ 263525 h 263525"/>
                      <a:gd name="connsiteX3" fmla="*/ 0 w 352427"/>
                      <a:gd name="connsiteY3" fmla="*/ 139700 h 263525"/>
                      <a:gd name="connsiteX4" fmla="*/ 104776 w 352427"/>
                      <a:gd name="connsiteY4" fmla="*/ 0 h 263525"/>
                      <a:gd name="connsiteX0" fmla="*/ 104776 w 352427"/>
                      <a:gd name="connsiteY0" fmla="*/ 0 h 263525"/>
                      <a:gd name="connsiteX1" fmla="*/ 352427 w 352427"/>
                      <a:gd name="connsiteY1" fmla="*/ 142874 h 263525"/>
                      <a:gd name="connsiteX2" fmla="*/ 271464 w 352427"/>
                      <a:gd name="connsiteY2" fmla="*/ 263525 h 263525"/>
                      <a:gd name="connsiteX3" fmla="*/ 0 w 352427"/>
                      <a:gd name="connsiteY3" fmla="*/ 139700 h 263525"/>
                      <a:gd name="connsiteX4" fmla="*/ 104776 w 352427"/>
                      <a:gd name="connsiteY4" fmla="*/ 0 h 263525"/>
                      <a:gd name="connsiteX0" fmla="*/ 104776 w 345283"/>
                      <a:gd name="connsiteY0" fmla="*/ 0 h 263525"/>
                      <a:gd name="connsiteX1" fmla="*/ 345283 w 345283"/>
                      <a:gd name="connsiteY1" fmla="*/ 133349 h 263525"/>
                      <a:gd name="connsiteX2" fmla="*/ 271464 w 345283"/>
                      <a:gd name="connsiteY2" fmla="*/ 263525 h 263525"/>
                      <a:gd name="connsiteX3" fmla="*/ 0 w 345283"/>
                      <a:gd name="connsiteY3" fmla="*/ 139700 h 263525"/>
                      <a:gd name="connsiteX4" fmla="*/ 104776 w 345283"/>
                      <a:gd name="connsiteY4" fmla="*/ 0 h 263525"/>
                      <a:gd name="connsiteX0" fmla="*/ 104776 w 345283"/>
                      <a:gd name="connsiteY0" fmla="*/ 0 h 263525"/>
                      <a:gd name="connsiteX1" fmla="*/ 345283 w 345283"/>
                      <a:gd name="connsiteY1" fmla="*/ 133349 h 263525"/>
                      <a:gd name="connsiteX2" fmla="*/ 271464 w 345283"/>
                      <a:gd name="connsiteY2" fmla="*/ 263525 h 263525"/>
                      <a:gd name="connsiteX3" fmla="*/ 0 w 345283"/>
                      <a:gd name="connsiteY3" fmla="*/ 139700 h 263525"/>
                      <a:gd name="connsiteX4" fmla="*/ 104776 w 345283"/>
                      <a:gd name="connsiteY4" fmla="*/ 0 h 263525"/>
                      <a:gd name="connsiteX0" fmla="*/ 104776 w 345283"/>
                      <a:gd name="connsiteY0" fmla="*/ 0 h 263525"/>
                      <a:gd name="connsiteX1" fmla="*/ 345283 w 345283"/>
                      <a:gd name="connsiteY1" fmla="*/ 133349 h 263525"/>
                      <a:gd name="connsiteX2" fmla="*/ 271464 w 345283"/>
                      <a:gd name="connsiteY2" fmla="*/ 263525 h 263525"/>
                      <a:gd name="connsiteX3" fmla="*/ 0 w 345283"/>
                      <a:gd name="connsiteY3" fmla="*/ 139700 h 263525"/>
                      <a:gd name="connsiteX4" fmla="*/ 104776 w 345283"/>
                      <a:gd name="connsiteY4" fmla="*/ 0 h 263525"/>
                      <a:gd name="connsiteX0" fmla="*/ 104776 w 345283"/>
                      <a:gd name="connsiteY0" fmla="*/ 0 h 251619"/>
                      <a:gd name="connsiteX1" fmla="*/ 345283 w 345283"/>
                      <a:gd name="connsiteY1" fmla="*/ 133349 h 251619"/>
                      <a:gd name="connsiteX2" fmla="*/ 266702 w 345283"/>
                      <a:gd name="connsiteY2" fmla="*/ 251619 h 251619"/>
                      <a:gd name="connsiteX3" fmla="*/ 0 w 345283"/>
                      <a:gd name="connsiteY3" fmla="*/ 139700 h 251619"/>
                      <a:gd name="connsiteX4" fmla="*/ 104776 w 345283"/>
                      <a:gd name="connsiteY4" fmla="*/ 0 h 251619"/>
                      <a:gd name="connsiteX0" fmla="*/ 104776 w 345283"/>
                      <a:gd name="connsiteY0" fmla="*/ 0 h 251619"/>
                      <a:gd name="connsiteX1" fmla="*/ 345283 w 345283"/>
                      <a:gd name="connsiteY1" fmla="*/ 133349 h 251619"/>
                      <a:gd name="connsiteX2" fmla="*/ 266702 w 345283"/>
                      <a:gd name="connsiteY2" fmla="*/ 251619 h 251619"/>
                      <a:gd name="connsiteX3" fmla="*/ 0 w 345283"/>
                      <a:gd name="connsiteY3" fmla="*/ 139700 h 251619"/>
                      <a:gd name="connsiteX4" fmla="*/ 104776 w 345283"/>
                      <a:gd name="connsiteY4" fmla="*/ 0 h 251619"/>
                      <a:gd name="connsiteX0" fmla="*/ 104776 w 345283"/>
                      <a:gd name="connsiteY0" fmla="*/ 0 h 251619"/>
                      <a:gd name="connsiteX1" fmla="*/ 345283 w 345283"/>
                      <a:gd name="connsiteY1" fmla="*/ 133349 h 251619"/>
                      <a:gd name="connsiteX2" fmla="*/ 266702 w 345283"/>
                      <a:gd name="connsiteY2" fmla="*/ 251619 h 251619"/>
                      <a:gd name="connsiteX3" fmla="*/ 0 w 345283"/>
                      <a:gd name="connsiteY3" fmla="*/ 139700 h 251619"/>
                      <a:gd name="connsiteX4" fmla="*/ 104776 w 345283"/>
                      <a:gd name="connsiteY4" fmla="*/ 0 h 251619"/>
                      <a:gd name="connsiteX0" fmla="*/ 104776 w 345283"/>
                      <a:gd name="connsiteY0" fmla="*/ 0 h 254000"/>
                      <a:gd name="connsiteX1" fmla="*/ 345283 w 345283"/>
                      <a:gd name="connsiteY1" fmla="*/ 133349 h 254000"/>
                      <a:gd name="connsiteX2" fmla="*/ 261939 w 345283"/>
                      <a:gd name="connsiteY2" fmla="*/ 254000 h 254000"/>
                      <a:gd name="connsiteX3" fmla="*/ 0 w 345283"/>
                      <a:gd name="connsiteY3" fmla="*/ 139700 h 254000"/>
                      <a:gd name="connsiteX4" fmla="*/ 104776 w 345283"/>
                      <a:gd name="connsiteY4" fmla="*/ 0 h 254000"/>
                      <a:gd name="connsiteX0" fmla="*/ 104776 w 345283"/>
                      <a:gd name="connsiteY0" fmla="*/ 0 h 254000"/>
                      <a:gd name="connsiteX1" fmla="*/ 345283 w 345283"/>
                      <a:gd name="connsiteY1" fmla="*/ 133349 h 254000"/>
                      <a:gd name="connsiteX2" fmla="*/ 261939 w 345283"/>
                      <a:gd name="connsiteY2" fmla="*/ 254000 h 254000"/>
                      <a:gd name="connsiteX3" fmla="*/ 0 w 345283"/>
                      <a:gd name="connsiteY3" fmla="*/ 139700 h 254000"/>
                      <a:gd name="connsiteX4" fmla="*/ 104776 w 345283"/>
                      <a:gd name="connsiteY4" fmla="*/ 0 h 254000"/>
                      <a:gd name="connsiteX0" fmla="*/ 104776 w 345283"/>
                      <a:gd name="connsiteY0" fmla="*/ 0 h 254000"/>
                      <a:gd name="connsiteX1" fmla="*/ 345283 w 345283"/>
                      <a:gd name="connsiteY1" fmla="*/ 133349 h 254000"/>
                      <a:gd name="connsiteX2" fmla="*/ 261939 w 345283"/>
                      <a:gd name="connsiteY2" fmla="*/ 254000 h 254000"/>
                      <a:gd name="connsiteX3" fmla="*/ 0 w 345283"/>
                      <a:gd name="connsiteY3" fmla="*/ 139700 h 254000"/>
                      <a:gd name="connsiteX4" fmla="*/ 104776 w 345283"/>
                      <a:gd name="connsiteY4" fmla="*/ 0 h 254000"/>
                      <a:gd name="connsiteX0" fmla="*/ 104776 w 345283"/>
                      <a:gd name="connsiteY0" fmla="*/ 0 h 254000"/>
                      <a:gd name="connsiteX1" fmla="*/ 345283 w 345283"/>
                      <a:gd name="connsiteY1" fmla="*/ 133349 h 254000"/>
                      <a:gd name="connsiteX2" fmla="*/ 261939 w 345283"/>
                      <a:gd name="connsiteY2" fmla="*/ 254000 h 254000"/>
                      <a:gd name="connsiteX3" fmla="*/ 0 w 345283"/>
                      <a:gd name="connsiteY3" fmla="*/ 139700 h 254000"/>
                      <a:gd name="connsiteX4" fmla="*/ 104776 w 345283"/>
                      <a:gd name="connsiteY4" fmla="*/ 0 h 254000"/>
                      <a:gd name="connsiteX0" fmla="*/ 104776 w 345283"/>
                      <a:gd name="connsiteY0" fmla="*/ 0 h 256381"/>
                      <a:gd name="connsiteX1" fmla="*/ 345283 w 345283"/>
                      <a:gd name="connsiteY1" fmla="*/ 133349 h 256381"/>
                      <a:gd name="connsiteX2" fmla="*/ 266702 w 345283"/>
                      <a:gd name="connsiteY2" fmla="*/ 256381 h 256381"/>
                      <a:gd name="connsiteX3" fmla="*/ 0 w 345283"/>
                      <a:gd name="connsiteY3" fmla="*/ 139700 h 256381"/>
                      <a:gd name="connsiteX4" fmla="*/ 104776 w 345283"/>
                      <a:gd name="connsiteY4" fmla="*/ 0 h 256381"/>
                      <a:gd name="connsiteX0" fmla="*/ 104776 w 345283"/>
                      <a:gd name="connsiteY0" fmla="*/ 0 h 256381"/>
                      <a:gd name="connsiteX1" fmla="*/ 345283 w 345283"/>
                      <a:gd name="connsiteY1" fmla="*/ 133349 h 256381"/>
                      <a:gd name="connsiteX2" fmla="*/ 266702 w 345283"/>
                      <a:gd name="connsiteY2" fmla="*/ 256381 h 256381"/>
                      <a:gd name="connsiteX3" fmla="*/ 0 w 345283"/>
                      <a:gd name="connsiteY3" fmla="*/ 139700 h 256381"/>
                      <a:gd name="connsiteX4" fmla="*/ 104776 w 345283"/>
                      <a:gd name="connsiteY4" fmla="*/ 0 h 256381"/>
                      <a:gd name="connsiteX0" fmla="*/ 104776 w 345283"/>
                      <a:gd name="connsiteY0" fmla="*/ 0 h 251619"/>
                      <a:gd name="connsiteX1" fmla="*/ 345283 w 345283"/>
                      <a:gd name="connsiteY1" fmla="*/ 133349 h 251619"/>
                      <a:gd name="connsiteX2" fmla="*/ 266702 w 345283"/>
                      <a:gd name="connsiteY2" fmla="*/ 251619 h 251619"/>
                      <a:gd name="connsiteX3" fmla="*/ 0 w 345283"/>
                      <a:gd name="connsiteY3" fmla="*/ 139700 h 251619"/>
                      <a:gd name="connsiteX4" fmla="*/ 104776 w 345283"/>
                      <a:gd name="connsiteY4" fmla="*/ 0 h 251619"/>
                      <a:gd name="connsiteX0" fmla="*/ 104776 w 345283"/>
                      <a:gd name="connsiteY0" fmla="*/ 0 h 256381"/>
                      <a:gd name="connsiteX1" fmla="*/ 345283 w 345283"/>
                      <a:gd name="connsiteY1" fmla="*/ 133349 h 256381"/>
                      <a:gd name="connsiteX2" fmla="*/ 266702 w 345283"/>
                      <a:gd name="connsiteY2" fmla="*/ 256381 h 256381"/>
                      <a:gd name="connsiteX3" fmla="*/ 0 w 345283"/>
                      <a:gd name="connsiteY3" fmla="*/ 139700 h 256381"/>
                      <a:gd name="connsiteX4" fmla="*/ 104776 w 345283"/>
                      <a:gd name="connsiteY4" fmla="*/ 0 h 256381"/>
                      <a:gd name="connsiteX0" fmla="*/ 104776 w 345283"/>
                      <a:gd name="connsiteY0" fmla="*/ 0 h 256381"/>
                      <a:gd name="connsiteX1" fmla="*/ 345283 w 345283"/>
                      <a:gd name="connsiteY1" fmla="*/ 133349 h 256381"/>
                      <a:gd name="connsiteX2" fmla="*/ 266702 w 345283"/>
                      <a:gd name="connsiteY2" fmla="*/ 256381 h 256381"/>
                      <a:gd name="connsiteX3" fmla="*/ 0 w 345283"/>
                      <a:gd name="connsiteY3" fmla="*/ 139700 h 256381"/>
                      <a:gd name="connsiteX4" fmla="*/ 104776 w 345283"/>
                      <a:gd name="connsiteY4" fmla="*/ 0 h 256381"/>
                      <a:gd name="connsiteX0" fmla="*/ 104776 w 345283"/>
                      <a:gd name="connsiteY0" fmla="*/ 0 h 256381"/>
                      <a:gd name="connsiteX1" fmla="*/ 345283 w 345283"/>
                      <a:gd name="connsiteY1" fmla="*/ 133349 h 256381"/>
                      <a:gd name="connsiteX2" fmla="*/ 266702 w 345283"/>
                      <a:gd name="connsiteY2" fmla="*/ 256381 h 256381"/>
                      <a:gd name="connsiteX3" fmla="*/ 0 w 345283"/>
                      <a:gd name="connsiteY3" fmla="*/ 139700 h 256381"/>
                      <a:gd name="connsiteX4" fmla="*/ 104776 w 345283"/>
                      <a:gd name="connsiteY4" fmla="*/ 0 h 256381"/>
                      <a:gd name="connsiteX0" fmla="*/ 107157 w 345283"/>
                      <a:gd name="connsiteY0" fmla="*/ 0 h 258762"/>
                      <a:gd name="connsiteX1" fmla="*/ 345283 w 345283"/>
                      <a:gd name="connsiteY1" fmla="*/ 135730 h 258762"/>
                      <a:gd name="connsiteX2" fmla="*/ 266702 w 345283"/>
                      <a:gd name="connsiteY2" fmla="*/ 258762 h 258762"/>
                      <a:gd name="connsiteX3" fmla="*/ 0 w 345283"/>
                      <a:gd name="connsiteY3" fmla="*/ 142081 h 258762"/>
                      <a:gd name="connsiteX4" fmla="*/ 107157 w 345283"/>
                      <a:gd name="connsiteY4" fmla="*/ 0 h 258762"/>
                      <a:gd name="connsiteX0" fmla="*/ 107157 w 345283"/>
                      <a:gd name="connsiteY0" fmla="*/ 0 h 258762"/>
                      <a:gd name="connsiteX1" fmla="*/ 345283 w 345283"/>
                      <a:gd name="connsiteY1" fmla="*/ 135730 h 258762"/>
                      <a:gd name="connsiteX2" fmla="*/ 266702 w 345283"/>
                      <a:gd name="connsiteY2" fmla="*/ 258762 h 258762"/>
                      <a:gd name="connsiteX3" fmla="*/ 0 w 345283"/>
                      <a:gd name="connsiteY3" fmla="*/ 142081 h 258762"/>
                      <a:gd name="connsiteX4" fmla="*/ 107157 w 345283"/>
                      <a:gd name="connsiteY4" fmla="*/ 0 h 258762"/>
                      <a:gd name="connsiteX0" fmla="*/ 107157 w 345283"/>
                      <a:gd name="connsiteY0" fmla="*/ 0 h 258762"/>
                      <a:gd name="connsiteX1" fmla="*/ 345283 w 345283"/>
                      <a:gd name="connsiteY1" fmla="*/ 135730 h 258762"/>
                      <a:gd name="connsiteX2" fmla="*/ 266702 w 345283"/>
                      <a:gd name="connsiteY2" fmla="*/ 258762 h 258762"/>
                      <a:gd name="connsiteX3" fmla="*/ 0 w 345283"/>
                      <a:gd name="connsiteY3" fmla="*/ 142081 h 258762"/>
                      <a:gd name="connsiteX4" fmla="*/ 107157 w 345283"/>
                      <a:gd name="connsiteY4" fmla="*/ 0 h 258762"/>
                      <a:gd name="connsiteX0" fmla="*/ 107157 w 345322"/>
                      <a:gd name="connsiteY0" fmla="*/ 0 h 258762"/>
                      <a:gd name="connsiteX1" fmla="*/ 345283 w 345322"/>
                      <a:gd name="connsiteY1" fmla="*/ 135730 h 258762"/>
                      <a:gd name="connsiteX2" fmla="*/ 266702 w 345322"/>
                      <a:gd name="connsiteY2" fmla="*/ 258762 h 258762"/>
                      <a:gd name="connsiteX3" fmla="*/ 0 w 345322"/>
                      <a:gd name="connsiteY3" fmla="*/ 142081 h 258762"/>
                      <a:gd name="connsiteX4" fmla="*/ 107157 w 345322"/>
                      <a:gd name="connsiteY4" fmla="*/ 0 h 258762"/>
                      <a:gd name="connsiteX0" fmla="*/ 107157 w 345321"/>
                      <a:gd name="connsiteY0" fmla="*/ 0 h 258762"/>
                      <a:gd name="connsiteX1" fmla="*/ 345283 w 345321"/>
                      <a:gd name="connsiteY1" fmla="*/ 135730 h 258762"/>
                      <a:gd name="connsiteX2" fmla="*/ 264321 w 345321"/>
                      <a:gd name="connsiteY2" fmla="*/ 258762 h 258762"/>
                      <a:gd name="connsiteX3" fmla="*/ 0 w 345321"/>
                      <a:gd name="connsiteY3" fmla="*/ 142081 h 258762"/>
                      <a:gd name="connsiteX4" fmla="*/ 107157 w 345321"/>
                      <a:gd name="connsiteY4" fmla="*/ 0 h 258762"/>
                      <a:gd name="connsiteX0" fmla="*/ 107157 w 345319"/>
                      <a:gd name="connsiteY0" fmla="*/ 0 h 258762"/>
                      <a:gd name="connsiteX1" fmla="*/ 345283 w 345319"/>
                      <a:gd name="connsiteY1" fmla="*/ 135730 h 258762"/>
                      <a:gd name="connsiteX2" fmla="*/ 264321 w 345319"/>
                      <a:gd name="connsiteY2" fmla="*/ 258762 h 258762"/>
                      <a:gd name="connsiteX3" fmla="*/ 0 w 345319"/>
                      <a:gd name="connsiteY3" fmla="*/ 142081 h 258762"/>
                      <a:gd name="connsiteX4" fmla="*/ 107157 w 345319"/>
                      <a:gd name="connsiteY4" fmla="*/ 0 h 258762"/>
                      <a:gd name="connsiteX0" fmla="*/ 107157 w 345283"/>
                      <a:gd name="connsiteY0" fmla="*/ 0 h 258762"/>
                      <a:gd name="connsiteX1" fmla="*/ 345283 w 345283"/>
                      <a:gd name="connsiteY1" fmla="*/ 135730 h 258762"/>
                      <a:gd name="connsiteX2" fmla="*/ 264321 w 345283"/>
                      <a:gd name="connsiteY2" fmla="*/ 258762 h 258762"/>
                      <a:gd name="connsiteX3" fmla="*/ 0 w 345283"/>
                      <a:gd name="connsiteY3" fmla="*/ 142081 h 258762"/>
                      <a:gd name="connsiteX4" fmla="*/ 107157 w 345283"/>
                      <a:gd name="connsiteY4" fmla="*/ 0 h 258762"/>
                      <a:gd name="connsiteX0" fmla="*/ 107157 w 345283"/>
                      <a:gd name="connsiteY0" fmla="*/ 0 h 258762"/>
                      <a:gd name="connsiteX1" fmla="*/ 345283 w 345283"/>
                      <a:gd name="connsiteY1" fmla="*/ 135730 h 258762"/>
                      <a:gd name="connsiteX2" fmla="*/ 264321 w 345283"/>
                      <a:gd name="connsiteY2" fmla="*/ 258762 h 258762"/>
                      <a:gd name="connsiteX3" fmla="*/ 0 w 345283"/>
                      <a:gd name="connsiteY3" fmla="*/ 142081 h 258762"/>
                      <a:gd name="connsiteX4" fmla="*/ 107157 w 345283"/>
                      <a:gd name="connsiteY4" fmla="*/ 0 h 258762"/>
                      <a:gd name="connsiteX0" fmla="*/ 107157 w 345283"/>
                      <a:gd name="connsiteY0" fmla="*/ 0 h 258762"/>
                      <a:gd name="connsiteX1" fmla="*/ 345283 w 345283"/>
                      <a:gd name="connsiteY1" fmla="*/ 135730 h 258762"/>
                      <a:gd name="connsiteX2" fmla="*/ 264321 w 345283"/>
                      <a:gd name="connsiteY2" fmla="*/ 258762 h 258762"/>
                      <a:gd name="connsiteX3" fmla="*/ 0 w 345283"/>
                      <a:gd name="connsiteY3" fmla="*/ 142081 h 258762"/>
                      <a:gd name="connsiteX4" fmla="*/ 107157 w 345283"/>
                      <a:gd name="connsiteY4" fmla="*/ 0 h 258762"/>
                      <a:gd name="connsiteX0" fmla="*/ 107157 w 345283"/>
                      <a:gd name="connsiteY0" fmla="*/ 0 h 258762"/>
                      <a:gd name="connsiteX1" fmla="*/ 345283 w 345283"/>
                      <a:gd name="connsiteY1" fmla="*/ 135730 h 258762"/>
                      <a:gd name="connsiteX2" fmla="*/ 264321 w 345283"/>
                      <a:gd name="connsiteY2" fmla="*/ 258762 h 258762"/>
                      <a:gd name="connsiteX3" fmla="*/ 0 w 345283"/>
                      <a:gd name="connsiteY3" fmla="*/ 142081 h 258762"/>
                      <a:gd name="connsiteX4" fmla="*/ 107157 w 345283"/>
                      <a:gd name="connsiteY4" fmla="*/ 0 h 258762"/>
                      <a:gd name="connsiteX0" fmla="*/ 107157 w 345283"/>
                      <a:gd name="connsiteY0" fmla="*/ 0 h 258762"/>
                      <a:gd name="connsiteX1" fmla="*/ 345283 w 345283"/>
                      <a:gd name="connsiteY1" fmla="*/ 135730 h 258762"/>
                      <a:gd name="connsiteX2" fmla="*/ 264321 w 345283"/>
                      <a:gd name="connsiteY2" fmla="*/ 258762 h 258762"/>
                      <a:gd name="connsiteX3" fmla="*/ 0 w 345283"/>
                      <a:gd name="connsiteY3" fmla="*/ 142081 h 258762"/>
                      <a:gd name="connsiteX4" fmla="*/ 107157 w 345283"/>
                      <a:gd name="connsiteY4" fmla="*/ 0 h 258762"/>
                      <a:gd name="connsiteX0" fmla="*/ 102394 w 345283"/>
                      <a:gd name="connsiteY0" fmla="*/ 0 h 258762"/>
                      <a:gd name="connsiteX1" fmla="*/ 345283 w 345283"/>
                      <a:gd name="connsiteY1" fmla="*/ 135730 h 258762"/>
                      <a:gd name="connsiteX2" fmla="*/ 264321 w 345283"/>
                      <a:gd name="connsiteY2" fmla="*/ 258762 h 258762"/>
                      <a:gd name="connsiteX3" fmla="*/ 0 w 345283"/>
                      <a:gd name="connsiteY3" fmla="*/ 142081 h 258762"/>
                      <a:gd name="connsiteX4" fmla="*/ 102394 w 345283"/>
                      <a:gd name="connsiteY4" fmla="*/ 0 h 258762"/>
                      <a:gd name="connsiteX0" fmla="*/ 102394 w 345283"/>
                      <a:gd name="connsiteY0" fmla="*/ 0 h 258762"/>
                      <a:gd name="connsiteX1" fmla="*/ 345283 w 345283"/>
                      <a:gd name="connsiteY1" fmla="*/ 135730 h 258762"/>
                      <a:gd name="connsiteX2" fmla="*/ 264321 w 345283"/>
                      <a:gd name="connsiteY2" fmla="*/ 258762 h 258762"/>
                      <a:gd name="connsiteX3" fmla="*/ 0 w 345283"/>
                      <a:gd name="connsiteY3" fmla="*/ 142081 h 258762"/>
                      <a:gd name="connsiteX4" fmla="*/ 102394 w 345283"/>
                      <a:gd name="connsiteY4" fmla="*/ 0 h 258762"/>
                      <a:gd name="connsiteX0" fmla="*/ 102394 w 345283"/>
                      <a:gd name="connsiteY0" fmla="*/ 0 h 261143"/>
                      <a:gd name="connsiteX1" fmla="*/ 345283 w 345283"/>
                      <a:gd name="connsiteY1" fmla="*/ 138111 h 261143"/>
                      <a:gd name="connsiteX2" fmla="*/ 264321 w 345283"/>
                      <a:gd name="connsiteY2" fmla="*/ 261143 h 261143"/>
                      <a:gd name="connsiteX3" fmla="*/ 0 w 345283"/>
                      <a:gd name="connsiteY3" fmla="*/ 144462 h 261143"/>
                      <a:gd name="connsiteX4" fmla="*/ 102394 w 345283"/>
                      <a:gd name="connsiteY4" fmla="*/ 0 h 261143"/>
                      <a:gd name="connsiteX0" fmla="*/ 102394 w 345283"/>
                      <a:gd name="connsiteY0" fmla="*/ 0 h 261143"/>
                      <a:gd name="connsiteX1" fmla="*/ 345283 w 345283"/>
                      <a:gd name="connsiteY1" fmla="*/ 138111 h 261143"/>
                      <a:gd name="connsiteX2" fmla="*/ 264321 w 345283"/>
                      <a:gd name="connsiteY2" fmla="*/ 261143 h 261143"/>
                      <a:gd name="connsiteX3" fmla="*/ 0 w 345283"/>
                      <a:gd name="connsiteY3" fmla="*/ 144462 h 261143"/>
                      <a:gd name="connsiteX4" fmla="*/ 102394 w 345283"/>
                      <a:gd name="connsiteY4" fmla="*/ 0 h 261143"/>
                      <a:gd name="connsiteX0" fmla="*/ 102394 w 345283"/>
                      <a:gd name="connsiteY0" fmla="*/ 0 h 261143"/>
                      <a:gd name="connsiteX1" fmla="*/ 345283 w 345283"/>
                      <a:gd name="connsiteY1" fmla="*/ 138111 h 261143"/>
                      <a:gd name="connsiteX2" fmla="*/ 264321 w 345283"/>
                      <a:gd name="connsiteY2" fmla="*/ 261143 h 261143"/>
                      <a:gd name="connsiteX3" fmla="*/ 0 w 345283"/>
                      <a:gd name="connsiteY3" fmla="*/ 144462 h 261143"/>
                      <a:gd name="connsiteX4" fmla="*/ 102394 w 345283"/>
                      <a:gd name="connsiteY4" fmla="*/ 0 h 261143"/>
                      <a:gd name="connsiteX0" fmla="*/ 102394 w 345283"/>
                      <a:gd name="connsiteY0" fmla="*/ 0 h 261143"/>
                      <a:gd name="connsiteX1" fmla="*/ 345283 w 345283"/>
                      <a:gd name="connsiteY1" fmla="*/ 138111 h 261143"/>
                      <a:gd name="connsiteX2" fmla="*/ 264321 w 345283"/>
                      <a:gd name="connsiteY2" fmla="*/ 261143 h 261143"/>
                      <a:gd name="connsiteX3" fmla="*/ 0 w 345283"/>
                      <a:gd name="connsiteY3" fmla="*/ 144462 h 261143"/>
                      <a:gd name="connsiteX4" fmla="*/ 102394 w 345283"/>
                      <a:gd name="connsiteY4" fmla="*/ 0 h 261143"/>
                      <a:gd name="connsiteX0" fmla="*/ 102394 w 345283"/>
                      <a:gd name="connsiteY0" fmla="*/ 0 h 261143"/>
                      <a:gd name="connsiteX1" fmla="*/ 345283 w 345283"/>
                      <a:gd name="connsiteY1" fmla="*/ 138111 h 261143"/>
                      <a:gd name="connsiteX2" fmla="*/ 264321 w 345283"/>
                      <a:gd name="connsiteY2" fmla="*/ 261143 h 261143"/>
                      <a:gd name="connsiteX3" fmla="*/ 0 w 345283"/>
                      <a:gd name="connsiteY3" fmla="*/ 144462 h 261143"/>
                      <a:gd name="connsiteX4" fmla="*/ 102394 w 345283"/>
                      <a:gd name="connsiteY4" fmla="*/ 0 h 261143"/>
                      <a:gd name="connsiteX0" fmla="*/ 102394 w 345283"/>
                      <a:gd name="connsiteY0" fmla="*/ 0 h 261143"/>
                      <a:gd name="connsiteX1" fmla="*/ 345283 w 345283"/>
                      <a:gd name="connsiteY1" fmla="*/ 138111 h 261143"/>
                      <a:gd name="connsiteX2" fmla="*/ 264321 w 345283"/>
                      <a:gd name="connsiteY2" fmla="*/ 261143 h 261143"/>
                      <a:gd name="connsiteX3" fmla="*/ 0 w 345283"/>
                      <a:gd name="connsiteY3" fmla="*/ 144462 h 261143"/>
                      <a:gd name="connsiteX4" fmla="*/ 102394 w 345283"/>
                      <a:gd name="connsiteY4" fmla="*/ 0 h 261143"/>
                      <a:gd name="connsiteX0" fmla="*/ 102394 w 345283"/>
                      <a:gd name="connsiteY0" fmla="*/ 0 h 261143"/>
                      <a:gd name="connsiteX1" fmla="*/ 345283 w 345283"/>
                      <a:gd name="connsiteY1" fmla="*/ 138111 h 261143"/>
                      <a:gd name="connsiteX2" fmla="*/ 264321 w 345283"/>
                      <a:gd name="connsiteY2" fmla="*/ 261143 h 261143"/>
                      <a:gd name="connsiteX3" fmla="*/ 0 w 345283"/>
                      <a:gd name="connsiteY3" fmla="*/ 144462 h 261143"/>
                      <a:gd name="connsiteX4" fmla="*/ 102394 w 345283"/>
                      <a:gd name="connsiteY4" fmla="*/ 0 h 261143"/>
                      <a:gd name="connsiteX0" fmla="*/ 92869 w 335758"/>
                      <a:gd name="connsiteY0" fmla="*/ 0 h 261143"/>
                      <a:gd name="connsiteX1" fmla="*/ 335758 w 335758"/>
                      <a:gd name="connsiteY1" fmla="*/ 138111 h 261143"/>
                      <a:gd name="connsiteX2" fmla="*/ 254796 w 335758"/>
                      <a:gd name="connsiteY2" fmla="*/ 261143 h 261143"/>
                      <a:gd name="connsiteX3" fmla="*/ 0 w 335758"/>
                      <a:gd name="connsiteY3" fmla="*/ 134937 h 261143"/>
                      <a:gd name="connsiteX4" fmla="*/ 92869 w 335758"/>
                      <a:gd name="connsiteY4" fmla="*/ 0 h 261143"/>
                      <a:gd name="connsiteX0" fmla="*/ 92869 w 335758"/>
                      <a:gd name="connsiteY0" fmla="*/ 0 h 261143"/>
                      <a:gd name="connsiteX1" fmla="*/ 335758 w 335758"/>
                      <a:gd name="connsiteY1" fmla="*/ 138111 h 261143"/>
                      <a:gd name="connsiteX2" fmla="*/ 254796 w 335758"/>
                      <a:gd name="connsiteY2" fmla="*/ 261143 h 261143"/>
                      <a:gd name="connsiteX3" fmla="*/ 0 w 335758"/>
                      <a:gd name="connsiteY3" fmla="*/ 132556 h 261143"/>
                      <a:gd name="connsiteX4" fmla="*/ 92869 w 335758"/>
                      <a:gd name="connsiteY4" fmla="*/ 0 h 261143"/>
                      <a:gd name="connsiteX0" fmla="*/ 90488 w 333377"/>
                      <a:gd name="connsiteY0" fmla="*/ 0 h 261143"/>
                      <a:gd name="connsiteX1" fmla="*/ 333377 w 333377"/>
                      <a:gd name="connsiteY1" fmla="*/ 138111 h 261143"/>
                      <a:gd name="connsiteX2" fmla="*/ 252415 w 333377"/>
                      <a:gd name="connsiteY2" fmla="*/ 261143 h 261143"/>
                      <a:gd name="connsiteX3" fmla="*/ 0 w 333377"/>
                      <a:gd name="connsiteY3" fmla="*/ 139700 h 261143"/>
                      <a:gd name="connsiteX4" fmla="*/ 90488 w 333377"/>
                      <a:gd name="connsiteY4" fmla="*/ 0 h 261143"/>
                      <a:gd name="connsiteX0" fmla="*/ 90488 w 333377"/>
                      <a:gd name="connsiteY0" fmla="*/ 0 h 261143"/>
                      <a:gd name="connsiteX1" fmla="*/ 333377 w 333377"/>
                      <a:gd name="connsiteY1" fmla="*/ 138111 h 261143"/>
                      <a:gd name="connsiteX2" fmla="*/ 252415 w 333377"/>
                      <a:gd name="connsiteY2" fmla="*/ 261143 h 261143"/>
                      <a:gd name="connsiteX3" fmla="*/ 0 w 333377"/>
                      <a:gd name="connsiteY3" fmla="*/ 139700 h 261143"/>
                      <a:gd name="connsiteX4" fmla="*/ 90488 w 333377"/>
                      <a:gd name="connsiteY4" fmla="*/ 0 h 261143"/>
                      <a:gd name="connsiteX0" fmla="*/ 90488 w 333377"/>
                      <a:gd name="connsiteY0" fmla="*/ 0 h 261143"/>
                      <a:gd name="connsiteX1" fmla="*/ 333377 w 333377"/>
                      <a:gd name="connsiteY1" fmla="*/ 138111 h 261143"/>
                      <a:gd name="connsiteX2" fmla="*/ 252415 w 333377"/>
                      <a:gd name="connsiteY2" fmla="*/ 261143 h 261143"/>
                      <a:gd name="connsiteX3" fmla="*/ 0 w 333377"/>
                      <a:gd name="connsiteY3" fmla="*/ 139700 h 261143"/>
                      <a:gd name="connsiteX4" fmla="*/ 90488 w 333377"/>
                      <a:gd name="connsiteY4" fmla="*/ 0 h 261143"/>
                      <a:gd name="connsiteX0" fmla="*/ 90488 w 333377"/>
                      <a:gd name="connsiteY0" fmla="*/ 0 h 261143"/>
                      <a:gd name="connsiteX1" fmla="*/ 333377 w 333377"/>
                      <a:gd name="connsiteY1" fmla="*/ 138111 h 261143"/>
                      <a:gd name="connsiteX2" fmla="*/ 252415 w 333377"/>
                      <a:gd name="connsiteY2" fmla="*/ 261143 h 261143"/>
                      <a:gd name="connsiteX3" fmla="*/ 0 w 333377"/>
                      <a:gd name="connsiteY3" fmla="*/ 142082 h 261143"/>
                      <a:gd name="connsiteX4" fmla="*/ 90488 w 333377"/>
                      <a:gd name="connsiteY4" fmla="*/ 0 h 261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7" h="261143">
                        <a:moveTo>
                          <a:pt x="90488" y="0"/>
                        </a:moveTo>
                        <a:cubicBezTo>
                          <a:pt x="180182" y="38099"/>
                          <a:pt x="284165" y="100011"/>
                          <a:pt x="333377" y="138111"/>
                        </a:cubicBezTo>
                        <a:cubicBezTo>
                          <a:pt x="325440" y="214840"/>
                          <a:pt x="284164" y="246326"/>
                          <a:pt x="252415" y="261143"/>
                        </a:cubicBezTo>
                        <a:cubicBezTo>
                          <a:pt x="202408" y="250824"/>
                          <a:pt x="107158" y="197645"/>
                          <a:pt x="0" y="142082"/>
                        </a:cubicBezTo>
                        <a:cubicBezTo>
                          <a:pt x="63500" y="155047"/>
                          <a:pt x="98426" y="48949"/>
                          <a:pt x="90488" y="0"/>
                        </a:cubicBezTo>
                        <a:close/>
                      </a:path>
                    </a:pathLst>
                  </a:custGeom>
                  <a:solidFill>
                    <a:srgbClr val="BFBFB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82" name="Rectangle 16"/>
                  <p:cNvSpPr/>
                  <p:nvPr/>
                </p:nvSpPr>
                <p:spPr>
                  <a:xfrm rot="1545906" flipH="1">
                    <a:off x="5620764" y="3140350"/>
                    <a:ext cx="143209" cy="155806"/>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4368"/>
                      <a:gd name="connsiteY0" fmla="*/ 0 h 368300"/>
                      <a:gd name="connsiteX1" fmla="*/ 664368 w 664368"/>
                      <a:gd name="connsiteY1" fmla="*/ 235744 h 368300"/>
                      <a:gd name="connsiteX2" fmla="*/ 571500 w 664368"/>
                      <a:gd name="connsiteY2" fmla="*/ 368300 h 368300"/>
                      <a:gd name="connsiteX3" fmla="*/ 0 w 664368"/>
                      <a:gd name="connsiteY3" fmla="*/ 368300 h 368300"/>
                      <a:gd name="connsiteX4" fmla="*/ 0 w 664368"/>
                      <a:gd name="connsiteY4" fmla="*/ 0 h 368300"/>
                      <a:gd name="connsiteX0" fmla="*/ 0 w 671347"/>
                      <a:gd name="connsiteY0" fmla="*/ 0 h 368300"/>
                      <a:gd name="connsiteX1" fmla="*/ 664368 w 671347"/>
                      <a:gd name="connsiteY1" fmla="*/ 235744 h 368300"/>
                      <a:gd name="connsiteX2" fmla="*/ 571500 w 671347"/>
                      <a:gd name="connsiteY2" fmla="*/ 368300 h 368300"/>
                      <a:gd name="connsiteX3" fmla="*/ 0 w 671347"/>
                      <a:gd name="connsiteY3" fmla="*/ 368300 h 368300"/>
                      <a:gd name="connsiteX4" fmla="*/ 0 w 671347"/>
                      <a:gd name="connsiteY4" fmla="*/ 0 h 368300"/>
                      <a:gd name="connsiteX0" fmla="*/ 0 w 664610"/>
                      <a:gd name="connsiteY0" fmla="*/ 0 h 368300"/>
                      <a:gd name="connsiteX1" fmla="*/ 664368 w 664610"/>
                      <a:gd name="connsiteY1" fmla="*/ 235744 h 368300"/>
                      <a:gd name="connsiteX2" fmla="*/ 571500 w 664610"/>
                      <a:gd name="connsiteY2" fmla="*/ 368300 h 368300"/>
                      <a:gd name="connsiteX3" fmla="*/ 0 w 664610"/>
                      <a:gd name="connsiteY3" fmla="*/ 368300 h 368300"/>
                      <a:gd name="connsiteX4" fmla="*/ 0 w 664610"/>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490538 w 664748"/>
                      <a:gd name="connsiteY0" fmla="*/ 0 h 215900"/>
                      <a:gd name="connsiteX1" fmla="*/ 664368 w 664748"/>
                      <a:gd name="connsiteY1" fmla="*/ 83344 h 215900"/>
                      <a:gd name="connsiteX2" fmla="*/ 571500 w 664748"/>
                      <a:gd name="connsiteY2" fmla="*/ 215900 h 215900"/>
                      <a:gd name="connsiteX3" fmla="*/ 0 w 664748"/>
                      <a:gd name="connsiteY3" fmla="*/ 215900 h 215900"/>
                      <a:gd name="connsiteX4" fmla="*/ 490538 w 664748"/>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5251 w 271842"/>
                      <a:gd name="connsiteY0" fmla="*/ 0 h 225425"/>
                      <a:gd name="connsiteX1" fmla="*/ 271462 w 271842"/>
                      <a:gd name="connsiteY1" fmla="*/ 92869 h 225425"/>
                      <a:gd name="connsiteX2" fmla="*/ 178594 w 271842"/>
                      <a:gd name="connsiteY2" fmla="*/ 225425 h 225425"/>
                      <a:gd name="connsiteX3" fmla="*/ 0 w 271842"/>
                      <a:gd name="connsiteY3" fmla="*/ 139700 h 225425"/>
                      <a:gd name="connsiteX4" fmla="*/ 95251 w 271842"/>
                      <a:gd name="connsiteY4" fmla="*/ 0 h 225425"/>
                      <a:gd name="connsiteX0" fmla="*/ 92870 w 271842"/>
                      <a:gd name="connsiteY0" fmla="*/ 0 h 220662"/>
                      <a:gd name="connsiteX1" fmla="*/ 271462 w 271842"/>
                      <a:gd name="connsiteY1" fmla="*/ 88106 h 220662"/>
                      <a:gd name="connsiteX2" fmla="*/ 178594 w 271842"/>
                      <a:gd name="connsiteY2" fmla="*/ 220662 h 220662"/>
                      <a:gd name="connsiteX3" fmla="*/ 0 w 271842"/>
                      <a:gd name="connsiteY3" fmla="*/ 134937 h 220662"/>
                      <a:gd name="connsiteX4" fmla="*/ 92870 w 271842"/>
                      <a:gd name="connsiteY4" fmla="*/ 0 h 220662"/>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85726 w 271842"/>
                      <a:gd name="connsiteY0" fmla="*/ 0 h 230186"/>
                      <a:gd name="connsiteX1" fmla="*/ 271462 w 271842"/>
                      <a:gd name="connsiteY1" fmla="*/ 97630 h 230186"/>
                      <a:gd name="connsiteX2" fmla="*/ 178594 w 271842"/>
                      <a:gd name="connsiteY2" fmla="*/ 230186 h 230186"/>
                      <a:gd name="connsiteX3" fmla="*/ 0 w 271842"/>
                      <a:gd name="connsiteY3" fmla="*/ 144461 h 230186"/>
                      <a:gd name="connsiteX4" fmla="*/ 85726 w 271842"/>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2567"/>
                      <a:gd name="connsiteX1" fmla="*/ 285750 w 286111"/>
                      <a:gd name="connsiteY1" fmla="*/ 97630 h 232567"/>
                      <a:gd name="connsiteX2" fmla="*/ 190501 w 286111"/>
                      <a:gd name="connsiteY2" fmla="*/ 232567 h 232567"/>
                      <a:gd name="connsiteX3" fmla="*/ 0 w 286111"/>
                      <a:gd name="connsiteY3" fmla="*/ 153986 h 232567"/>
                      <a:gd name="connsiteX4" fmla="*/ 97633 w 286111"/>
                      <a:gd name="connsiteY4" fmla="*/ 0 h 232567"/>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200027 w 286111"/>
                      <a:gd name="connsiteY0" fmla="*/ 0 h 182561"/>
                      <a:gd name="connsiteX1" fmla="*/ 285750 w 286111"/>
                      <a:gd name="connsiteY1" fmla="*/ 47624 h 182561"/>
                      <a:gd name="connsiteX2" fmla="*/ 190501 w 286111"/>
                      <a:gd name="connsiteY2" fmla="*/ 182561 h 182561"/>
                      <a:gd name="connsiteX3" fmla="*/ 0 w 286111"/>
                      <a:gd name="connsiteY3" fmla="*/ 103980 h 182561"/>
                      <a:gd name="connsiteX4" fmla="*/ 200027 w 286111"/>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2080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66678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66678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6204 w 167050"/>
                      <a:gd name="connsiteY0" fmla="*/ 0 h 182561"/>
                      <a:gd name="connsiteX1" fmla="*/ 166689 w 167050"/>
                      <a:gd name="connsiteY1" fmla="*/ 47624 h 182561"/>
                      <a:gd name="connsiteX2" fmla="*/ 71440 w 167050"/>
                      <a:gd name="connsiteY2" fmla="*/ 182561 h 182561"/>
                      <a:gd name="connsiteX3" fmla="*/ 0 w 167050"/>
                      <a:gd name="connsiteY3" fmla="*/ 144462 h 182561"/>
                      <a:gd name="connsiteX4" fmla="*/ 76204 w 167050"/>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37"/>
                      <a:gd name="connsiteY0" fmla="*/ 0 h 182561"/>
                      <a:gd name="connsiteX1" fmla="*/ 164308 w 164637"/>
                      <a:gd name="connsiteY1" fmla="*/ 47624 h 182561"/>
                      <a:gd name="connsiteX2" fmla="*/ 69059 w 164637"/>
                      <a:gd name="connsiteY2" fmla="*/ 182561 h 182561"/>
                      <a:gd name="connsiteX3" fmla="*/ 0 w 164637"/>
                      <a:gd name="connsiteY3" fmla="*/ 139699 h 182561"/>
                      <a:gd name="connsiteX4" fmla="*/ 73823 w 164637"/>
                      <a:gd name="connsiteY4" fmla="*/ 0 h 182561"/>
                      <a:gd name="connsiteX0" fmla="*/ 73823 w 164623"/>
                      <a:gd name="connsiteY0" fmla="*/ 0 h 182561"/>
                      <a:gd name="connsiteX1" fmla="*/ 164308 w 164623"/>
                      <a:gd name="connsiteY1" fmla="*/ 47624 h 182561"/>
                      <a:gd name="connsiteX2" fmla="*/ 69059 w 164623"/>
                      <a:gd name="connsiteY2" fmla="*/ 182561 h 182561"/>
                      <a:gd name="connsiteX3" fmla="*/ 0 w 164623"/>
                      <a:gd name="connsiteY3" fmla="*/ 139699 h 182561"/>
                      <a:gd name="connsiteX4" fmla="*/ 73823 w 164623"/>
                      <a:gd name="connsiteY4" fmla="*/ 0 h 182561"/>
                      <a:gd name="connsiteX0" fmla="*/ 73823 w 164577"/>
                      <a:gd name="connsiteY0" fmla="*/ 0 h 182561"/>
                      <a:gd name="connsiteX1" fmla="*/ 164308 w 164577"/>
                      <a:gd name="connsiteY1" fmla="*/ 47624 h 182561"/>
                      <a:gd name="connsiteX2" fmla="*/ 69059 w 164577"/>
                      <a:gd name="connsiteY2" fmla="*/ 182561 h 182561"/>
                      <a:gd name="connsiteX3" fmla="*/ 0 w 164577"/>
                      <a:gd name="connsiteY3" fmla="*/ 139699 h 182561"/>
                      <a:gd name="connsiteX4" fmla="*/ 73823 w 164577"/>
                      <a:gd name="connsiteY4" fmla="*/ 0 h 182561"/>
                      <a:gd name="connsiteX0" fmla="*/ 73823 w 164577"/>
                      <a:gd name="connsiteY0" fmla="*/ 0 h 182561"/>
                      <a:gd name="connsiteX1" fmla="*/ 164308 w 164577"/>
                      <a:gd name="connsiteY1" fmla="*/ 47624 h 182561"/>
                      <a:gd name="connsiteX2" fmla="*/ 69059 w 164577"/>
                      <a:gd name="connsiteY2" fmla="*/ 182561 h 182561"/>
                      <a:gd name="connsiteX3" fmla="*/ 0 w 164577"/>
                      <a:gd name="connsiteY3" fmla="*/ 139699 h 182561"/>
                      <a:gd name="connsiteX4" fmla="*/ 73823 w 164577"/>
                      <a:gd name="connsiteY4" fmla="*/ 0 h 182561"/>
                      <a:gd name="connsiteX0" fmla="*/ 71442 w 162196"/>
                      <a:gd name="connsiteY0" fmla="*/ 0 h 182561"/>
                      <a:gd name="connsiteX1" fmla="*/ 161927 w 162196"/>
                      <a:gd name="connsiteY1" fmla="*/ 47624 h 182561"/>
                      <a:gd name="connsiteX2" fmla="*/ 66678 w 162196"/>
                      <a:gd name="connsiteY2" fmla="*/ 182561 h 182561"/>
                      <a:gd name="connsiteX3" fmla="*/ 0 w 162196"/>
                      <a:gd name="connsiteY3" fmla="*/ 142030 h 182561"/>
                      <a:gd name="connsiteX4" fmla="*/ 71442 w 162196"/>
                      <a:gd name="connsiteY4" fmla="*/ 0 h 182561"/>
                      <a:gd name="connsiteX0" fmla="*/ 71442 w 164567"/>
                      <a:gd name="connsiteY0" fmla="*/ 0 h 182561"/>
                      <a:gd name="connsiteX1" fmla="*/ 164308 w 164567"/>
                      <a:gd name="connsiteY1" fmla="*/ 45293 h 182561"/>
                      <a:gd name="connsiteX2" fmla="*/ 66678 w 164567"/>
                      <a:gd name="connsiteY2" fmla="*/ 182561 h 182561"/>
                      <a:gd name="connsiteX3" fmla="*/ 0 w 164567"/>
                      <a:gd name="connsiteY3" fmla="*/ 142030 h 182561"/>
                      <a:gd name="connsiteX4" fmla="*/ 71442 w 164567"/>
                      <a:gd name="connsiteY4" fmla="*/ 0 h 182561"/>
                      <a:gd name="connsiteX0" fmla="*/ 71442 w 164567"/>
                      <a:gd name="connsiteY0" fmla="*/ 0 h 182561"/>
                      <a:gd name="connsiteX1" fmla="*/ 164308 w 164567"/>
                      <a:gd name="connsiteY1" fmla="*/ 45293 h 182561"/>
                      <a:gd name="connsiteX2" fmla="*/ 66678 w 164567"/>
                      <a:gd name="connsiteY2" fmla="*/ 182561 h 182561"/>
                      <a:gd name="connsiteX3" fmla="*/ 0 w 164567"/>
                      <a:gd name="connsiteY3" fmla="*/ 142030 h 182561"/>
                      <a:gd name="connsiteX4" fmla="*/ 71442 w 164567"/>
                      <a:gd name="connsiteY4" fmla="*/ 0 h 182561"/>
                      <a:gd name="connsiteX0" fmla="*/ 71442 w 164567"/>
                      <a:gd name="connsiteY0" fmla="*/ 0 h 182561"/>
                      <a:gd name="connsiteX1" fmla="*/ 164308 w 164567"/>
                      <a:gd name="connsiteY1" fmla="*/ 45293 h 182561"/>
                      <a:gd name="connsiteX2" fmla="*/ 66678 w 164567"/>
                      <a:gd name="connsiteY2" fmla="*/ 182561 h 182561"/>
                      <a:gd name="connsiteX3" fmla="*/ 0 w 164567"/>
                      <a:gd name="connsiteY3" fmla="*/ 142030 h 182561"/>
                      <a:gd name="connsiteX4" fmla="*/ 71442 w 164567"/>
                      <a:gd name="connsiteY4" fmla="*/ 0 h 182561"/>
                      <a:gd name="connsiteX0" fmla="*/ 71442 w 164567"/>
                      <a:gd name="connsiteY0" fmla="*/ 0 h 182561"/>
                      <a:gd name="connsiteX1" fmla="*/ 164308 w 164567"/>
                      <a:gd name="connsiteY1" fmla="*/ 45293 h 182561"/>
                      <a:gd name="connsiteX2" fmla="*/ 66678 w 164567"/>
                      <a:gd name="connsiteY2" fmla="*/ 182561 h 182561"/>
                      <a:gd name="connsiteX3" fmla="*/ 0 w 164567"/>
                      <a:gd name="connsiteY3" fmla="*/ 142030 h 182561"/>
                      <a:gd name="connsiteX4" fmla="*/ 71442 w 164567"/>
                      <a:gd name="connsiteY4" fmla="*/ 0 h 182561"/>
                      <a:gd name="connsiteX0" fmla="*/ 73824 w 166949"/>
                      <a:gd name="connsiteY0" fmla="*/ 0 h 182561"/>
                      <a:gd name="connsiteX1" fmla="*/ 166690 w 166949"/>
                      <a:gd name="connsiteY1" fmla="*/ 45293 h 182561"/>
                      <a:gd name="connsiteX2" fmla="*/ 69060 w 166949"/>
                      <a:gd name="connsiteY2" fmla="*/ 182561 h 182561"/>
                      <a:gd name="connsiteX3" fmla="*/ 0 w 166949"/>
                      <a:gd name="connsiteY3" fmla="*/ 142030 h 182561"/>
                      <a:gd name="connsiteX4" fmla="*/ 73824 w 166949"/>
                      <a:gd name="connsiteY4" fmla="*/ 0 h 182561"/>
                      <a:gd name="connsiteX0" fmla="*/ 73824 w 166949"/>
                      <a:gd name="connsiteY0" fmla="*/ 0 h 182561"/>
                      <a:gd name="connsiteX1" fmla="*/ 166690 w 166949"/>
                      <a:gd name="connsiteY1" fmla="*/ 45293 h 182561"/>
                      <a:gd name="connsiteX2" fmla="*/ 69060 w 166949"/>
                      <a:gd name="connsiteY2" fmla="*/ 182561 h 182561"/>
                      <a:gd name="connsiteX3" fmla="*/ 0 w 166949"/>
                      <a:gd name="connsiteY3" fmla="*/ 142030 h 182561"/>
                      <a:gd name="connsiteX4" fmla="*/ 73824 w 166949"/>
                      <a:gd name="connsiteY4" fmla="*/ 0 h 182561"/>
                      <a:gd name="connsiteX0" fmla="*/ 73824 w 166949"/>
                      <a:gd name="connsiteY0" fmla="*/ 0 h 182561"/>
                      <a:gd name="connsiteX1" fmla="*/ 166690 w 166949"/>
                      <a:gd name="connsiteY1" fmla="*/ 45293 h 182561"/>
                      <a:gd name="connsiteX2" fmla="*/ 69060 w 166949"/>
                      <a:gd name="connsiteY2" fmla="*/ 182561 h 182561"/>
                      <a:gd name="connsiteX3" fmla="*/ 0 w 166949"/>
                      <a:gd name="connsiteY3" fmla="*/ 142030 h 182561"/>
                      <a:gd name="connsiteX4" fmla="*/ 73824 w 166949"/>
                      <a:gd name="connsiteY4" fmla="*/ 0 h 182561"/>
                      <a:gd name="connsiteX0" fmla="*/ 76205 w 169330"/>
                      <a:gd name="connsiteY0" fmla="*/ 0 h 182561"/>
                      <a:gd name="connsiteX1" fmla="*/ 169071 w 169330"/>
                      <a:gd name="connsiteY1" fmla="*/ 45293 h 182561"/>
                      <a:gd name="connsiteX2" fmla="*/ 71441 w 169330"/>
                      <a:gd name="connsiteY2" fmla="*/ 182561 h 182561"/>
                      <a:gd name="connsiteX3" fmla="*/ 0 w 169330"/>
                      <a:gd name="connsiteY3" fmla="*/ 142030 h 182561"/>
                      <a:gd name="connsiteX4" fmla="*/ 76205 w 169330"/>
                      <a:gd name="connsiteY4" fmla="*/ 0 h 182561"/>
                      <a:gd name="connsiteX0" fmla="*/ 78586 w 171711"/>
                      <a:gd name="connsiteY0" fmla="*/ 0 h 182561"/>
                      <a:gd name="connsiteX1" fmla="*/ 171452 w 171711"/>
                      <a:gd name="connsiteY1" fmla="*/ 45293 h 182561"/>
                      <a:gd name="connsiteX2" fmla="*/ 73822 w 171711"/>
                      <a:gd name="connsiteY2" fmla="*/ 182561 h 182561"/>
                      <a:gd name="connsiteX3" fmla="*/ 0 w 171711"/>
                      <a:gd name="connsiteY3" fmla="*/ 142030 h 182561"/>
                      <a:gd name="connsiteX4" fmla="*/ 78586 w 171711"/>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2" h="182561">
                        <a:moveTo>
                          <a:pt x="78586" y="0"/>
                        </a:moveTo>
                        <a:cubicBezTo>
                          <a:pt x="124624" y="20200"/>
                          <a:pt x="125415" y="22866"/>
                          <a:pt x="171452" y="45293"/>
                        </a:cubicBezTo>
                        <a:cubicBezTo>
                          <a:pt x="154783" y="155746"/>
                          <a:pt x="109540" y="176273"/>
                          <a:pt x="73822" y="182561"/>
                        </a:cubicBezTo>
                        <a:cubicBezTo>
                          <a:pt x="48421" y="168274"/>
                          <a:pt x="27783" y="156317"/>
                          <a:pt x="0" y="142030"/>
                        </a:cubicBezTo>
                        <a:cubicBezTo>
                          <a:pt x="61118" y="166377"/>
                          <a:pt x="107953" y="22773"/>
                          <a:pt x="78586" y="0"/>
                        </a:cubicBezTo>
                        <a:close/>
                      </a:path>
                    </a:pathLst>
                  </a:custGeom>
                  <a:solidFill>
                    <a:srgbClr val="BFBFB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83" name="Rectangle 16"/>
                  <p:cNvSpPr/>
                  <p:nvPr/>
                </p:nvSpPr>
                <p:spPr>
                  <a:xfrm rot="1545906" flipH="1">
                    <a:off x="5790121" y="3143551"/>
                    <a:ext cx="103480" cy="146953"/>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4368"/>
                      <a:gd name="connsiteY0" fmla="*/ 0 h 368300"/>
                      <a:gd name="connsiteX1" fmla="*/ 664368 w 664368"/>
                      <a:gd name="connsiteY1" fmla="*/ 235744 h 368300"/>
                      <a:gd name="connsiteX2" fmla="*/ 571500 w 664368"/>
                      <a:gd name="connsiteY2" fmla="*/ 368300 h 368300"/>
                      <a:gd name="connsiteX3" fmla="*/ 0 w 664368"/>
                      <a:gd name="connsiteY3" fmla="*/ 368300 h 368300"/>
                      <a:gd name="connsiteX4" fmla="*/ 0 w 664368"/>
                      <a:gd name="connsiteY4" fmla="*/ 0 h 368300"/>
                      <a:gd name="connsiteX0" fmla="*/ 0 w 671347"/>
                      <a:gd name="connsiteY0" fmla="*/ 0 h 368300"/>
                      <a:gd name="connsiteX1" fmla="*/ 664368 w 671347"/>
                      <a:gd name="connsiteY1" fmla="*/ 235744 h 368300"/>
                      <a:gd name="connsiteX2" fmla="*/ 571500 w 671347"/>
                      <a:gd name="connsiteY2" fmla="*/ 368300 h 368300"/>
                      <a:gd name="connsiteX3" fmla="*/ 0 w 671347"/>
                      <a:gd name="connsiteY3" fmla="*/ 368300 h 368300"/>
                      <a:gd name="connsiteX4" fmla="*/ 0 w 671347"/>
                      <a:gd name="connsiteY4" fmla="*/ 0 h 368300"/>
                      <a:gd name="connsiteX0" fmla="*/ 0 w 664610"/>
                      <a:gd name="connsiteY0" fmla="*/ 0 h 368300"/>
                      <a:gd name="connsiteX1" fmla="*/ 664368 w 664610"/>
                      <a:gd name="connsiteY1" fmla="*/ 235744 h 368300"/>
                      <a:gd name="connsiteX2" fmla="*/ 571500 w 664610"/>
                      <a:gd name="connsiteY2" fmla="*/ 368300 h 368300"/>
                      <a:gd name="connsiteX3" fmla="*/ 0 w 664610"/>
                      <a:gd name="connsiteY3" fmla="*/ 368300 h 368300"/>
                      <a:gd name="connsiteX4" fmla="*/ 0 w 664610"/>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490538 w 664748"/>
                      <a:gd name="connsiteY0" fmla="*/ 0 h 215900"/>
                      <a:gd name="connsiteX1" fmla="*/ 664368 w 664748"/>
                      <a:gd name="connsiteY1" fmla="*/ 83344 h 215900"/>
                      <a:gd name="connsiteX2" fmla="*/ 571500 w 664748"/>
                      <a:gd name="connsiteY2" fmla="*/ 215900 h 215900"/>
                      <a:gd name="connsiteX3" fmla="*/ 0 w 664748"/>
                      <a:gd name="connsiteY3" fmla="*/ 215900 h 215900"/>
                      <a:gd name="connsiteX4" fmla="*/ 490538 w 664748"/>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5251 w 271842"/>
                      <a:gd name="connsiteY0" fmla="*/ 0 h 225425"/>
                      <a:gd name="connsiteX1" fmla="*/ 271462 w 271842"/>
                      <a:gd name="connsiteY1" fmla="*/ 92869 h 225425"/>
                      <a:gd name="connsiteX2" fmla="*/ 178594 w 271842"/>
                      <a:gd name="connsiteY2" fmla="*/ 225425 h 225425"/>
                      <a:gd name="connsiteX3" fmla="*/ 0 w 271842"/>
                      <a:gd name="connsiteY3" fmla="*/ 139700 h 225425"/>
                      <a:gd name="connsiteX4" fmla="*/ 95251 w 271842"/>
                      <a:gd name="connsiteY4" fmla="*/ 0 h 225425"/>
                      <a:gd name="connsiteX0" fmla="*/ 92870 w 271842"/>
                      <a:gd name="connsiteY0" fmla="*/ 0 h 220662"/>
                      <a:gd name="connsiteX1" fmla="*/ 271462 w 271842"/>
                      <a:gd name="connsiteY1" fmla="*/ 88106 h 220662"/>
                      <a:gd name="connsiteX2" fmla="*/ 178594 w 271842"/>
                      <a:gd name="connsiteY2" fmla="*/ 220662 h 220662"/>
                      <a:gd name="connsiteX3" fmla="*/ 0 w 271842"/>
                      <a:gd name="connsiteY3" fmla="*/ 134937 h 220662"/>
                      <a:gd name="connsiteX4" fmla="*/ 92870 w 271842"/>
                      <a:gd name="connsiteY4" fmla="*/ 0 h 220662"/>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85726 w 271842"/>
                      <a:gd name="connsiteY0" fmla="*/ 0 h 230186"/>
                      <a:gd name="connsiteX1" fmla="*/ 271462 w 271842"/>
                      <a:gd name="connsiteY1" fmla="*/ 97630 h 230186"/>
                      <a:gd name="connsiteX2" fmla="*/ 178594 w 271842"/>
                      <a:gd name="connsiteY2" fmla="*/ 230186 h 230186"/>
                      <a:gd name="connsiteX3" fmla="*/ 0 w 271842"/>
                      <a:gd name="connsiteY3" fmla="*/ 144461 h 230186"/>
                      <a:gd name="connsiteX4" fmla="*/ 85726 w 271842"/>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2567"/>
                      <a:gd name="connsiteX1" fmla="*/ 285750 w 286111"/>
                      <a:gd name="connsiteY1" fmla="*/ 97630 h 232567"/>
                      <a:gd name="connsiteX2" fmla="*/ 190501 w 286111"/>
                      <a:gd name="connsiteY2" fmla="*/ 232567 h 232567"/>
                      <a:gd name="connsiteX3" fmla="*/ 0 w 286111"/>
                      <a:gd name="connsiteY3" fmla="*/ 153986 h 232567"/>
                      <a:gd name="connsiteX4" fmla="*/ 97633 w 286111"/>
                      <a:gd name="connsiteY4" fmla="*/ 0 h 232567"/>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200027 w 286111"/>
                      <a:gd name="connsiteY0" fmla="*/ 0 h 182561"/>
                      <a:gd name="connsiteX1" fmla="*/ 285750 w 286111"/>
                      <a:gd name="connsiteY1" fmla="*/ 47624 h 182561"/>
                      <a:gd name="connsiteX2" fmla="*/ 190501 w 286111"/>
                      <a:gd name="connsiteY2" fmla="*/ 182561 h 182561"/>
                      <a:gd name="connsiteX3" fmla="*/ 0 w 286111"/>
                      <a:gd name="connsiteY3" fmla="*/ 103980 h 182561"/>
                      <a:gd name="connsiteX4" fmla="*/ 200027 w 286111"/>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2080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66678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66678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6204 w 167050"/>
                      <a:gd name="connsiteY0" fmla="*/ 0 h 182561"/>
                      <a:gd name="connsiteX1" fmla="*/ 166689 w 167050"/>
                      <a:gd name="connsiteY1" fmla="*/ 47624 h 182561"/>
                      <a:gd name="connsiteX2" fmla="*/ 71440 w 167050"/>
                      <a:gd name="connsiteY2" fmla="*/ 182561 h 182561"/>
                      <a:gd name="connsiteX3" fmla="*/ 0 w 167050"/>
                      <a:gd name="connsiteY3" fmla="*/ 144462 h 182561"/>
                      <a:gd name="connsiteX4" fmla="*/ 76204 w 167050"/>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900"/>
                      <a:gd name="connsiteY0" fmla="*/ 0 h 189705"/>
                      <a:gd name="connsiteX1" fmla="*/ 164308 w 164900"/>
                      <a:gd name="connsiteY1" fmla="*/ 47624 h 189705"/>
                      <a:gd name="connsiteX2" fmla="*/ 88109 w 164900"/>
                      <a:gd name="connsiteY2" fmla="*/ 189705 h 189705"/>
                      <a:gd name="connsiteX3" fmla="*/ 0 w 164900"/>
                      <a:gd name="connsiteY3" fmla="*/ 139699 h 189705"/>
                      <a:gd name="connsiteX4" fmla="*/ 73823 w 164900"/>
                      <a:gd name="connsiteY4" fmla="*/ 0 h 189705"/>
                      <a:gd name="connsiteX0" fmla="*/ 73823 w 164711"/>
                      <a:gd name="connsiteY0" fmla="*/ 0 h 189705"/>
                      <a:gd name="connsiteX1" fmla="*/ 164308 w 164711"/>
                      <a:gd name="connsiteY1" fmla="*/ 47624 h 189705"/>
                      <a:gd name="connsiteX2" fmla="*/ 88109 w 164711"/>
                      <a:gd name="connsiteY2" fmla="*/ 189705 h 189705"/>
                      <a:gd name="connsiteX3" fmla="*/ 0 w 164711"/>
                      <a:gd name="connsiteY3" fmla="*/ 139699 h 189705"/>
                      <a:gd name="connsiteX4" fmla="*/ 73823 w 164711"/>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54773 w 164599"/>
                      <a:gd name="connsiteY0" fmla="*/ 0 h 201611"/>
                      <a:gd name="connsiteX1" fmla="*/ 164308 w 164599"/>
                      <a:gd name="connsiteY1" fmla="*/ 59530 h 201611"/>
                      <a:gd name="connsiteX2" fmla="*/ 88109 w 164599"/>
                      <a:gd name="connsiteY2" fmla="*/ 201611 h 201611"/>
                      <a:gd name="connsiteX3" fmla="*/ 0 w 164599"/>
                      <a:gd name="connsiteY3" fmla="*/ 151605 h 201611"/>
                      <a:gd name="connsiteX4" fmla="*/ 54773 w 164599"/>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380"/>
                      <a:gd name="connsiteY0" fmla="*/ 0 h 201611"/>
                      <a:gd name="connsiteX1" fmla="*/ 180977 w 181380"/>
                      <a:gd name="connsiteY1" fmla="*/ 59530 h 201611"/>
                      <a:gd name="connsiteX2" fmla="*/ 104778 w 181380"/>
                      <a:gd name="connsiteY2" fmla="*/ 201611 h 201611"/>
                      <a:gd name="connsiteX3" fmla="*/ 0 w 181380"/>
                      <a:gd name="connsiteY3" fmla="*/ 151605 h 201611"/>
                      <a:gd name="connsiteX4" fmla="*/ 71442 w 181380"/>
                      <a:gd name="connsiteY4" fmla="*/ 0 h 201611"/>
                      <a:gd name="connsiteX0" fmla="*/ 71442 w 180977"/>
                      <a:gd name="connsiteY0" fmla="*/ 0 h 201611"/>
                      <a:gd name="connsiteX1" fmla="*/ 180977 w 180977"/>
                      <a:gd name="connsiteY1" fmla="*/ 59530 h 201611"/>
                      <a:gd name="connsiteX2" fmla="*/ 104778 w 180977"/>
                      <a:gd name="connsiteY2" fmla="*/ 201611 h 201611"/>
                      <a:gd name="connsiteX3" fmla="*/ 0 w 180977"/>
                      <a:gd name="connsiteY3" fmla="*/ 151605 h 201611"/>
                      <a:gd name="connsiteX4" fmla="*/ 71442 w 180977"/>
                      <a:gd name="connsiteY4" fmla="*/ 0 h 201611"/>
                      <a:gd name="connsiteX0" fmla="*/ 73823 w 180977"/>
                      <a:gd name="connsiteY0" fmla="*/ 0 h 199230"/>
                      <a:gd name="connsiteX1" fmla="*/ 180977 w 180977"/>
                      <a:gd name="connsiteY1" fmla="*/ 57149 h 199230"/>
                      <a:gd name="connsiteX2" fmla="*/ 104778 w 180977"/>
                      <a:gd name="connsiteY2" fmla="*/ 199230 h 199230"/>
                      <a:gd name="connsiteX3" fmla="*/ 0 w 180977"/>
                      <a:gd name="connsiteY3" fmla="*/ 149224 h 199230"/>
                      <a:gd name="connsiteX4" fmla="*/ 73823 w 180977"/>
                      <a:gd name="connsiteY4" fmla="*/ 0 h 199230"/>
                      <a:gd name="connsiteX0" fmla="*/ 73823 w 180977"/>
                      <a:gd name="connsiteY0" fmla="*/ 0 h 199230"/>
                      <a:gd name="connsiteX1" fmla="*/ 180977 w 180977"/>
                      <a:gd name="connsiteY1" fmla="*/ 57149 h 199230"/>
                      <a:gd name="connsiteX2" fmla="*/ 104778 w 180977"/>
                      <a:gd name="connsiteY2" fmla="*/ 199230 h 199230"/>
                      <a:gd name="connsiteX3" fmla="*/ 0 w 180977"/>
                      <a:gd name="connsiteY3" fmla="*/ 149224 h 199230"/>
                      <a:gd name="connsiteX4" fmla="*/ 73823 w 180977"/>
                      <a:gd name="connsiteY4" fmla="*/ 0 h 199230"/>
                      <a:gd name="connsiteX0" fmla="*/ 111923 w 180977"/>
                      <a:gd name="connsiteY0" fmla="*/ 0 h 180180"/>
                      <a:gd name="connsiteX1" fmla="*/ 180977 w 180977"/>
                      <a:gd name="connsiteY1" fmla="*/ 38099 h 180180"/>
                      <a:gd name="connsiteX2" fmla="*/ 104778 w 180977"/>
                      <a:gd name="connsiteY2" fmla="*/ 180180 h 180180"/>
                      <a:gd name="connsiteX3" fmla="*/ 0 w 180977"/>
                      <a:gd name="connsiteY3" fmla="*/ 130174 h 180180"/>
                      <a:gd name="connsiteX4" fmla="*/ 111923 w 180977"/>
                      <a:gd name="connsiteY4" fmla="*/ 0 h 180180"/>
                      <a:gd name="connsiteX0" fmla="*/ 111923 w 180977"/>
                      <a:gd name="connsiteY0" fmla="*/ 0 h 180180"/>
                      <a:gd name="connsiteX1" fmla="*/ 180977 w 180977"/>
                      <a:gd name="connsiteY1" fmla="*/ 38099 h 180180"/>
                      <a:gd name="connsiteX2" fmla="*/ 104778 w 180977"/>
                      <a:gd name="connsiteY2" fmla="*/ 180180 h 180180"/>
                      <a:gd name="connsiteX3" fmla="*/ 0 w 180977"/>
                      <a:gd name="connsiteY3" fmla="*/ 130174 h 180180"/>
                      <a:gd name="connsiteX4" fmla="*/ 111923 w 180977"/>
                      <a:gd name="connsiteY4" fmla="*/ 0 h 180180"/>
                      <a:gd name="connsiteX0" fmla="*/ 138117 w 180977"/>
                      <a:gd name="connsiteY0" fmla="*/ 0 h 165892"/>
                      <a:gd name="connsiteX1" fmla="*/ 180977 w 180977"/>
                      <a:gd name="connsiteY1" fmla="*/ 23811 h 165892"/>
                      <a:gd name="connsiteX2" fmla="*/ 104778 w 180977"/>
                      <a:gd name="connsiteY2" fmla="*/ 165892 h 165892"/>
                      <a:gd name="connsiteX3" fmla="*/ 0 w 180977"/>
                      <a:gd name="connsiteY3" fmla="*/ 115886 h 165892"/>
                      <a:gd name="connsiteX4" fmla="*/ 138117 w 180977"/>
                      <a:gd name="connsiteY4" fmla="*/ 0 h 165892"/>
                      <a:gd name="connsiteX0" fmla="*/ 78585 w 121445"/>
                      <a:gd name="connsiteY0" fmla="*/ 0 h 165892"/>
                      <a:gd name="connsiteX1" fmla="*/ 121445 w 121445"/>
                      <a:gd name="connsiteY1" fmla="*/ 23811 h 165892"/>
                      <a:gd name="connsiteX2" fmla="*/ 45246 w 121445"/>
                      <a:gd name="connsiteY2" fmla="*/ 165892 h 165892"/>
                      <a:gd name="connsiteX3" fmla="*/ 0 w 121445"/>
                      <a:gd name="connsiteY3" fmla="*/ 149224 h 165892"/>
                      <a:gd name="connsiteX4" fmla="*/ 78585 w 121445"/>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9045 w 124287"/>
                      <a:gd name="connsiteY0" fmla="*/ 0 h 173036"/>
                      <a:gd name="connsiteX1" fmla="*/ 124287 w 124287"/>
                      <a:gd name="connsiteY1" fmla="*/ 21430 h 173036"/>
                      <a:gd name="connsiteX2" fmla="*/ 45706 w 124287"/>
                      <a:gd name="connsiteY2" fmla="*/ 173036 h 173036"/>
                      <a:gd name="connsiteX3" fmla="*/ 460 w 124287"/>
                      <a:gd name="connsiteY3" fmla="*/ 149224 h 173036"/>
                      <a:gd name="connsiteX4" fmla="*/ 79045 w 124287"/>
                      <a:gd name="connsiteY4" fmla="*/ 0 h 173036"/>
                      <a:gd name="connsiteX0" fmla="*/ 78585 w 123827"/>
                      <a:gd name="connsiteY0" fmla="*/ 0 h 173036"/>
                      <a:gd name="connsiteX1" fmla="*/ 123827 w 123827"/>
                      <a:gd name="connsiteY1" fmla="*/ 21430 h 173036"/>
                      <a:gd name="connsiteX2" fmla="*/ 45246 w 123827"/>
                      <a:gd name="connsiteY2" fmla="*/ 173036 h 173036"/>
                      <a:gd name="connsiteX3" fmla="*/ 0 w 123827"/>
                      <a:gd name="connsiteY3" fmla="*/ 149224 h 173036"/>
                      <a:gd name="connsiteX4" fmla="*/ 78585 w 123827"/>
                      <a:gd name="connsiteY4" fmla="*/ 0 h 173036"/>
                      <a:gd name="connsiteX0" fmla="*/ 78585 w 123827"/>
                      <a:gd name="connsiteY0" fmla="*/ 0 h 173036"/>
                      <a:gd name="connsiteX1" fmla="*/ 123827 w 123827"/>
                      <a:gd name="connsiteY1" fmla="*/ 21430 h 173036"/>
                      <a:gd name="connsiteX2" fmla="*/ 45246 w 123827"/>
                      <a:gd name="connsiteY2" fmla="*/ 173036 h 173036"/>
                      <a:gd name="connsiteX3" fmla="*/ 0 w 123827"/>
                      <a:gd name="connsiteY3" fmla="*/ 149224 h 173036"/>
                      <a:gd name="connsiteX4" fmla="*/ 78585 w 123827"/>
                      <a:gd name="connsiteY4" fmla="*/ 0 h 173036"/>
                      <a:gd name="connsiteX0" fmla="*/ 78585 w 123827"/>
                      <a:gd name="connsiteY0" fmla="*/ 0 h 173036"/>
                      <a:gd name="connsiteX1" fmla="*/ 123827 w 123827"/>
                      <a:gd name="connsiteY1" fmla="*/ 21430 h 173036"/>
                      <a:gd name="connsiteX2" fmla="*/ 45246 w 123827"/>
                      <a:gd name="connsiteY2" fmla="*/ 173036 h 173036"/>
                      <a:gd name="connsiteX3" fmla="*/ 0 w 123827"/>
                      <a:gd name="connsiteY3" fmla="*/ 149224 h 173036"/>
                      <a:gd name="connsiteX4" fmla="*/ 78585 w 123827"/>
                      <a:gd name="connsiteY4" fmla="*/ 0 h 173036"/>
                      <a:gd name="connsiteX0" fmla="*/ 78585 w 123827"/>
                      <a:gd name="connsiteY0" fmla="*/ 0 h 173036"/>
                      <a:gd name="connsiteX1" fmla="*/ 123827 w 123827"/>
                      <a:gd name="connsiteY1" fmla="*/ 21430 h 173036"/>
                      <a:gd name="connsiteX2" fmla="*/ 47627 w 123827"/>
                      <a:gd name="connsiteY2" fmla="*/ 173036 h 173036"/>
                      <a:gd name="connsiteX3" fmla="*/ 0 w 123827"/>
                      <a:gd name="connsiteY3" fmla="*/ 149224 h 173036"/>
                      <a:gd name="connsiteX4" fmla="*/ 78585 w 123827"/>
                      <a:gd name="connsiteY4" fmla="*/ 0 h 173036"/>
                      <a:gd name="connsiteX0" fmla="*/ 78585 w 123827"/>
                      <a:gd name="connsiteY0" fmla="*/ 0 h 173036"/>
                      <a:gd name="connsiteX1" fmla="*/ 123827 w 123827"/>
                      <a:gd name="connsiteY1" fmla="*/ 21430 h 173036"/>
                      <a:gd name="connsiteX2" fmla="*/ 47627 w 123827"/>
                      <a:gd name="connsiteY2" fmla="*/ 173036 h 173036"/>
                      <a:gd name="connsiteX3" fmla="*/ 0 w 123827"/>
                      <a:gd name="connsiteY3" fmla="*/ 149224 h 173036"/>
                      <a:gd name="connsiteX4" fmla="*/ 78585 w 123827"/>
                      <a:gd name="connsiteY4" fmla="*/ 0 h 173036"/>
                      <a:gd name="connsiteX0" fmla="*/ 83347 w 128589"/>
                      <a:gd name="connsiteY0" fmla="*/ 0 h 173036"/>
                      <a:gd name="connsiteX1" fmla="*/ 128589 w 128589"/>
                      <a:gd name="connsiteY1" fmla="*/ 21430 h 173036"/>
                      <a:gd name="connsiteX2" fmla="*/ 52389 w 128589"/>
                      <a:gd name="connsiteY2" fmla="*/ 173036 h 173036"/>
                      <a:gd name="connsiteX3" fmla="*/ 0 w 128589"/>
                      <a:gd name="connsiteY3" fmla="*/ 151606 h 173036"/>
                      <a:gd name="connsiteX4" fmla="*/ 83347 w 128589"/>
                      <a:gd name="connsiteY4" fmla="*/ 0 h 173036"/>
                      <a:gd name="connsiteX0" fmla="*/ 83347 w 128589"/>
                      <a:gd name="connsiteY0" fmla="*/ 0 h 177798"/>
                      <a:gd name="connsiteX1" fmla="*/ 128589 w 128589"/>
                      <a:gd name="connsiteY1" fmla="*/ 21430 h 177798"/>
                      <a:gd name="connsiteX2" fmla="*/ 54770 w 128589"/>
                      <a:gd name="connsiteY2" fmla="*/ 177798 h 177798"/>
                      <a:gd name="connsiteX3" fmla="*/ 0 w 128589"/>
                      <a:gd name="connsiteY3" fmla="*/ 151606 h 177798"/>
                      <a:gd name="connsiteX4" fmla="*/ 83347 w 128589"/>
                      <a:gd name="connsiteY4" fmla="*/ 0 h 177798"/>
                      <a:gd name="connsiteX0" fmla="*/ 83347 w 128589"/>
                      <a:gd name="connsiteY0" fmla="*/ 0 h 177798"/>
                      <a:gd name="connsiteX1" fmla="*/ 128589 w 128589"/>
                      <a:gd name="connsiteY1" fmla="*/ 21430 h 177798"/>
                      <a:gd name="connsiteX2" fmla="*/ 54770 w 128589"/>
                      <a:gd name="connsiteY2" fmla="*/ 177798 h 177798"/>
                      <a:gd name="connsiteX3" fmla="*/ 0 w 128589"/>
                      <a:gd name="connsiteY3" fmla="*/ 151606 h 177798"/>
                      <a:gd name="connsiteX4" fmla="*/ 83347 w 128589"/>
                      <a:gd name="connsiteY4" fmla="*/ 0 h 177798"/>
                      <a:gd name="connsiteX0" fmla="*/ 83347 w 128589"/>
                      <a:gd name="connsiteY0" fmla="*/ 0 h 177798"/>
                      <a:gd name="connsiteX1" fmla="*/ 128589 w 128589"/>
                      <a:gd name="connsiteY1" fmla="*/ 21430 h 177798"/>
                      <a:gd name="connsiteX2" fmla="*/ 54770 w 128589"/>
                      <a:gd name="connsiteY2" fmla="*/ 177798 h 177798"/>
                      <a:gd name="connsiteX3" fmla="*/ 0 w 128589"/>
                      <a:gd name="connsiteY3" fmla="*/ 151606 h 177798"/>
                      <a:gd name="connsiteX4" fmla="*/ 83347 w 128589"/>
                      <a:gd name="connsiteY4" fmla="*/ 0 h 177798"/>
                      <a:gd name="connsiteX0" fmla="*/ 83347 w 128589"/>
                      <a:gd name="connsiteY0" fmla="*/ 0 h 177798"/>
                      <a:gd name="connsiteX1" fmla="*/ 128589 w 128589"/>
                      <a:gd name="connsiteY1" fmla="*/ 21430 h 177798"/>
                      <a:gd name="connsiteX2" fmla="*/ 54770 w 128589"/>
                      <a:gd name="connsiteY2" fmla="*/ 177798 h 177798"/>
                      <a:gd name="connsiteX3" fmla="*/ 0 w 128589"/>
                      <a:gd name="connsiteY3" fmla="*/ 151606 h 177798"/>
                      <a:gd name="connsiteX4" fmla="*/ 83347 w 128589"/>
                      <a:gd name="connsiteY4" fmla="*/ 0 h 177798"/>
                      <a:gd name="connsiteX0" fmla="*/ 83347 w 128589"/>
                      <a:gd name="connsiteY0" fmla="*/ 0 h 180179"/>
                      <a:gd name="connsiteX1" fmla="*/ 128589 w 128589"/>
                      <a:gd name="connsiteY1" fmla="*/ 21430 h 180179"/>
                      <a:gd name="connsiteX2" fmla="*/ 54770 w 128589"/>
                      <a:gd name="connsiteY2" fmla="*/ 180179 h 180179"/>
                      <a:gd name="connsiteX3" fmla="*/ 0 w 128589"/>
                      <a:gd name="connsiteY3" fmla="*/ 151606 h 180179"/>
                      <a:gd name="connsiteX4" fmla="*/ 83347 w 128589"/>
                      <a:gd name="connsiteY4" fmla="*/ 0 h 180179"/>
                      <a:gd name="connsiteX0" fmla="*/ 83347 w 128589"/>
                      <a:gd name="connsiteY0" fmla="*/ 0 h 180179"/>
                      <a:gd name="connsiteX1" fmla="*/ 128589 w 128589"/>
                      <a:gd name="connsiteY1" fmla="*/ 21430 h 180179"/>
                      <a:gd name="connsiteX2" fmla="*/ 54770 w 128589"/>
                      <a:gd name="connsiteY2" fmla="*/ 180179 h 180179"/>
                      <a:gd name="connsiteX3" fmla="*/ 0 w 128589"/>
                      <a:gd name="connsiteY3" fmla="*/ 151606 h 180179"/>
                      <a:gd name="connsiteX4" fmla="*/ 83347 w 128589"/>
                      <a:gd name="connsiteY4" fmla="*/ 0 h 180179"/>
                      <a:gd name="connsiteX0" fmla="*/ 78584 w 123826"/>
                      <a:gd name="connsiteY0" fmla="*/ 0 h 180179"/>
                      <a:gd name="connsiteX1" fmla="*/ 123826 w 123826"/>
                      <a:gd name="connsiteY1" fmla="*/ 21430 h 180179"/>
                      <a:gd name="connsiteX2" fmla="*/ 50007 w 123826"/>
                      <a:gd name="connsiteY2" fmla="*/ 180179 h 180179"/>
                      <a:gd name="connsiteX3" fmla="*/ 0 w 123826"/>
                      <a:gd name="connsiteY3" fmla="*/ 153987 h 180179"/>
                      <a:gd name="connsiteX4" fmla="*/ 78584 w 123826"/>
                      <a:gd name="connsiteY4" fmla="*/ 0 h 180179"/>
                      <a:gd name="connsiteX0" fmla="*/ 78584 w 123826"/>
                      <a:gd name="connsiteY0" fmla="*/ 0 h 180179"/>
                      <a:gd name="connsiteX1" fmla="*/ 123826 w 123826"/>
                      <a:gd name="connsiteY1" fmla="*/ 21430 h 180179"/>
                      <a:gd name="connsiteX2" fmla="*/ 50007 w 123826"/>
                      <a:gd name="connsiteY2" fmla="*/ 180179 h 180179"/>
                      <a:gd name="connsiteX3" fmla="*/ 0 w 123826"/>
                      <a:gd name="connsiteY3" fmla="*/ 153987 h 180179"/>
                      <a:gd name="connsiteX4" fmla="*/ 78584 w 123826"/>
                      <a:gd name="connsiteY4" fmla="*/ 0 h 180179"/>
                      <a:gd name="connsiteX0" fmla="*/ 78584 w 123826"/>
                      <a:gd name="connsiteY0" fmla="*/ 0 h 177798"/>
                      <a:gd name="connsiteX1" fmla="*/ 123826 w 123826"/>
                      <a:gd name="connsiteY1" fmla="*/ 21430 h 177798"/>
                      <a:gd name="connsiteX2" fmla="*/ 45244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5244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5244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5244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5244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8578"/>
                      <a:gd name="connsiteY0" fmla="*/ 0 h 177798"/>
                      <a:gd name="connsiteX1" fmla="*/ 123826 w 128578"/>
                      <a:gd name="connsiteY1" fmla="*/ 21430 h 177798"/>
                      <a:gd name="connsiteX2" fmla="*/ 42863 w 128578"/>
                      <a:gd name="connsiteY2" fmla="*/ 177798 h 177798"/>
                      <a:gd name="connsiteX3" fmla="*/ 0 w 128578"/>
                      <a:gd name="connsiteY3" fmla="*/ 153987 h 177798"/>
                      <a:gd name="connsiteX4" fmla="*/ 78584 w 128578"/>
                      <a:gd name="connsiteY4" fmla="*/ 0 h 177798"/>
                      <a:gd name="connsiteX0" fmla="*/ 78584 w 127757"/>
                      <a:gd name="connsiteY0" fmla="*/ 0 h 177798"/>
                      <a:gd name="connsiteX1" fmla="*/ 123826 w 127757"/>
                      <a:gd name="connsiteY1" fmla="*/ 21430 h 177798"/>
                      <a:gd name="connsiteX2" fmla="*/ 42863 w 127757"/>
                      <a:gd name="connsiteY2" fmla="*/ 177798 h 177798"/>
                      <a:gd name="connsiteX3" fmla="*/ 0 w 127757"/>
                      <a:gd name="connsiteY3" fmla="*/ 153987 h 177798"/>
                      <a:gd name="connsiteX4" fmla="*/ 78584 w 127757"/>
                      <a:gd name="connsiteY4" fmla="*/ 0 h 177798"/>
                      <a:gd name="connsiteX0" fmla="*/ 78584 w 129427"/>
                      <a:gd name="connsiteY0" fmla="*/ 0 h 177798"/>
                      <a:gd name="connsiteX1" fmla="*/ 123826 w 129427"/>
                      <a:gd name="connsiteY1" fmla="*/ 21430 h 177798"/>
                      <a:gd name="connsiteX2" fmla="*/ 42863 w 129427"/>
                      <a:gd name="connsiteY2" fmla="*/ 177798 h 177798"/>
                      <a:gd name="connsiteX3" fmla="*/ 0 w 129427"/>
                      <a:gd name="connsiteY3" fmla="*/ 153987 h 177798"/>
                      <a:gd name="connsiteX4" fmla="*/ 78584 w 129427"/>
                      <a:gd name="connsiteY4" fmla="*/ 0 h 177798"/>
                      <a:gd name="connsiteX0" fmla="*/ 78584 w 129427"/>
                      <a:gd name="connsiteY0" fmla="*/ 0 h 177798"/>
                      <a:gd name="connsiteX1" fmla="*/ 123826 w 129427"/>
                      <a:gd name="connsiteY1" fmla="*/ 21430 h 177798"/>
                      <a:gd name="connsiteX2" fmla="*/ 42863 w 129427"/>
                      <a:gd name="connsiteY2" fmla="*/ 177798 h 177798"/>
                      <a:gd name="connsiteX3" fmla="*/ 0 w 129427"/>
                      <a:gd name="connsiteY3" fmla="*/ 153987 h 177798"/>
                      <a:gd name="connsiteX4" fmla="*/ 78584 w 129427"/>
                      <a:gd name="connsiteY4" fmla="*/ 0 h 177798"/>
                      <a:gd name="connsiteX0" fmla="*/ 78584 w 129620"/>
                      <a:gd name="connsiteY0" fmla="*/ 0 h 178197"/>
                      <a:gd name="connsiteX1" fmla="*/ 123826 w 129620"/>
                      <a:gd name="connsiteY1" fmla="*/ 21430 h 178197"/>
                      <a:gd name="connsiteX2" fmla="*/ 42863 w 129620"/>
                      <a:gd name="connsiteY2" fmla="*/ 177798 h 178197"/>
                      <a:gd name="connsiteX3" fmla="*/ 0 w 129620"/>
                      <a:gd name="connsiteY3" fmla="*/ 153987 h 178197"/>
                      <a:gd name="connsiteX4" fmla="*/ 78584 w 129620"/>
                      <a:gd name="connsiteY4" fmla="*/ 0 h 178197"/>
                      <a:gd name="connsiteX0" fmla="*/ 78584 w 130038"/>
                      <a:gd name="connsiteY0" fmla="*/ 0 h 177798"/>
                      <a:gd name="connsiteX1" fmla="*/ 123826 w 130038"/>
                      <a:gd name="connsiteY1" fmla="*/ 21430 h 177798"/>
                      <a:gd name="connsiteX2" fmla="*/ 42863 w 130038"/>
                      <a:gd name="connsiteY2" fmla="*/ 177798 h 177798"/>
                      <a:gd name="connsiteX3" fmla="*/ 0 w 130038"/>
                      <a:gd name="connsiteY3" fmla="*/ 153987 h 177798"/>
                      <a:gd name="connsiteX4" fmla="*/ 78584 w 130038"/>
                      <a:gd name="connsiteY4" fmla="*/ 0 h 177798"/>
                      <a:gd name="connsiteX0" fmla="*/ 78584 w 127420"/>
                      <a:gd name="connsiteY0" fmla="*/ 0 h 177798"/>
                      <a:gd name="connsiteX1" fmla="*/ 123826 w 127420"/>
                      <a:gd name="connsiteY1" fmla="*/ 21430 h 177798"/>
                      <a:gd name="connsiteX2" fmla="*/ 42863 w 127420"/>
                      <a:gd name="connsiteY2" fmla="*/ 177798 h 177798"/>
                      <a:gd name="connsiteX3" fmla="*/ 0 w 127420"/>
                      <a:gd name="connsiteY3" fmla="*/ 153987 h 177798"/>
                      <a:gd name="connsiteX4" fmla="*/ 78584 w 127420"/>
                      <a:gd name="connsiteY4" fmla="*/ 0 h 177798"/>
                      <a:gd name="connsiteX0" fmla="*/ 78584 w 127595"/>
                      <a:gd name="connsiteY0" fmla="*/ 0 h 177798"/>
                      <a:gd name="connsiteX1" fmla="*/ 123826 w 127595"/>
                      <a:gd name="connsiteY1" fmla="*/ 21430 h 177798"/>
                      <a:gd name="connsiteX2" fmla="*/ 42863 w 127595"/>
                      <a:gd name="connsiteY2" fmla="*/ 177798 h 177798"/>
                      <a:gd name="connsiteX3" fmla="*/ 0 w 127595"/>
                      <a:gd name="connsiteY3" fmla="*/ 153987 h 177798"/>
                      <a:gd name="connsiteX4" fmla="*/ 78584 w 127595"/>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5934"/>
                      <a:gd name="connsiteX1" fmla="*/ 127554 w 131480"/>
                      <a:gd name="connsiteY1" fmla="*/ 21430 h 175934"/>
                      <a:gd name="connsiteX2" fmla="*/ 48455 w 131480"/>
                      <a:gd name="connsiteY2" fmla="*/ 175934 h 175934"/>
                      <a:gd name="connsiteX3" fmla="*/ 0 w 131480"/>
                      <a:gd name="connsiteY3" fmla="*/ 153987 h 175934"/>
                      <a:gd name="connsiteX4" fmla="*/ 82312 w 131480"/>
                      <a:gd name="connsiteY4" fmla="*/ 0 h 175934"/>
                      <a:gd name="connsiteX0" fmla="*/ 82312 w 131480"/>
                      <a:gd name="connsiteY0" fmla="*/ 0 h 175934"/>
                      <a:gd name="connsiteX1" fmla="*/ 127554 w 131480"/>
                      <a:gd name="connsiteY1" fmla="*/ 21430 h 175934"/>
                      <a:gd name="connsiteX2" fmla="*/ 48455 w 131480"/>
                      <a:gd name="connsiteY2" fmla="*/ 175934 h 175934"/>
                      <a:gd name="connsiteX3" fmla="*/ 0 w 131480"/>
                      <a:gd name="connsiteY3" fmla="*/ 153987 h 175934"/>
                      <a:gd name="connsiteX4" fmla="*/ 82312 w 131480"/>
                      <a:gd name="connsiteY4" fmla="*/ 0 h 175934"/>
                      <a:gd name="connsiteX0" fmla="*/ 82312 w 131480"/>
                      <a:gd name="connsiteY0" fmla="*/ 0 h 175934"/>
                      <a:gd name="connsiteX1" fmla="*/ 127554 w 131480"/>
                      <a:gd name="connsiteY1" fmla="*/ 21430 h 175934"/>
                      <a:gd name="connsiteX2" fmla="*/ 48455 w 131480"/>
                      <a:gd name="connsiteY2" fmla="*/ 175934 h 175934"/>
                      <a:gd name="connsiteX3" fmla="*/ 0 w 131480"/>
                      <a:gd name="connsiteY3" fmla="*/ 153987 h 175934"/>
                      <a:gd name="connsiteX4" fmla="*/ 82312 w 131480"/>
                      <a:gd name="connsiteY4" fmla="*/ 0 h 175934"/>
                      <a:gd name="connsiteX0" fmla="*/ 74856 w 124024"/>
                      <a:gd name="connsiteY0" fmla="*/ 0 h 175934"/>
                      <a:gd name="connsiteX1" fmla="*/ 120098 w 124024"/>
                      <a:gd name="connsiteY1" fmla="*/ 21430 h 175934"/>
                      <a:gd name="connsiteX2" fmla="*/ 40999 w 124024"/>
                      <a:gd name="connsiteY2" fmla="*/ 175934 h 175934"/>
                      <a:gd name="connsiteX3" fmla="*/ 0 w 124024"/>
                      <a:gd name="connsiteY3" fmla="*/ 159579 h 175934"/>
                      <a:gd name="connsiteX4" fmla="*/ 74856 w 124024"/>
                      <a:gd name="connsiteY4" fmla="*/ 0 h 175934"/>
                      <a:gd name="connsiteX0" fmla="*/ 74856 w 124376"/>
                      <a:gd name="connsiteY0" fmla="*/ 0 h 177799"/>
                      <a:gd name="connsiteX1" fmla="*/ 120098 w 124376"/>
                      <a:gd name="connsiteY1" fmla="*/ 21430 h 177799"/>
                      <a:gd name="connsiteX2" fmla="*/ 44727 w 124376"/>
                      <a:gd name="connsiteY2" fmla="*/ 177799 h 177799"/>
                      <a:gd name="connsiteX3" fmla="*/ 0 w 124376"/>
                      <a:gd name="connsiteY3" fmla="*/ 159579 h 177799"/>
                      <a:gd name="connsiteX4" fmla="*/ 74856 w 124376"/>
                      <a:gd name="connsiteY4" fmla="*/ 0 h 177799"/>
                      <a:gd name="connsiteX0" fmla="*/ 74856 w 124376"/>
                      <a:gd name="connsiteY0" fmla="*/ 0 h 177799"/>
                      <a:gd name="connsiteX1" fmla="*/ 120098 w 124376"/>
                      <a:gd name="connsiteY1" fmla="*/ 21430 h 177799"/>
                      <a:gd name="connsiteX2" fmla="*/ 44727 w 124376"/>
                      <a:gd name="connsiteY2" fmla="*/ 177799 h 177799"/>
                      <a:gd name="connsiteX3" fmla="*/ 0 w 124376"/>
                      <a:gd name="connsiteY3" fmla="*/ 159579 h 177799"/>
                      <a:gd name="connsiteX4" fmla="*/ 74856 w 124376"/>
                      <a:gd name="connsiteY4" fmla="*/ 0 h 177799"/>
                      <a:gd name="connsiteX0" fmla="*/ 74856 w 124194"/>
                      <a:gd name="connsiteY0" fmla="*/ 0 h 175934"/>
                      <a:gd name="connsiteX1" fmla="*/ 120098 w 124194"/>
                      <a:gd name="connsiteY1" fmla="*/ 21430 h 175934"/>
                      <a:gd name="connsiteX2" fmla="*/ 42863 w 124194"/>
                      <a:gd name="connsiteY2" fmla="*/ 175934 h 175934"/>
                      <a:gd name="connsiteX3" fmla="*/ 0 w 124194"/>
                      <a:gd name="connsiteY3" fmla="*/ 159579 h 175934"/>
                      <a:gd name="connsiteX4" fmla="*/ 74856 w 124194"/>
                      <a:gd name="connsiteY4" fmla="*/ 0 h 175934"/>
                      <a:gd name="connsiteX0" fmla="*/ 74856 w 124194"/>
                      <a:gd name="connsiteY0" fmla="*/ 0 h 175934"/>
                      <a:gd name="connsiteX1" fmla="*/ 120098 w 124194"/>
                      <a:gd name="connsiteY1" fmla="*/ 21430 h 175934"/>
                      <a:gd name="connsiteX2" fmla="*/ 42863 w 124194"/>
                      <a:gd name="connsiteY2" fmla="*/ 175934 h 175934"/>
                      <a:gd name="connsiteX3" fmla="*/ 0 w 124194"/>
                      <a:gd name="connsiteY3" fmla="*/ 159579 h 175934"/>
                      <a:gd name="connsiteX4" fmla="*/ 74856 w 124194"/>
                      <a:gd name="connsiteY4" fmla="*/ 0 h 175934"/>
                      <a:gd name="connsiteX0" fmla="*/ 74856 w 123615"/>
                      <a:gd name="connsiteY0" fmla="*/ 0 h 175934"/>
                      <a:gd name="connsiteX1" fmla="*/ 120098 w 123615"/>
                      <a:gd name="connsiteY1" fmla="*/ 21430 h 175934"/>
                      <a:gd name="connsiteX2" fmla="*/ 42863 w 123615"/>
                      <a:gd name="connsiteY2" fmla="*/ 175934 h 175934"/>
                      <a:gd name="connsiteX3" fmla="*/ 0 w 123615"/>
                      <a:gd name="connsiteY3" fmla="*/ 159579 h 175934"/>
                      <a:gd name="connsiteX4" fmla="*/ 74856 w 123615"/>
                      <a:gd name="connsiteY4" fmla="*/ 0 h 175934"/>
                      <a:gd name="connsiteX0" fmla="*/ 74856 w 123615"/>
                      <a:gd name="connsiteY0" fmla="*/ 0 h 175934"/>
                      <a:gd name="connsiteX1" fmla="*/ 120098 w 123615"/>
                      <a:gd name="connsiteY1" fmla="*/ 21430 h 175934"/>
                      <a:gd name="connsiteX2" fmla="*/ 42863 w 123615"/>
                      <a:gd name="connsiteY2" fmla="*/ 175934 h 175934"/>
                      <a:gd name="connsiteX3" fmla="*/ 0 w 123615"/>
                      <a:gd name="connsiteY3" fmla="*/ 159579 h 175934"/>
                      <a:gd name="connsiteX4" fmla="*/ 74856 w 123615"/>
                      <a:gd name="connsiteY4" fmla="*/ 0 h 175934"/>
                      <a:gd name="connsiteX0" fmla="*/ 74856 w 123615"/>
                      <a:gd name="connsiteY0" fmla="*/ 0 h 175934"/>
                      <a:gd name="connsiteX1" fmla="*/ 120098 w 123615"/>
                      <a:gd name="connsiteY1" fmla="*/ 21430 h 175934"/>
                      <a:gd name="connsiteX2" fmla="*/ 42863 w 123615"/>
                      <a:gd name="connsiteY2" fmla="*/ 175934 h 175934"/>
                      <a:gd name="connsiteX3" fmla="*/ 0 w 123615"/>
                      <a:gd name="connsiteY3" fmla="*/ 159579 h 175934"/>
                      <a:gd name="connsiteX4" fmla="*/ 74856 w 123615"/>
                      <a:gd name="connsiteY4" fmla="*/ 0 h 175934"/>
                      <a:gd name="connsiteX0" fmla="*/ 74856 w 123615"/>
                      <a:gd name="connsiteY0" fmla="*/ 0 h 175934"/>
                      <a:gd name="connsiteX1" fmla="*/ 120098 w 123615"/>
                      <a:gd name="connsiteY1" fmla="*/ 21430 h 175934"/>
                      <a:gd name="connsiteX2" fmla="*/ 42863 w 123615"/>
                      <a:gd name="connsiteY2" fmla="*/ 175934 h 175934"/>
                      <a:gd name="connsiteX3" fmla="*/ 0 w 123615"/>
                      <a:gd name="connsiteY3" fmla="*/ 159579 h 175934"/>
                      <a:gd name="connsiteX4" fmla="*/ 74856 w 123615"/>
                      <a:gd name="connsiteY4" fmla="*/ 0 h 175934"/>
                      <a:gd name="connsiteX0" fmla="*/ 74856 w 123887"/>
                      <a:gd name="connsiteY0" fmla="*/ 0 h 175934"/>
                      <a:gd name="connsiteX1" fmla="*/ 120098 w 123887"/>
                      <a:gd name="connsiteY1" fmla="*/ 21430 h 175934"/>
                      <a:gd name="connsiteX2" fmla="*/ 42863 w 123887"/>
                      <a:gd name="connsiteY2" fmla="*/ 175934 h 175934"/>
                      <a:gd name="connsiteX3" fmla="*/ 0 w 123887"/>
                      <a:gd name="connsiteY3" fmla="*/ 159579 h 175934"/>
                      <a:gd name="connsiteX4" fmla="*/ 74856 w 123887"/>
                      <a:gd name="connsiteY4" fmla="*/ 0 h 175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87" h="175934">
                        <a:moveTo>
                          <a:pt x="74856" y="0"/>
                        </a:moveTo>
                        <a:cubicBezTo>
                          <a:pt x="99464" y="13530"/>
                          <a:pt x="96839" y="12458"/>
                          <a:pt x="120098" y="21430"/>
                        </a:cubicBezTo>
                        <a:cubicBezTo>
                          <a:pt x="134386" y="72758"/>
                          <a:pt x="108192" y="165398"/>
                          <a:pt x="42863" y="175934"/>
                        </a:cubicBezTo>
                        <a:cubicBezTo>
                          <a:pt x="23019" y="167995"/>
                          <a:pt x="19845" y="167208"/>
                          <a:pt x="0" y="159579"/>
                        </a:cubicBezTo>
                        <a:cubicBezTo>
                          <a:pt x="61119" y="140000"/>
                          <a:pt x="85172" y="60062"/>
                          <a:pt x="74856" y="0"/>
                        </a:cubicBezTo>
                        <a:close/>
                      </a:path>
                    </a:pathLst>
                  </a:custGeom>
                  <a:solidFill>
                    <a:srgbClr val="BFBFB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84" name="Rectangle 16"/>
                  <p:cNvSpPr/>
                  <p:nvPr/>
                </p:nvSpPr>
                <p:spPr>
                  <a:xfrm rot="1545906" flipH="1">
                    <a:off x="6051604" y="3140499"/>
                    <a:ext cx="154502" cy="169494"/>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4368"/>
                      <a:gd name="connsiteY0" fmla="*/ 0 h 368300"/>
                      <a:gd name="connsiteX1" fmla="*/ 664368 w 664368"/>
                      <a:gd name="connsiteY1" fmla="*/ 235744 h 368300"/>
                      <a:gd name="connsiteX2" fmla="*/ 571500 w 664368"/>
                      <a:gd name="connsiteY2" fmla="*/ 368300 h 368300"/>
                      <a:gd name="connsiteX3" fmla="*/ 0 w 664368"/>
                      <a:gd name="connsiteY3" fmla="*/ 368300 h 368300"/>
                      <a:gd name="connsiteX4" fmla="*/ 0 w 664368"/>
                      <a:gd name="connsiteY4" fmla="*/ 0 h 368300"/>
                      <a:gd name="connsiteX0" fmla="*/ 0 w 671347"/>
                      <a:gd name="connsiteY0" fmla="*/ 0 h 368300"/>
                      <a:gd name="connsiteX1" fmla="*/ 664368 w 671347"/>
                      <a:gd name="connsiteY1" fmla="*/ 235744 h 368300"/>
                      <a:gd name="connsiteX2" fmla="*/ 571500 w 671347"/>
                      <a:gd name="connsiteY2" fmla="*/ 368300 h 368300"/>
                      <a:gd name="connsiteX3" fmla="*/ 0 w 671347"/>
                      <a:gd name="connsiteY3" fmla="*/ 368300 h 368300"/>
                      <a:gd name="connsiteX4" fmla="*/ 0 w 671347"/>
                      <a:gd name="connsiteY4" fmla="*/ 0 h 368300"/>
                      <a:gd name="connsiteX0" fmla="*/ 0 w 664610"/>
                      <a:gd name="connsiteY0" fmla="*/ 0 h 368300"/>
                      <a:gd name="connsiteX1" fmla="*/ 664368 w 664610"/>
                      <a:gd name="connsiteY1" fmla="*/ 235744 h 368300"/>
                      <a:gd name="connsiteX2" fmla="*/ 571500 w 664610"/>
                      <a:gd name="connsiteY2" fmla="*/ 368300 h 368300"/>
                      <a:gd name="connsiteX3" fmla="*/ 0 w 664610"/>
                      <a:gd name="connsiteY3" fmla="*/ 368300 h 368300"/>
                      <a:gd name="connsiteX4" fmla="*/ 0 w 664610"/>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490538 w 664748"/>
                      <a:gd name="connsiteY0" fmla="*/ 0 h 215900"/>
                      <a:gd name="connsiteX1" fmla="*/ 664368 w 664748"/>
                      <a:gd name="connsiteY1" fmla="*/ 83344 h 215900"/>
                      <a:gd name="connsiteX2" fmla="*/ 571500 w 664748"/>
                      <a:gd name="connsiteY2" fmla="*/ 215900 h 215900"/>
                      <a:gd name="connsiteX3" fmla="*/ 0 w 664748"/>
                      <a:gd name="connsiteY3" fmla="*/ 215900 h 215900"/>
                      <a:gd name="connsiteX4" fmla="*/ 490538 w 664748"/>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5251 w 271842"/>
                      <a:gd name="connsiteY0" fmla="*/ 0 h 225425"/>
                      <a:gd name="connsiteX1" fmla="*/ 271462 w 271842"/>
                      <a:gd name="connsiteY1" fmla="*/ 92869 h 225425"/>
                      <a:gd name="connsiteX2" fmla="*/ 178594 w 271842"/>
                      <a:gd name="connsiteY2" fmla="*/ 225425 h 225425"/>
                      <a:gd name="connsiteX3" fmla="*/ 0 w 271842"/>
                      <a:gd name="connsiteY3" fmla="*/ 139700 h 225425"/>
                      <a:gd name="connsiteX4" fmla="*/ 95251 w 271842"/>
                      <a:gd name="connsiteY4" fmla="*/ 0 h 225425"/>
                      <a:gd name="connsiteX0" fmla="*/ 92870 w 271842"/>
                      <a:gd name="connsiteY0" fmla="*/ 0 h 220662"/>
                      <a:gd name="connsiteX1" fmla="*/ 271462 w 271842"/>
                      <a:gd name="connsiteY1" fmla="*/ 88106 h 220662"/>
                      <a:gd name="connsiteX2" fmla="*/ 178594 w 271842"/>
                      <a:gd name="connsiteY2" fmla="*/ 220662 h 220662"/>
                      <a:gd name="connsiteX3" fmla="*/ 0 w 271842"/>
                      <a:gd name="connsiteY3" fmla="*/ 134937 h 220662"/>
                      <a:gd name="connsiteX4" fmla="*/ 92870 w 271842"/>
                      <a:gd name="connsiteY4" fmla="*/ 0 h 220662"/>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85726 w 271842"/>
                      <a:gd name="connsiteY0" fmla="*/ 0 h 230186"/>
                      <a:gd name="connsiteX1" fmla="*/ 271462 w 271842"/>
                      <a:gd name="connsiteY1" fmla="*/ 97630 h 230186"/>
                      <a:gd name="connsiteX2" fmla="*/ 178594 w 271842"/>
                      <a:gd name="connsiteY2" fmla="*/ 230186 h 230186"/>
                      <a:gd name="connsiteX3" fmla="*/ 0 w 271842"/>
                      <a:gd name="connsiteY3" fmla="*/ 144461 h 230186"/>
                      <a:gd name="connsiteX4" fmla="*/ 85726 w 271842"/>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2567"/>
                      <a:gd name="connsiteX1" fmla="*/ 285750 w 286111"/>
                      <a:gd name="connsiteY1" fmla="*/ 97630 h 232567"/>
                      <a:gd name="connsiteX2" fmla="*/ 190501 w 286111"/>
                      <a:gd name="connsiteY2" fmla="*/ 232567 h 232567"/>
                      <a:gd name="connsiteX3" fmla="*/ 0 w 286111"/>
                      <a:gd name="connsiteY3" fmla="*/ 153986 h 232567"/>
                      <a:gd name="connsiteX4" fmla="*/ 97633 w 286111"/>
                      <a:gd name="connsiteY4" fmla="*/ 0 h 232567"/>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200027 w 286111"/>
                      <a:gd name="connsiteY0" fmla="*/ 0 h 182561"/>
                      <a:gd name="connsiteX1" fmla="*/ 285750 w 286111"/>
                      <a:gd name="connsiteY1" fmla="*/ 47624 h 182561"/>
                      <a:gd name="connsiteX2" fmla="*/ 190501 w 286111"/>
                      <a:gd name="connsiteY2" fmla="*/ 182561 h 182561"/>
                      <a:gd name="connsiteX3" fmla="*/ 0 w 286111"/>
                      <a:gd name="connsiteY3" fmla="*/ 103980 h 182561"/>
                      <a:gd name="connsiteX4" fmla="*/ 200027 w 286111"/>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2080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66678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66678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6204 w 167050"/>
                      <a:gd name="connsiteY0" fmla="*/ 0 h 182561"/>
                      <a:gd name="connsiteX1" fmla="*/ 166689 w 167050"/>
                      <a:gd name="connsiteY1" fmla="*/ 47624 h 182561"/>
                      <a:gd name="connsiteX2" fmla="*/ 71440 w 167050"/>
                      <a:gd name="connsiteY2" fmla="*/ 182561 h 182561"/>
                      <a:gd name="connsiteX3" fmla="*/ 0 w 167050"/>
                      <a:gd name="connsiteY3" fmla="*/ 144462 h 182561"/>
                      <a:gd name="connsiteX4" fmla="*/ 76204 w 167050"/>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900"/>
                      <a:gd name="connsiteY0" fmla="*/ 0 h 189705"/>
                      <a:gd name="connsiteX1" fmla="*/ 164308 w 164900"/>
                      <a:gd name="connsiteY1" fmla="*/ 47624 h 189705"/>
                      <a:gd name="connsiteX2" fmla="*/ 88109 w 164900"/>
                      <a:gd name="connsiteY2" fmla="*/ 189705 h 189705"/>
                      <a:gd name="connsiteX3" fmla="*/ 0 w 164900"/>
                      <a:gd name="connsiteY3" fmla="*/ 139699 h 189705"/>
                      <a:gd name="connsiteX4" fmla="*/ 73823 w 164900"/>
                      <a:gd name="connsiteY4" fmla="*/ 0 h 189705"/>
                      <a:gd name="connsiteX0" fmla="*/ 73823 w 164711"/>
                      <a:gd name="connsiteY0" fmla="*/ 0 h 189705"/>
                      <a:gd name="connsiteX1" fmla="*/ 164308 w 164711"/>
                      <a:gd name="connsiteY1" fmla="*/ 47624 h 189705"/>
                      <a:gd name="connsiteX2" fmla="*/ 88109 w 164711"/>
                      <a:gd name="connsiteY2" fmla="*/ 189705 h 189705"/>
                      <a:gd name="connsiteX3" fmla="*/ 0 w 164711"/>
                      <a:gd name="connsiteY3" fmla="*/ 139699 h 189705"/>
                      <a:gd name="connsiteX4" fmla="*/ 73823 w 164711"/>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54773 w 164599"/>
                      <a:gd name="connsiteY0" fmla="*/ 0 h 201611"/>
                      <a:gd name="connsiteX1" fmla="*/ 164308 w 164599"/>
                      <a:gd name="connsiteY1" fmla="*/ 59530 h 201611"/>
                      <a:gd name="connsiteX2" fmla="*/ 88109 w 164599"/>
                      <a:gd name="connsiteY2" fmla="*/ 201611 h 201611"/>
                      <a:gd name="connsiteX3" fmla="*/ 0 w 164599"/>
                      <a:gd name="connsiteY3" fmla="*/ 151605 h 201611"/>
                      <a:gd name="connsiteX4" fmla="*/ 54773 w 164599"/>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781"/>
                      <a:gd name="connsiteY0" fmla="*/ 0 h 201611"/>
                      <a:gd name="connsiteX1" fmla="*/ 180977 w 181781"/>
                      <a:gd name="connsiteY1" fmla="*/ 59530 h 201611"/>
                      <a:gd name="connsiteX2" fmla="*/ 104778 w 181781"/>
                      <a:gd name="connsiteY2" fmla="*/ 201611 h 201611"/>
                      <a:gd name="connsiteX3" fmla="*/ 0 w 181781"/>
                      <a:gd name="connsiteY3" fmla="*/ 151605 h 201611"/>
                      <a:gd name="connsiteX4" fmla="*/ 71442 w 181781"/>
                      <a:gd name="connsiteY4" fmla="*/ 0 h 201611"/>
                      <a:gd name="connsiteX0" fmla="*/ 71442 w 185660"/>
                      <a:gd name="connsiteY0" fmla="*/ 0 h 201611"/>
                      <a:gd name="connsiteX1" fmla="*/ 180977 w 185660"/>
                      <a:gd name="connsiteY1" fmla="*/ 59530 h 201611"/>
                      <a:gd name="connsiteX2" fmla="*/ 104778 w 185660"/>
                      <a:gd name="connsiteY2" fmla="*/ 201611 h 201611"/>
                      <a:gd name="connsiteX3" fmla="*/ 0 w 185660"/>
                      <a:gd name="connsiteY3" fmla="*/ 151605 h 201611"/>
                      <a:gd name="connsiteX4" fmla="*/ 71442 w 185660"/>
                      <a:gd name="connsiteY4" fmla="*/ 0 h 201611"/>
                      <a:gd name="connsiteX0" fmla="*/ 71442 w 183178"/>
                      <a:gd name="connsiteY0" fmla="*/ 0 h 201611"/>
                      <a:gd name="connsiteX1" fmla="*/ 180977 w 183178"/>
                      <a:gd name="connsiteY1" fmla="*/ 59530 h 201611"/>
                      <a:gd name="connsiteX2" fmla="*/ 104778 w 183178"/>
                      <a:gd name="connsiteY2" fmla="*/ 201611 h 201611"/>
                      <a:gd name="connsiteX3" fmla="*/ 0 w 183178"/>
                      <a:gd name="connsiteY3" fmla="*/ 151605 h 201611"/>
                      <a:gd name="connsiteX4" fmla="*/ 71442 w 183178"/>
                      <a:gd name="connsiteY4" fmla="*/ 0 h 201611"/>
                      <a:gd name="connsiteX0" fmla="*/ 73766 w 183178"/>
                      <a:gd name="connsiteY0" fmla="*/ 0 h 169276"/>
                      <a:gd name="connsiteX1" fmla="*/ 180977 w 183178"/>
                      <a:gd name="connsiteY1" fmla="*/ 27195 h 169276"/>
                      <a:gd name="connsiteX2" fmla="*/ 104778 w 183178"/>
                      <a:gd name="connsiteY2" fmla="*/ 169276 h 169276"/>
                      <a:gd name="connsiteX3" fmla="*/ 0 w 183178"/>
                      <a:gd name="connsiteY3" fmla="*/ 119270 h 169276"/>
                      <a:gd name="connsiteX4" fmla="*/ 73766 w 183178"/>
                      <a:gd name="connsiteY4" fmla="*/ 0 h 169276"/>
                      <a:gd name="connsiteX0" fmla="*/ 73766 w 183178"/>
                      <a:gd name="connsiteY0" fmla="*/ 0 h 182590"/>
                      <a:gd name="connsiteX1" fmla="*/ 180977 w 183178"/>
                      <a:gd name="connsiteY1" fmla="*/ 40509 h 182590"/>
                      <a:gd name="connsiteX2" fmla="*/ 104778 w 183178"/>
                      <a:gd name="connsiteY2" fmla="*/ 182590 h 182590"/>
                      <a:gd name="connsiteX3" fmla="*/ 0 w 183178"/>
                      <a:gd name="connsiteY3" fmla="*/ 132584 h 182590"/>
                      <a:gd name="connsiteX4" fmla="*/ 73766 w 183178"/>
                      <a:gd name="connsiteY4" fmla="*/ 0 h 182590"/>
                      <a:gd name="connsiteX0" fmla="*/ 73766 w 183178"/>
                      <a:gd name="connsiteY0" fmla="*/ 0 h 182590"/>
                      <a:gd name="connsiteX1" fmla="*/ 180977 w 183178"/>
                      <a:gd name="connsiteY1" fmla="*/ 40509 h 182590"/>
                      <a:gd name="connsiteX2" fmla="*/ 104778 w 183178"/>
                      <a:gd name="connsiteY2" fmla="*/ 182590 h 182590"/>
                      <a:gd name="connsiteX3" fmla="*/ 0 w 183178"/>
                      <a:gd name="connsiteY3" fmla="*/ 132584 h 182590"/>
                      <a:gd name="connsiteX4" fmla="*/ 73766 w 183178"/>
                      <a:gd name="connsiteY4" fmla="*/ 0 h 182590"/>
                      <a:gd name="connsiteX0" fmla="*/ 92358 w 183178"/>
                      <a:gd name="connsiteY0" fmla="*/ 14205 h 153049"/>
                      <a:gd name="connsiteX1" fmla="*/ 180977 w 183178"/>
                      <a:gd name="connsiteY1" fmla="*/ 10968 h 153049"/>
                      <a:gd name="connsiteX2" fmla="*/ 104778 w 183178"/>
                      <a:gd name="connsiteY2" fmla="*/ 153049 h 153049"/>
                      <a:gd name="connsiteX3" fmla="*/ 0 w 183178"/>
                      <a:gd name="connsiteY3" fmla="*/ 103043 h 153049"/>
                      <a:gd name="connsiteX4" fmla="*/ 92358 w 183178"/>
                      <a:gd name="connsiteY4" fmla="*/ 14205 h 153049"/>
                      <a:gd name="connsiteX0" fmla="*/ 90034 w 183178"/>
                      <a:gd name="connsiteY0" fmla="*/ 0 h 159766"/>
                      <a:gd name="connsiteX1" fmla="*/ 180977 w 183178"/>
                      <a:gd name="connsiteY1" fmla="*/ 17685 h 159766"/>
                      <a:gd name="connsiteX2" fmla="*/ 104778 w 183178"/>
                      <a:gd name="connsiteY2" fmla="*/ 159766 h 159766"/>
                      <a:gd name="connsiteX3" fmla="*/ 0 w 183178"/>
                      <a:gd name="connsiteY3" fmla="*/ 109760 h 159766"/>
                      <a:gd name="connsiteX4" fmla="*/ 90034 w 183178"/>
                      <a:gd name="connsiteY4" fmla="*/ 0 h 159766"/>
                      <a:gd name="connsiteX0" fmla="*/ 90034 w 183178"/>
                      <a:gd name="connsiteY0" fmla="*/ 0 h 159766"/>
                      <a:gd name="connsiteX1" fmla="*/ 180977 w 183178"/>
                      <a:gd name="connsiteY1" fmla="*/ 17685 h 159766"/>
                      <a:gd name="connsiteX2" fmla="*/ 104778 w 183178"/>
                      <a:gd name="connsiteY2" fmla="*/ 159766 h 159766"/>
                      <a:gd name="connsiteX3" fmla="*/ 0 w 183178"/>
                      <a:gd name="connsiteY3" fmla="*/ 109760 h 159766"/>
                      <a:gd name="connsiteX4" fmla="*/ 90034 w 183178"/>
                      <a:gd name="connsiteY4" fmla="*/ 0 h 159766"/>
                      <a:gd name="connsiteX0" fmla="*/ 90034 w 183178"/>
                      <a:gd name="connsiteY0" fmla="*/ 0 h 159766"/>
                      <a:gd name="connsiteX1" fmla="*/ 180977 w 183178"/>
                      <a:gd name="connsiteY1" fmla="*/ 17685 h 159766"/>
                      <a:gd name="connsiteX2" fmla="*/ 104778 w 183178"/>
                      <a:gd name="connsiteY2" fmla="*/ 159766 h 159766"/>
                      <a:gd name="connsiteX3" fmla="*/ 0 w 183178"/>
                      <a:gd name="connsiteY3" fmla="*/ 109760 h 159766"/>
                      <a:gd name="connsiteX4" fmla="*/ 90034 w 183178"/>
                      <a:gd name="connsiteY4" fmla="*/ 0 h 159766"/>
                      <a:gd name="connsiteX0" fmla="*/ 90034 w 183178"/>
                      <a:gd name="connsiteY0" fmla="*/ 0 h 159766"/>
                      <a:gd name="connsiteX1" fmla="*/ 180977 w 183178"/>
                      <a:gd name="connsiteY1" fmla="*/ 17685 h 159766"/>
                      <a:gd name="connsiteX2" fmla="*/ 104778 w 183178"/>
                      <a:gd name="connsiteY2" fmla="*/ 159766 h 159766"/>
                      <a:gd name="connsiteX3" fmla="*/ 0 w 183178"/>
                      <a:gd name="connsiteY3" fmla="*/ 109760 h 159766"/>
                      <a:gd name="connsiteX4" fmla="*/ 90034 w 183178"/>
                      <a:gd name="connsiteY4" fmla="*/ 0 h 159766"/>
                      <a:gd name="connsiteX0" fmla="*/ 101653 w 183178"/>
                      <a:gd name="connsiteY0" fmla="*/ 0 h 169276"/>
                      <a:gd name="connsiteX1" fmla="*/ 180977 w 183178"/>
                      <a:gd name="connsiteY1" fmla="*/ 27195 h 169276"/>
                      <a:gd name="connsiteX2" fmla="*/ 104778 w 183178"/>
                      <a:gd name="connsiteY2" fmla="*/ 169276 h 169276"/>
                      <a:gd name="connsiteX3" fmla="*/ 0 w 183178"/>
                      <a:gd name="connsiteY3" fmla="*/ 119270 h 169276"/>
                      <a:gd name="connsiteX4" fmla="*/ 101653 w 183178"/>
                      <a:gd name="connsiteY4" fmla="*/ 0 h 169276"/>
                      <a:gd name="connsiteX0" fmla="*/ 101653 w 183178"/>
                      <a:gd name="connsiteY0" fmla="*/ 0 h 169276"/>
                      <a:gd name="connsiteX1" fmla="*/ 180977 w 183178"/>
                      <a:gd name="connsiteY1" fmla="*/ 27195 h 169276"/>
                      <a:gd name="connsiteX2" fmla="*/ 104778 w 183178"/>
                      <a:gd name="connsiteY2" fmla="*/ 169276 h 169276"/>
                      <a:gd name="connsiteX3" fmla="*/ 0 w 183178"/>
                      <a:gd name="connsiteY3" fmla="*/ 119270 h 169276"/>
                      <a:gd name="connsiteX4" fmla="*/ 101653 w 183178"/>
                      <a:gd name="connsiteY4" fmla="*/ 0 h 169276"/>
                      <a:gd name="connsiteX0" fmla="*/ 101653 w 183178"/>
                      <a:gd name="connsiteY0" fmla="*/ 0 h 169276"/>
                      <a:gd name="connsiteX1" fmla="*/ 180977 w 183178"/>
                      <a:gd name="connsiteY1" fmla="*/ 27195 h 169276"/>
                      <a:gd name="connsiteX2" fmla="*/ 104778 w 183178"/>
                      <a:gd name="connsiteY2" fmla="*/ 169276 h 169276"/>
                      <a:gd name="connsiteX3" fmla="*/ 0 w 183178"/>
                      <a:gd name="connsiteY3" fmla="*/ 119270 h 169276"/>
                      <a:gd name="connsiteX4" fmla="*/ 101653 w 183178"/>
                      <a:gd name="connsiteY4" fmla="*/ 0 h 169276"/>
                      <a:gd name="connsiteX0" fmla="*/ 101653 w 183178"/>
                      <a:gd name="connsiteY0" fmla="*/ 0 h 169276"/>
                      <a:gd name="connsiteX1" fmla="*/ 180977 w 183178"/>
                      <a:gd name="connsiteY1" fmla="*/ 27195 h 169276"/>
                      <a:gd name="connsiteX2" fmla="*/ 104778 w 183178"/>
                      <a:gd name="connsiteY2" fmla="*/ 169276 h 169276"/>
                      <a:gd name="connsiteX3" fmla="*/ 0 w 183178"/>
                      <a:gd name="connsiteY3" fmla="*/ 119270 h 169276"/>
                      <a:gd name="connsiteX4" fmla="*/ 101653 w 183178"/>
                      <a:gd name="connsiteY4" fmla="*/ 0 h 169276"/>
                      <a:gd name="connsiteX0" fmla="*/ 101653 w 183178"/>
                      <a:gd name="connsiteY0" fmla="*/ 0 h 169276"/>
                      <a:gd name="connsiteX1" fmla="*/ 180977 w 183178"/>
                      <a:gd name="connsiteY1" fmla="*/ 27195 h 169276"/>
                      <a:gd name="connsiteX2" fmla="*/ 104778 w 183178"/>
                      <a:gd name="connsiteY2" fmla="*/ 169276 h 169276"/>
                      <a:gd name="connsiteX3" fmla="*/ 0 w 183178"/>
                      <a:gd name="connsiteY3" fmla="*/ 119270 h 169276"/>
                      <a:gd name="connsiteX4" fmla="*/ 101653 w 183178"/>
                      <a:gd name="connsiteY4" fmla="*/ 0 h 169276"/>
                      <a:gd name="connsiteX0" fmla="*/ 101653 w 183178"/>
                      <a:gd name="connsiteY0" fmla="*/ 0 h 169276"/>
                      <a:gd name="connsiteX1" fmla="*/ 180977 w 183178"/>
                      <a:gd name="connsiteY1" fmla="*/ 27195 h 169276"/>
                      <a:gd name="connsiteX2" fmla="*/ 104778 w 183178"/>
                      <a:gd name="connsiteY2" fmla="*/ 169276 h 169276"/>
                      <a:gd name="connsiteX3" fmla="*/ 0 w 183178"/>
                      <a:gd name="connsiteY3" fmla="*/ 119270 h 169276"/>
                      <a:gd name="connsiteX4" fmla="*/ 101653 w 183178"/>
                      <a:gd name="connsiteY4" fmla="*/ 0 h 169276"/>
                      <a:gd name="connsiteX0" fmla="*/ 99329 w 183178"/>
                      <a:gd name="connsiteY0" fmla="*/ 0 h 171178"/>
                      <a:gd name="connsiteX1" fmla="*/ 180977 w 183178"/>
                      <a:gd name="connsiteY1" fmla="*/ 29097 h 171178"/>
                      <a:gd name="connsiteX2" fmla="*/ 104778 w 183178"/>
                      <a:gd name="connsiteY2" fmla="*/ 171178 h 171178"/>
                      <a:gd name="connsiteX3" fmla="*/ 0 w 183178"/>
                      <a:gd name="connsiteY3" fmla="*/ 121172 h 171178"/>
                      <a:gd name="connsiteX4" fmla="*/ 99329 w 183178"/>
                      <a:gd name="connsiteY4" fmla="*/ 0 h 171178"/>
                      <a:gd name="connsiteX0" fmla="*/ 99329 w 183178"/>
                      <a:gd name="connsiteY0" fmla="*/ 0 h 171178"/>
                      <a:gd name="connsiteX1" fmla="*/ 180977 w 183178"/>
                      <a:gd name="connsiteY1" fmla="*/ 29097 h 171178"/>
                      <a:gd name="connsiteX2" fmla="*/ 104778 w 183178"/>
                      <a:gd name="connsiteY2" fmla="*/ 171178 h 171178"/>
                      <a:gd name="connsiteX3" fmla="*/ 0 w 183178"/>
                      <a:gd name="connsiteY3" fmla="*/ 121172 h 171178"/>
                      <a:gd name="connsiteX4" fmla="*/ 99329 w 183178"/>
                      <a:gd name="connsiteY4" fmla="*/ 0 h 171178"/>
                      <a:gd name="connsiteX0" fmla="*/ 99329 w 183178"/>
                      <a:gd name="connsiteY0" fmla="*/ 0 h 171178"/>
                      <a:gd name="connsiteX1" fmla="*/ 180977 w 183178"/>
                      <a:gd name="connsiteY1" fmla="*/ 29097 h 171178"/>
                      <a:gd name="connsiteX2" fmla="*/ 104778 w 183178"/>
                      <a:gd name="connsiteY2" fmla="*/ 171178 h 171178"/>
                      <a:gd name="connsiteX3" fmla="*/ 0 w 183178"/>
                      <a:gd name="connsiteY3" fmla="*/ 121172 h 171178"/>
                      <a:gd name="connsiteX4" fmla="*/ 99329 w 183178"/>
                      <a:gd name="connsiteY4" fmla="*/ 0 h 171178"/>
                      <a:gd name="connsiteX0" fmla="*/ 99329 w 183178"/>
                      <a:gd name="connsiteY0" fmla="*/ 0 h 171178"/>
                      <a:gd name="connsiteX1" fmla="*/ 180977 w 183178"/>
                      <a:gd name="connsiteY1" fmla="*/ 29097 h 171178"/>
                      <a:gd name="connsiteX2" fmla="*/ 104778 w 183178"/>
                      <a:gd name="connsiteY2" fmla="*/ 171178 h 171178"/>
                      <a:gd name="connsiteX3" fmla="*/ 0 w 183178"/>
                      <a:gd name="connsiteY3" fmla="*/ 121172 h 171178"/>
                      <a:gd name="connsiteX4" fmla="*/ 99329 w 183178"/>
                      <a:gd name="connsiteY4" fmla="*/ 0 h 171178"/>
                      <a:gd name="connsiteX0" fmla="*/ 99329 w 185659"/>
                      <a:gd name="connsiteY0" fmla="*/ 0 h 171178"/>
                      <a:gd name="connsiteX1" fmla="*/ 180977 w 185659"/>
                      <a:gd name="connsiteY1" fmla="*/ 29097 h 171178"/>
                      <a:gd name="connsiteX2" fmla="*/ 104778 w 185659"/>
                      <a:gd name="connsiteY2" fmla="*/ 171178 h 171178"/>
                      <a:gd name="connsiteX3" fmla="*/ 0 w 185659"/>
                      <a:gd name="connsiteY3" fmla="*/ 121172 h 171178"/>
                      <a:gd name="connsiteX4" fmla="*/ 99329 w 185659"/>
                      <a:gd name="connsiteY4" fmla="*/ 0 h 171178"/>
                      <a:gd name="connsiteX0" fmla="*/ 99329 w 186143"/>
                      <a:gd name="connsiteY0" fmla="*/ 0 h 171178"/>
                      <a:gd name="connsiteX1" fmla="*/ 180977 w 186143"/>
                      <a:gd name="connsiteY1" fmla="*/ 29097 h 171178"/>
                      <a:gd name="connsiteX2" fmla="*/ 109425 w 186143"/>
                      <a:gd name="connsiteY2" fmla="*/ 171178 h 171178"/>
                      <a:gd name="connsiteX3" fmla="*/ 0 w 186143"/>
                      <a:gd name="connsiteY3" fmla="*/ 121172 h 171178"/>
                      <a:gd name="connsiteX4" fmla="*/ 99329 w 186143"/>
                      <a:gd name="connsiteY4" fmla="*/ 0 h 171178"/>
                      <a:gd name="connsiteX0" fmla="*/ 99329 w 186143"/>
                      <a:gd name="connsiteY0" fmla="*/ 0 h 171178"/>
                      <a:gd name="connsiteX1" fmla="*/ 180977 w 186143"/>
                      <a:gd name="connsiteY1" fmla="*/ 29097 h 171178"/>
                      <a:gd name="connsiteX2" fmla="*/ 109425 w 186143"/>
                      <a:gd name="connsiteY2" fmla="*/ 171178 h 171178"/>
                      <a:gd name="connsiteX3" fmla="*/ 0 w 186143"/>
                      <a:gd name="connsiteY3" fmla="*/ 121172 h 171178"/>
                      <a:gd name="connsiteX4" fmla="*/ 99329 w 186143"/>
                      <a:gd name="connsiteY4" fmla="*/ 0 h 171178"/>
                      <a:gd name="connsiteX0" fmla="*/ 99329 w 186418"/>
                      <a:gd name="connsiteY0" fmla="*/ 0 h 171178"/>
                      <a:gd name="connsiteX1" fmla="*/ 180977 w 186418"/>
                      <a:gd name="connsiteY1" fmla="*/ 29097 h 171178"/>
                      <a:gd name="connsiteX2" fmla="*/ 111749 w 186418"/>
                      <a:gd name="connsiteY2" fmla="*/ 171178 h 171178"/>
                      <a:gd name="connsiteX3" fmla="*/ 0 w 186418"/>
                      <a:gd name="connsiteY3" fmla="*/ 121172 h 171178"/>
                      <a:gd name="connsiteX4" fmla="*/ 99329 w 186418"/>
                      <a:gd name="connsiteY4" fmla="*/ 0 h 171178"/>
                      <a:gd name="connsiteX0" fmla="*/ 99329 w 186418"/>
                      <a:gd name="connsiteY0" fmla="*/ 0 h 171178"/>
                      <a:gd name="connsiteX1" fmla="*/ 180977 w 186418"/>
                      <a:gd name="connsiteY1" fmla="*/ 29097 h 171178"/>
                      <a:gd name="connsiteX2" fmla="*/ 111749 w 186418"/>
                      <a:gd name="connsiteY2" fmla="*/ 171178 h 171178"/>
                      <a:gd name="connsiteX3" fmla="*/ 0 w 186418"/>
                      <a:gd name="connsiteY3" fmla="*/ 121172 h 171178"/>
                      <a:gd name="connsiteX4" fmla="*/ 99329 w 186418"/>
                      <a:gd name="connsiteY4" fmla="*/ 0 h 171178"/>
                      <a:gd name="connsiteX0" fmla="*/ 99329 w 186418"/>
                      <a:gd name="connsiteY0" fmla="*/ 0 h 171178"/>
                      <a:gd name="connsiteX1" fmla="*/ 180977 w 186418"/>
                      <a:gd name="connsiteY1" fmla="*/ 29097 h 171178"/>
                      <a:gd name="connsiteX2" fmla="*/ 111749 w 186418"/>
                      <a:gd name="connsiteY2" fmla="*/ 171178 h 171178"/>
                      <a:gd name="connsiteX3" fmla="*/ 0 w 186418"/>
                      <a:gd name="connsiteY3" fmla="*/ 121172 h 171178"/>
                      <a:gd name="connsiteX4" fmla="*/ 99329 w 186418"/>
                      <a:gd name="connsiteY4" fmla="*/ 0 h 171178"/>
                      <a:gd name="connsiteX0" fmla="*/ 99329 w 185891"/>
                      <a:gd name="connsiteY0" fmla="*/ 0 h 169276"/>
                      <a:gd name="connsiteX1" fmla="*/ 180977 w 185891"/>
                      <a:gd name="connsiteY1" fmla="*/ 29097 h 169276"/>
                      <a:gd name="connsiteX2" fmla="*/ 107101 w 185891"/>
                      <a:gd name="connsiteY2" fmla="*/ 169276 h 169276"/>
                      <a:gd name="connsiteX3" fmla="*/ 0 w 185891"/>
                      <a:gd name="connsiteY3" fmla="*/ 121172 h 169276"/>
                      <a:gd name="connsiteX4" fmla="*/ 99329 w 185891"/>
                      <a:gd name="connsiteY4" fmla="*/ 0 h 169276"/>
                      <a:gd name="connsiteX0" fmla="*/ 99329 w 184795"/>
                      <a:gd name="connsiteY0" fmla="*/ 0 h 169276"/>
                      <a:gd name="connsiteX1" fmla="*/ 180977 w 184795"/>
                      <a:gd name="connsiteY1" fmla="*/ 29097 h 169276"/>
                      <a:gd name="connsiteX2" fmla="*/ 107101 w 184795"/>
                      <a:gd name="connsiteY2" fmla="*/ 169276 h 169276"/>
                      <a:gd name="connsiteX3" fmla="*/ 0 w 184795"/>
                      <a:gd name="connsiteY3" fmla="*/ 121172 h 169276"/>
                      <a:gd name="connsiteX4" fmla="*/ 99329 w 184795"/>
                      <a:gd name="connsiteY4" fmla="*/ 0 h 169276"/>
                      <a:gd name="connsiteX0" fmla="*/ 99329 w 184373"/>
                      <a:gd name="connsiteY0" fmla="*/ 0 h 165472"/>
                      <a:gd name="connsiteX1" fmla="*/ 180977 w 184373"/>
                      <a:gd name="connsiteY1" fmla="*/ 29097 h 165472"/>
                      <a:gd name="connsiteX2" fmla="*/ 100129 w 184373"/>
                      <a:gd name="connsiteY2" fmla="*/ 165472 h 165472"/>
                      <a:gd name="connsiteX3" fmla="*/ 0 w 184373"/>
                      <a:gd name="connsiteY3" fmla="*/ 121172 h 165472"/>
                      <a:gd name="connsiteX4" fmla="*/ 99329 w 184373"/>
                      <a:gd name="connsiteY4" fmla="*/ 0 h 165472"/>
                      <a:gd name="connsiteX0" fmla="*/ 99329 w 184373"/>
                      <a:gd name="connsiteY0" fmla="*/ 0 h 165472"/>
                      <a:gd name="connsiteX1" fmla="*/ 180977 w 184373"/>
                      <a:gd name="connsiteY1" fmla="*/ 29097 h 165472"/>
                      <a:gd name="connsiteX2" fmla="*/ 100129 w 184373"/>
                      <a:gd name="connsiteY2" fmla="*/ 165472 h 165472"/>
                      <a:gd name="connsiteX3" fmla="*/ 0 w 184373"/>
                      <a:gd name="connsiteY3" fmla="*/ 121172 h 165472"/>
                      <a:gd name="connsiteX4" fmla="*/ 99329 w 184373"/>
                      <a:gd name="connsiteY4" fmla="*/ 0 h 165472"/>
                      <a:gd name="connsiteX0" fmla="*/ 99329 w 183948"/>
                      <a:gd name="connsiteY0" fmla="*/ 0 h 165472"/>
                      <a:gd name="connsiteX1" fmla="*/ 180977 w 183948"/>
                      <a:gd name="connsiteY1" fmla="*/ 29097 h 165472"/>
                      <a:gd name="connsiteX2" fmla="*/ 100129 w 183948"/>
                      <a:gd name="connsiteY2" fmla="*/ 165472 h 165472"/>
                      <a:gd name="connsiteX3" fmla="*/ 0 w 183948"/>
                      <a:gd name="connsiteY3" fmla="*/ 121172 h 165472"/>
                      <a:gd name="connsiteX4" fmla="*/ 99329 w 183948"/>
                      <a:gd name="connsiteY4" fmla="*/ 0 h 165472"/>
                      <a:gd name="connsiteX0" fmla="*/ 99329 w 181711"/>
                      <a:gd name="connsiteY0" fmla="*/ 0 h 165472"/>
                      <a:gd name="connsiteX1" fmla="*/ 180977 w 181711"/>
                      <a:gd name="connsiteY1" fmla="*/ 29097 h 165472"/>
                      <a:gd name="connsiteX2" fmla="*/ 100129 w 181711"/>
                      <a:gd name="connsiteY2" fmla="*/ 165472 h 165472"/>
                      <a:gd name="connsiteX3" fmla="*/ 0 w 181711"/>
                      <a:gd name="connsiteY3" fmla="*/ 121172 h 165472"/>
                      <a:gd name="connsiteX4" fmla="*/ 99329 w 181711"/>
                      <a:gd name="connsiteY4" fmla="*/ 0 h 165472"/>
                      <a:gd name="connsiteX0" fmla="*/ 99329 w 181338"/>
                      <a:gd name="connsiteY0" fmla="*/ 0 h 165472"/>
                      <a:gd name="connsiteX1" fmla="*/ 180977 w 181338"/>
                      <a:gd name="connsiteY1" fmla="*/ 29097 h 165472"/>
                      <a:gd name="connsiteX2" fmla="*/ 100129 w 181338"/>
                      <a:gd name="connsiteY2" fmla="*/ 165472 h 165472"/>
                      <a:gd name="connsiteX3" fmla="*/ 0 w 181338"/>
                      <a:gd name="connsiteY3" fmla="*/ 121172 h 165472"/>
                      <a:gd name="connsiteX4" fmla="*/ 99329 w 181338"/>
                      <a:gd name="connsiteY4" fmla="*/ 0 h 165472"/>
                      <a:gd name="connsiteX0" fmla="*/ 99329 w 181321"/>
                      <a:gd name="connsiteY0" fmla="*/ 0 h 165472"/>
                      <a:gd name="connsiteX1" fmla="*/ 180977 w 181321"/>
                      <a:gd name="connsiteY1" fmla="*/ 29097 h 165472"/>
                      <a:gd name="connsiteX2" fmla="*/ 100129 w 181321"/>
                      <a:gd name="connsiteY2" fmla="*/ 165472 h 165472"/>
                      <a:gd name="connsiteX3" fmla="*/ 0 w 181321"/>
                      <a:gd name="connsiteY3" fmla="*/ 121172 h 165472"/>
                      <a:gd name="connsiteX4" fmla="*/ 99329 w 181321"/>
                      <a:gd name="connsiteY4" fmla="*/ 0 h 165472"/>
                      <a:gd name="connsiteX0" fmla="*/ 99329 w 181321"/>
                      <a:gd name="connsiteY0" fmla="*/ 0 h 165472"/>
                      <a:gd name="connsiteX1" fmla="*/ 180977 w 181321"/>
                      <a:gd name="connsiteY1" fmla="*/ 29097 h 165472"/>
                      <a:gd name="connsiteX2" fmla="*/ 100129 w 181321"/>
                      <a:gd name="connsiteY2" fmla="*/ 165472 h 165472"/>
                      <a:gd name="connsiteX3" fmla="*/ 0 w 181321"/>
                      <a:gd name="connsiteY3" fmla="*/ 121172 h 165472"/>
                      <a:gd name="connsiteX4" fmla="*/ 99329 w 181321"/>
                      <a:gd name="connsiteY4" fmla="*/ 0 h 165472"/>
                      <a:gd name="connsiteX0" fmla="*/ 99329 w 182129"/>
                      <a:gd name="connsiteY0" fmla="*/ 0 h 165472"/>
                      <a:gd name="connsiteX1" fmla="*/ 180977 w 182129"/>
                      <a:gd name="connsiteY1" fmla="*/ 29097 h 165472"/>
                      <a:gd name="connsiteX2" fmla="*/ 100129 w 182129"/>
                      <a:gd name="connsiteY2" fmla="*/ 165472 h 165472"/>
                      <a:gd name="connsiteX3" fmla="*/ 0 w 182129"/>
                      <a:gd name="connsiteY3" fmla="*/ 121172 h 165472"/>
                      <a:gd name="connsiteX4" fmla="*/ 99329 w 182129"/>
                      <a:gd name="connsiteY4" fmla="*/ 0 h 165472"/>
                      <a:gd name="connsiteX0" fmla="*/ 99329 w 182129"/>
                      <a:gd name="connsiteY0" fmla="*/ 0 h 165472"/>
                      <a:gd name="connsiteX1" fmla="*/ 180977 w 182129"/>
                      <a:gd name="connsiteY1" fmla="*/ 29097 h 165472"/>
                      <a:gd name="connsiteX2" fmla="*/ 100129 w 182129"/>
                      <a:gd name="connsiteY2" fmla="*/ 165472 h 165472"/>
                      <a:gd name="connsiteX3" fmla="*/ 0 w 182129"/>
                      <a:gd name="connsiteY3" fmla="*/ 121172 h 165472"/>
                      <a:gd name="connsiteX4" fmla="*/ 99329 w 182129"/>
                      <a:gd name="connsiteY4" fmla="*/ 0 h 165472"/>
                      <a:gd name="connsiteX0" fmla="*/ 101653 w 182129"/>
                      <a:gd name="connsiteY0" fmla="*/ 0 h 165472"/>
                      <a:gd name="connsiteX1" fmla="*/ 180977 w 182129"/>
                      <a:gd name="connsiteY1" fmla="*/ 29097 h 165472"/>
                      <a:gd name="connsiteX2" fmla="*/ 100129 w 182129"/>
                      <a:gd name="connsiteY2" fmla="*/ 165472 h 165472"/>
                      <a:gd name="connsiteX3" fmla="*/ 0 w 182129"/>
                      <a:gd name="connsiteY3" fmla="*/ 121172 h 165472"/>
                      <a:gd name="connsiteX4" fmla="*/ 101653 w 182129"/>
                      <a:gd name="connsiteY4" fmla="*/ 0 h 165472"/>
                      <a:gd name="connsiteX0" fmla="*/ 101653 w 182129"/>
                      <a:gd name="connsiteY0" fmla="*/ 0 h 165472"/>
                      <a:gd name="connsiteX1" fmla="*/ 180977 w 182129"/>
                      <a:gd name="connsiteY1" fmla="*/ 29097 h 165472"/>
                      <a:gd name="connsiteX2" fmla="*/ 100129 w 182129"/>
                      <a:gd name="connsiteY2" fmla="*/ 165472 h 165472"/>
                      <a:gd name="connsiteX3" fmla="*/ 0 w 182129"/>
                      <a:gd name="connsiteY3" fmla="*/ 121172 h 165472"/>
                      <a:gd name="connsiteX4" fmla="*/ 101653 w 182129"/>
                      <a:gd name="connsiteY4" fmla="*/ 0 h 165472"/>
                      <a:gd name="connsiteX0" fmla="*/ 99329 w 179805"/>
                      <a:gd name="connsiteY0" fmla="*/ 0 h 165472"/>
                      <a:gd name="connsiteX1" fmla="*/ 178653 w 179805"/>
                      <a:gd name="connsiteY1" fmla="*/ 29097 h 165472"/>
                      <a:gd name="connsiteX2" fmla="*/ 97805 w 179805"/>
                      <a:gd name="connsiteY2" fmla="*/ 165472 h 165472"/>
                      <a:gd name="connsiteX3" fmla="*/ 0 w 179805"/>
                      <a:gd name="connsiteY3" fmla="*/ 121172 h 165472"/>
                      <a:gd name="connsiteX4" fmla="*/ 99329 w 179805"/>
                      <a:gd name="connsiteY4" fmla="*/ 0 h 165472"/>
                      <a:gd name="connsiteX0" fmla="*/ 99329 w 179805"/>
                      <a:gd name="connsiteY0" fmla="*/ 0 h 165472"/>
                      <a:gd name="connsiteX1" fmla="*/ 178653 w 179805"/>
                      <a:gd name="connsiteY1" fmla="*/ 29097 h 165472"/>
                      <a:gd name="connsiteX2" fmla="*/ 97805 w 179805"/>
                      <a:gd name="connsiteY2" fmla="*/ 165472 h 165472"/>
                      <a:gd name="connsiteX3" fmla="*/ 0 w 179805"/>
                      <a:gd name="connsiteY3" fmla="*/ 121172 h 165472"/>
                      <a:gd name="connsiteX4" fmla="*/ 99329 w 179805"/>
                      <a:gd name="connsiteY4" fmla="*/ 0 h 165472"/>
                      <a:gd name="connsiteX0" fmla="*/ 99329 w 179805"/>
                      <a:gd name="connsiteY0" fmla="*/ 0 h 165472"/>
                      <a:gd name="connsiteX1" fmla="*/ 178653 w 179805"/>
                      <a:gd name="connsiteY1" fmla="*/ 29097 h 165472"/>
                      <a:gd name="connsiteX2" fmla="*/ 97805 w 179805"/>
                      <a:gd name="connsiteY2" fmla="*/ 165472 h 165472"/>
                      <a:gd name="connsiteX3" fmla="*/ 0 w 179805"/>
                      <a:gd name="connsiteY3" fmla="*/ 121172 h 165472"/>
                      <a:gd name="connsiteX4" fmla="*/ 99329 w 179805"/>
                      <a:gd name="connsiteY4" fmla="*/ 0 h 165472"/>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7529"/>
                      <a:gd name="connsiteY0" fmla="*/ 0 h 163569"/>
                      <a:gd name="connsiteX1" fmla="*/ 176330 w 177529"/>
                      <a:gd name="connsiteY1" fmla="*/ 27194 h 163569"/>
                      <a:gd name="connsiteX2" fmla="*/ 97805 w 177529"/>
                      <a:gd name="connsiteY2" fmla="*/ 163569 h 163569"/>
                      <a:gd name="connsiteX3" fmla="*/ 0 w 177529"/>
                      <a:gd name="connsiteY3" fmla="*/ 119269 h 163569"/>
                      <a:gd name="connsiteX4" fmla="*/ 103977 w 177529"/>
                      <a:gd name="connsiteY4" fmla="*/ 0 h 163569"/>
                      <a:gd name="connsiteX0" fmla="*/ 103977 w 179305"/>
                      <a:gd name="connsiteY0" fmla="*/ 0 h 163569"/>
                      <a:gd name="connsiteX1" fmla="*/ 176330 w 179305"/>
                      <a:gd name="connsiteY1" fmla="*/ 27194 h 163569"/>
                      <a:gd name="connsiteX2" fmla="*/ 97805 w 179305"/>
                      <a:gd name="connsiteY2" fmla="*/ 163569 h 163569"/>
                      <a:gd name="connsiteX3" fmla="*/ 0 w 179305"/>
                      <a:gd name="connsiteY3" fmla="*/ 119269 h 163569"/>
                      <a:gd name="connsiteX4" fmla="*/ 103977 w 179305"/>
                      <a:gd name="connsiteY4" fmla="*/ 0 h 163569"/>
                      <a:gd name="connsiteX0" fmla="*/ 103977 w 179305"/>
                      <a:gd name="connsiteY0" fmla="*/ 0 h 163569"/>
                      <a:gd name="connsiteX1" fmla="*/ 176330 w 179305"/>
                      <a:gd name="connsiteY1" fmla="*/ 27194 h 163569"/>
                      <a:gd name="connsiteX2" fmla="*/ 97805 w 179305"/>
                      <a:gd name="connsiteY2" fmla="*/ 163569 h 163569"/>
                      <a:gd name="connsiteX3" fmla="*/ 0 w 179305"/>
                      <a:gd name="connsiteY3" fmla="*/ 119269 h 163569"/>
                      <a:gd name="connsiteX4" fmla="*/ 103977 w 179305"/>
                      <a:gd name="connsiteY4" fmla="*/ 0 h 163569"/>
                      <a:gd name="connsiteX0" fmla="*/ 103977 w 179305"/>
                      <a:gd name="connsiteY0" fmla="*/ 0 h 163569"/>
                      <a:gd name="connsiteX1" fmla="*/ 176330 w 179305"/>
                      <a:gd name="connsiteY1" fmla="*/ 27194 h 163569"/>
                      <a:gd name="connsiteX2" fmla="*/ 97805 w 179305"/>
                      <a:gd name="connsiteY2" fmla="*/ 163569 h 163569"/>
                      <a:gd name="connsiteX3" fmla="*/ 0 w 179305"/>
                      <a:gd name="connsiteY3" fmla="*/ 119269 h 163569"/>
                      <a:gd name="connsiteX4" fmla="*/ 103977 w 179305"/>
                      <a:gd name="connsiteY4" fmla="*/ 0 h 163569"/>
                      <a:gd name="connsiteX0" fmla="*/ 103977 w 179305"/>
                      <a:gd name="connsiteY0" fmla="*/ 0 h 163569"/>
                      <a:gd name="connsiteX1" fmla="*/ 176330 w 179305"/>
                      <a:gd name="connsiteY1" fmla="*/ 27194 h 163569"/>
                      <a:gd name="connsiteX2" fmla="*/ 97805 w 179305"/>
                      <a:gd name="connsiteY2" fmla="*/ 163569 h 163569"/>
                      <a:gd name="connsiteX3" fmla="*/ 0 w 179305"/>
                      <a:gd name="connsiteY3" fmla="*/ 119269 h 163569"/>
                      <a:gd name="connsiteX4" fmla="*/ 103977 w 179305"/>
                      <a:gd name="connsiteY4" fmla="*/ 0 h 163569"/>
                      <a:gd name="connsiteX0" fmla="*/ 103977 w 179305"/>
                      <a:gd name="connsiteY0" fmla="*/ 0 h 163569"/>
                      <a:gd name="connsiteX1" fmla="*/ 176330 w 179305"/>
                      <a:gd name="connsiteY1" fmla="*/ 27194 h 163569"/>
                      <a:gd name="connsiteX2" fmla="*/ 97805 w 179305"/>
                      <a:gd name="connsiteY2" fmla="*/ 163569 h 163569"/>
                      <a:gd name="connsiteX3" fmla="*/ 0 w 179305"/>
                      <a:gd name="connsiteY3" fmla="*/ 119269 h 163569"/>
                      <a:gd name="connsiteX4" fmla="*/ 103977 w 179305"/>
                      <a:gd name="connsiteY4" fmla="*/ 0 h 163569"/>
                      <a:gd name="connsiteX0" fmla="*/ 103977 w 179305"/>
                      <a:gd name="connsiteY0" fmla="*/ 0 h 163569"/>
                      <a:gd name="connsiteX1" fmla="*/ 176330 w 179305"/>
                      <a:gd name="connsiteY1" fmla="*/ 27194 h 163569"/>
                      <a:gd name="connsiteX2" fmla="*/ 97805 w 179305"/>
                      <a:gd name="connsiteY2" fmla="*/ 163569 h 163569"/>
                      <a:gd name="connsiteX3" fmla="*/ 0 w 179305"/>
                      <a:gd name="connsiteY3" fmla="*/ 119269 h 163569"/>
                      <a:gd name="connsiteX4" fmla="*/ 103977 w 179305"/>
                      <a:gd name="connsiteY4" fmla="*/ 0 h 163569"/>
                      <a:gd name="connsiteX0" fmla="*/ 103977 w 179229"/>
                      <a:gd name="connsiteY0" fmla="*/ 0 h 162080"/>
                      <a:gd name="connsiteX1" fmla="*/ 176330 w 179229"/>
                      <a:gd name="connsiteY1" fmla="*/ 27194 h 162080"/>
                      <a:gd name="connsiteX2" fmla="*/ 95986 w 179229"/>
                      <a:gd name="connsiteY2" fmla="*/ 162080 h 162080"/>
                      <a:gd name="connsiteX3" fmla="*/ 0 w 179229"/>
                      <a:gd name="connsiteY3" fmla="*/ 119269 h 162080"/>
                      <a:gd name="connsiteX4" fmla="*/ 103977 w 179229"/>
                      <a:gd name="connsiteY4" fmla="*/ 0 h 162080"/>
                      <a:gd name="connsiteX0" fmla="*/ 103977 w 179229"/>
                      <a:gd name="connsiteY0" fmla="*/ 0 h 162080"/>
                      <a:gd name="connsiteX1" fmla="*/ 176330 w 179229"/>
                      <a:gd name="connsiteY1" fmla="*/ 27194 h 162080"/>
                      <a:gd name="connsiteX2" fmla="*/ 95986 w 179229"/>
                      <a:gd name="connsiteY2" fmla="*/ 162080 h 162080"/>
                      <a:gd name="connsiteX3" fmla="*/ 0 w 179229"/>
                      <a:gd name="connsiteY3" fmla="*/ 119269 h 162080"/>
                      <a:gd name="connsiteX4" fmla="*/ 103977 w 179229"/>
                      <a:gd name="connsiteY4" fmla="*/ 0 h 162080"/>
                      <a:gd name="connsiteX0" fmla="*/ 103977 w 179717"/>
                      <a:gd name="connsiteY0" fmla="*/ 0 h 162080"/>
                      <a:gd name="connsiteX1" fmla="*/ 176330 w 179717"/>
                      <a:gd name="connsiteY1" fmla="*/ 27194 h 162080"/>
                      <a:gd name="connsiteX2" fmla="*/ 95986 w 179717"/>
                      <a:gd name="connsiteY2" fmla="*/ 162080 h 162080"/>
                      <a:gd name="connsiteX3" fmla="*/ 0 w 179717"/>
                      <a:gd name="connsiteY3" fmla="*/ 119269 h 162080"/>
                      <a:gd name="connsiteX4" fmla="*/ 103977 w 179717"/>
                      <a:gd name="connsiteY4" fmla="*/ 0 h 162080"/>
                      <a:gd name="connsiteX0" fmla="*/ 103977 w 180295"/>
                      <a:gd name="connsiteY0" fmla="*/ 0 h 162080"/>
                      <a:gd name="connsiteX1" fmla="*/ 176330 w 180295"/>
                      <a:gd name="connsiteY1" fmla="*/ 27194 h 162080"/>
                      <a:gd name="connsiteX2" fmla="*/ 95986 w 180295"/>
                      <a:gd name="connsiteY2" fmla="*/ 162080 h 162080"/>
                      <a:gd name="connsiteX3" fmla="*/ 0 w 180295"/>
                      <a:gd name="connsiteY3" fmla="*/ 119269 h 162080"/>
                      <a:gd name="connsiteX4" fmla="*/ 103977 w 180295"/>
                      <a:gd name="connsiteY4" fmla="*/ 0 h 162080"/>
                      <a:gd name="connsiteX0" fmla="*/ 103977 w 180295"/>
                      <a:gd name="connsiteY0" fmla="*/ 0 h 162080"/>
                      <a:gd name="connsiteX1" fmla="*/ 176330 w 180295"/>
                      <a:gd name="connsiteY1" fmla="*/ 27194 h 162080"/>
                      <a:gd name="connsiteX2" fmla="*/ 95986 w 180295"/>
                      <a:gd name="connsiteY2" fmla="*/ 162080 h 162080"/>
                      <a:gd name="connsiteX3" fmla="*/ 0 w 180295"/>
                      <a:gd name="connsiteY3" fmla="*/ 119269 h 162080"/>
                      <a:gd name="connsiteX4" fmla="*/ 103977 w 180295"/>
                      <a:gd name="connsiteY4" fmla="*/ 0 h 162080"/>
                      <a:gd name="connsiteX0" fmla="*/ 103977 w 180512"/>
                      <a:gd name="connsiteY0" fmla="*/ 0 h 162080"/>
                      <a:gd name="connsiteX1" fmla="*/ 176330 w 180512"/>
                      <a:gd name="connsiteY1" fmla="*/ 27194 h 162080"/>
                      <a:gd name="connsiteX2" fmla="*/ 95986 w 180512"/>
                      <a:gd name="connsiteY2" fmla="*/ 162080 h 162080"/>
                      <a:gd name="connsiteX3" fmla="*/ 0 w 180512"/>
                      <a:gd name="connsiteY3" fmla="*/ 119269 h 162080"/>
                      <a:gd name="connsiteX4" fmla="*/ 103977 w 180512"/>
                      <a:gd name="connsiteY4" fmla="*/ 0 h 162080"/>
                      <a:gd name="connsiteX0" fmla="*/ 103977 w 180512"/>
                      <a:gd name="connsiteY0" fmla="*/ 0 h 162080"/>
                      <a:gd name="connsiteX1" fmla="*/ 176330 w 180512"/>
                      <a:gd name="connsiteY1" fmla="*/ 27194 h 162080"/>
                      <a:gd name="connsiteX2" fmla="*/ 95986 w 180512"/>
                      <a:gd name="connsiteY2" fmla="*/ 162080 h 162080"/>
                      <a:gd name="connsiteX3" fmla="*/ 0 w 180512"/>
                      <a:gd name="connsiteY3" fmla="*/ 119269 h 162080"/>
                      <a:gd name="connsiteX4" fmla="*/ 103977 w 180512"/>
                      <a:gd name="connsiteY4" fmla="*/ 0 h 162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512" h="162080">
                        <a:moveTo>
                          <a:pt x="103977" y="0"/>
                        </a:moveTo>
                        <a:lnTo>
                          <a:pt x="176330" y="27194"/>
                        </a:lnTo>
                        <a:cubicBezTo>
                          <a:pt x="194531" y="90639"/>
                          <a:pt x="150676" y="140118"/>
                          <a:pt x="95986" y="162080"/>
                        </a:cubicBezTo>
                        <a:cubicBezTo>
                          <a:pt x="70155" y="151780"/>
                          <a:pt x="39574" y="135938"/>
                          <a:pt x="0" y="119269"/>
                        </a:cubicBezTo>
                        <a:cubicBezTo>
                          <a:pt x="73314" y="134854"/>
                          <a:pt x="109697" y="47607"/>
                          <a:pt x="103977" y="0"/>
                        </a:cubicBezTo>
                        <a:close/>
                      </a:path>
                    </a:pathLst>
                  </a:custGeom>
                  <a:solidFill>
                    <a:srgbClr val="BFBFB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85" name="Rectangle 14"/>
                  <p:cNvSpPr/>
                  <p:nvPr/>
                </p:nvSpPr>
                <p:spPr>
                  <a:xfrm rot="1545906" flipH="1">
                    <a:off x="6162231" y="2977377"/>
                    <a:ext cx="797591" cy="477359"/>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9131"/>
                      <a:gd name="connsiteY0" fmla="*/ 0 h 368300"/>
                      <a:gd name="connsiteX1" fmla="*/ 669131 w 669131"/>
                      <a:gd name="connsiteY1" fmla="*/ 223837 h 368300"/>
                      <a:gd name="connsiteX2" fmla="*/ 571500 w 669131"/>
                      <a:gd name="connsiteY2" fmla="*/ 368300 h 368300"/>
                      <a:gd name="connsiteX3" fmla="*/ 0 w 669131"/>
                      <a:gd name="connsiteY3" fmla="*/ 368300 h 368300"/>
                      <a:gd name="connsiteX4" fmla="*/ 0 w 669131"/>
                      <a:gd name="connsiteY4" fmla="*/ 0 h 368300"/>
                      <a:gd name="connsiteX0" fmla="*/ 0 w 683551"/>
                      <a:gd name="connsiteY0" fmla="*/ 0 h 368300"/>
                      <a:gd name="connsiteX1" fmla="*/ 669131 w 683551"/>
                      <a:gd name="connsiteY1" fmla="*/ 223837 h 368300"/>
                      <a:gd name="connsiteX2" fmla="*/ 571500 w 683551"/>
                      <a:gd name="connsiteY2" fmla="*/ 368300 h 368300"/>
                      <a:gd name="connsiteX3" fmla="*/ 0 w 683551"/>
                      <a:gd name="connsiteY3" fmla="*/ 368300 h 368300"/>
                      <a:gd name="connsiteX4" fmla="*/ 0 w 683551"/>
                      <a:gd name="connsiteY4" fmla="*/ 0 h 368300"/>
                      <a:gd name="connsiteX0" fmla="*/ 0 w 672707"/>
                      <a:gd name="connsiteY0" fmla="*/ 0 h 368300"/>
                      <a:gd name="connsiteX1" fmla="*/ 669131 w 672707"/>
                      <a:gd name="connsiteY1" fmla="*/ 223837 h 368300"/>
                      <a:gd name="connsiteX2" fmla="*/ 571500 w 672707"/>
                      <a:gd name="connsiteY2" fmla="*/ 368300 h 368300"/>
                      <a:gd name="connsiteX3" fmla="*/ 0 w 672707"/>
                      <a:gd name="connsiteY3" fmla="*/ 368300 h 368300"/>
                      <a:gd name="connsiteX4" fmla="*/ 0 w 672707"/>
                      <a:gd name="connsiteY4" fmla="*/ 0 h 368300"/>
                      <a:gd name="connsiteX0" fmla="*/ 0 w 673449"/>
                      <a:gd name="connsiteY0" fmla="*/ 0 h 370698"/>
                      <a:gd name="connsiteX1" fmla="*/ 669131 w 673449"/>
                      <a:gd name="connsiteY1" fmla="*/ 223837 h 370698"/>
                      <a:gd name="connsiteX2" fmla="*/ 571500 w 673449"/>
                      <a:gd name="connsiteY2" fmla="*/ 368300 h 370698"/>
                      <a:gd name="connsiteX3" fmla="*/ 0 w 673449"/>
                      <a:gd name="connsiteY3" fmla="*/ 368300 h 370698"/>
                      <a:gd name="connsiteX4" fmla="*/ 0 w 673449"/>
                      <a:gd name="connsiteY4" fmla="*/ 0 h 370698"/>
                      <a:gd name="connsiteX0" fmla="*/ 0 w 672956"/>
                      <a:gd name="connsiteY0" fmla="*/ 0 h 371937"/>
                      <a:gd name="connsiteX1" fmla="*/ 669131 w 672956"/>
                      <a:gd name="connsiteY1" fmla="*/ 223837 h 371937"/>
                      <a:gd name="connsiteX2" fmla="*/ 571500 w 672956"/>
                      <a:gd name="connsiteY2" fmla="*/ 368300 h 371937"/>
                      <a:gd name="connsiteX3" fmla="*/ 0 w 672956"/>
                      <a:gd name="connsiteY3" fmla="*/ 368300 h 371937"/>
                      <a:gd name="connsiteX4" fmla="*/ 0 w 672956"/>
                      <a:gd name="connsiteY4" fmla="*/ 0 h 371937"/>
                      <a:gd name="connsiteX0" fmla="*/ 0 w 671150"/>
                      <a:gd name="connsiteY0" fmla="*/ 0 h 371937"/>
                      <a:gd name="connsiteX1" fmla="*/ 669131 w 671150"/>
                      <a:gd name="connsiteY1" fmla="*/ 223837 h 371937"/>
                      <a:gd name="connsiteX2" fmla="*/ 571500 w 671150"/>
                      <a:gd name="connsiteY2" fmla="*/ 368300 h 371937"/>
                      <a:gd name="connsiteX3" fmla="*/ 0 w 671150"/>
                      <a:gd name="connsiteY3" fmla="*/ 368300 h 371937"/>
                      <a:gd name="connsiteX4" fmla="*/ 0 w 671150"/>
                      <a:gd name="connsiteY4" fmla="*/ 0 h 371937"/>
                      <a:gd name="connsiteX0" fmla="*/ 0 w 671778"/>
                      <a:gd name="connsiteY0" fmla="*/ 0 h 369189"/>
                      <a:gd name="connsiteX1" fmla="*/ 669131 w 671778"/>
                      <a:gd name="connsiteY1" fmla="*/ 223837 h 369189"/>
                      <a:gd name="connsiteX2" fmla="*/ 571500 w 671778"/>
                      <a:gd name="connsiteY2" fmla="*/ 368300 h 369189"/>
                      <a:gd name="connsiteX3" fmla="*/ 0 w 671778"/>
                      <a:gd name="connsiteY3" fmla="*/ 368300 h 369189"/>
                      <a:gd name="connsiteX4" fmla="*/ 0 w 671778"/>
                      <a:gd name="connsiteY4" fmla="*/ 0 h 369189"/>
                      <a:gd name="connsiteX0" fmla="*/ 0 w 671391"/>
                      <a:gd name="connsiteY0" fmla="*/ 0 h 369635"/>
                      <a:gd name="connsiteX1" fmla="*/ 669131 w 671391"/>
                      <a:gd name="connsiteY1" fmla="*/ 223837 h 369635"/>
                      <a:gd name="connsiteX2" fmla="*/ 571500 w 671391"/>
                      <a:gd name="connsiteY2" fmla="*/ 368300 h 369635"/>
                      <a:gd name="connsiteX3" fmla="*/ 0 w 671391"/>
                      <a:gd name="connsiteY3" fmla="*/ 368300 h 369635"/>
                      <a:gd name="connsiteX4" fmla="*/ 0 w 671391"/>
                      <a:gd name="connsiteY4" fmla="*/ 0 h 369635"/>
                      <a:gd name="connsiteX0" fmla="*/ 390525 w 671391"/>
                      <a:gd name="connsiteY0" fmla="*/ 0 h 276766"/>
                      <a:gd name="connsiteX1" fmla="*/ 669131 w 671391"/>
                      <a:gd name="connsiteY1" fmla="*/ 130968 h 276766"/>
                      <a:gd name="connsiteX2" fmla="*/ 571500 w 671391"/>
                      <a:gd name="connsiteY2" fmla="*/ 275431 h 276766"/>
                      <a:gd name="connsiteX3" fmla="*/ 0 w 671391"/>
                      <a:gd name="connsiteY3" fmla="*/ 275431 h 276766"/>
                      <a:gd name="connsiteX4" fmla="*/ 390525 w 671391"/>
                      <a:gd name="connsiteY4" fmla="*/ 0 h 276766"/>
                      <a:gd name="connsiteX0" fmla="*/ 92869 w 373735"/>
                      <a:gd name="connsiteY0" fmla="*/ 0 h 276766"/>
                      <a:gd name="connsiteX1" fmla="*/ 371475 w 373735"/>
                      <a:gd name="connsiteY1" fmla="*/ 130968 h 276766"/>
                      <a:gd name="connsiteX2" fmla="*/ 273844 w 373735"/>
                      <a:gd name="connsiteY2" fmla="*/ 275431 h 276766"/>
                      <a:gd name="connsiteX3" fmla="*/ 0 w 373735"/>
                      <a:gd name="connsiteY3" fmla="*/ 132556 h 276766"/>
                      <a:gd name="connsiteX4" fmla="*/ 92869 w 373735"/>
                      <a:gd name="connsiteY4" fmla="*/ 0 h 276766"/>
                      <a:gd name="connsiteX0" fmla="*/ 100013 w 380879"/>
                      <a:gd name="connsiteY0" fmla="*/ 0 h 276766"/>
                      <a:gd name="connsiteX1" fmla="*/ 378619 w 380879"/>
                      <a:gd name="connsiteY1" fmla="*/ 130968 h 276766"/>
                      <a:gd name="connsiteX2" fmla="*/ 280988 w 380879"/>
                      <a:gd name="connsiteY2" fmla="*/ 275431 h 276766"/>
                      <a:gd name="connsiteX3" fmla="*/ 0 w 380879"/>
                      <a:gd name="connsiteY3" fmla="*/ 134938 h 276766"/>
                      <a:gd name="connsiteX4" fmla="*/ 100013 w 380879"/>
                      <a:gd name="connsiteY4" fmla="*/ 0 h 276766"/>
                      <a:gd name="connsiteX0" fmla="*/ 80963 w 361829"/>
                      <a:gd name="connsiteY0" fmla="*/ 0 h 276766"/>
                      <a:gd name="connsiteX1" fmla="*/ 359569 w 361829"/>
                      <a:gd name="connsiteY1" fmla="*/ 130968 h 276766"/>
                      <a:gd name="connsiteX2" fmla="*/ 261938 w 361829"/>
                      <a:gd name="connsiteY2" fmla="*/ 275431 h 276766"/>
                      <a:gd name="connsiteX3" fmla="*/ 0 w 361829"/>
                      <a:gd name="connsiteY3" fmla="*/ 142081 h 276766"/>
                      <a:gd name="connsiteX4" fmla="*/ 80963 w 361829"/>
                      <a:gd name="connsiteY4" fmla="*/ 0 h 276766"/>
                      <a:gd name="connsiteX0" fmla="*/ 80963 w 361829"/>
                      <a:gd name="connsiteY0" fmla="*/ 0 h 276766"/>
                      <a:gd name="connsiteX1" fmla="*/ 359569 w 361829"/>
                      <a:gd name="connsiteY1" fmla="*/ 130968 h 276766"/>
                      <a:gd name="connsiteX2" fmla="*/ 261938 w 361829"/>
                      <a:gd name="connsiteY2" fmla="*/ 275431 h 276766"/>
                      <a:gd name="connsiteX3" fmla="*/ 0 w 361829"/>
                      <a:gd name="connsiteY3" fmla="*/ 142081 h 276766"/>
                      <a:gd name="connsiteX4" fmla="*/ 80963 w 361829"/>
                      <a:gd name="connsiteY4" fmla="*/ 0 h 276766"/>
                      <a:gd name="connsiteX0" fmla="*/ 83344 w 364210"/>
                      <a:gd name="connsiteY0" fmla="*/ 0 h 276766"/>
                      <a:gd name="connsiteX1" fmla="*/ 361950 w 364210"/>
                      <a:gd name="connsiteY1" fmla="*/ 130968 h 276766"/>
                      <a:gd name="connsiteX2" fmla="*/ 264319 w 364210"/>
                      <a:gd name="connsiteY2" fmla="*/ 275431 h 276766"/>
                      <a:gd name="connsiteX3" fmla="*/ 0 w 364210"/>
                      <a:gd name="connsiteY3" fmla="*/ 144463 h 276766"/>
                      <a:gd name="connsiteX4" fmla="*/ 83344 w 364210"/>
                      <a:gd name="connsiteY4" fmla="*/ 0 h 276766"/>
                      <a:gd name="connsiteX0" fmla="*/ 83344 w 364210"/>
                      <a:gd name="connsiteY0" fmla="*/ 0 h 276766"/>
                      <a:gd name="connsiteX1" fmla="*/ 361950 w 364210"/>
                      <a:gd name="connsiteY1" fmla="*/ 130968 h 276766"/>
                      <a:gd name="connsiteX2" fmla="*/ 264319 w 364210"/>
                      <a:gd name="connsiteY2" fmla="*/ 275431 h 276766"/>
                      <a:gd name="connsiteX3" fmla="*/ 0 w 364210"/>
                      <a:gd name="connsiteY3" fmla="*/ 144463 h 276766"/>
                      <a:gd name="connsiteX4" fmla="*/ 83344 w 364210"/>
                      <a:gd name="connsiteY4" fmla="*/ 0 h 276766"/>
                      <a:gd name="connsiteX0" fmla="*/ 76200 w 357066"/>
                      <a:gd name="connsiteY0" fmla="*/ 0 h 276766"/>
                      <a:gd name="connsiteX1" fmla="*/ 354806 w 357066"/>
                      <a:gd name="connsiteY1" fmla="*/ 130968 h 276766"/>
                      <a:gd name="connsiteX2" fmla="*/ 257175 w 357066"/>
                      <a:gd name="connsiteY2" fmla="*/ 275431 h 276766"/>
                      <a:gd name="connsiteX3" fmla="*/ 0 w 357066"/>
                      <a:gd name="connsiteY3" fmla="*/ 123032 h 276766"/>
                      <a:gd name="connsiteX4" fmla="*/ 76200 w 357066"/>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8306"/>
                      <a:gd name="connsiteY0" fmla="*/ 0 h 276766"/>
                      <a:gd name="connsiteX1" fmla="*/ 376237 w 378306"/>
                      <a:gd name="connsiteY1" fmla="*/ 130968 h 276766"/>
                      <a:gd name="connsiteX2" fmla="*/ 271462 w 378306"/>
                      <a:gd name="connsiteY2" fmla="*/ 275431 h 276766"/>
                      <a:gd name="connsiteX3" fmla="*/ 0 w 378306"/>
                      <a:gd name="connsiteY3" fmla="*/ 134938 h 276766"/>
                      <a:gd name="connsiteX4" fmla="*/ 90487 w 378306"/>
                      <a:gd name="connsiteY4" fmla="*/ 0 h 276766"/>
                      <a:gd name="connsiteX0" fmla="*/ 90487 w 376245"/>
                      <a:gd name="connsiteY0" fmla="*/ 0 h 277332"/>
                      <a:gd name="connsiteX1" fmla="*/ 376237 w 376245"/>
                      <a:gd name="connsiteY1" fmla="*/ 130968 h 277332"/>
                      <a:gd name="connsiteX2" fmla="*/ 271462 w 376245"/>
                      <a:gd name="connsiteY2" fmla="*/ 275431 h 277332"/>
                      <a:gd name="connsiteX3" fmla="*/ 0 w 376245"/>
                      <a:gd name="connsiteY3" fmla="*/ 134938 h 277332"/>
                      <a:gd name="connsiteX4" fmla="*/ 90487 w 376245"/>
                      <a:gd name="connsiteY4" fmla="*/ 0 h 277332"/>
                      <a:gd name="connsiteX0" fmla="*/ 90487 w 376245"/>
                      <a:gd name="connsiteY0" fmla="*/ 0 h 277257"/>
                      <a:gd name="connsiteX1" fmla="*/ 376237 w 376245"/>
                      <a:gd name="connsiteY1" fmla="*/ 130968 h 277257"/>
                      <a:gd name="connsiteX2" fmla="*/ 271462 w 376245"/>
                      <a:gd name="connsiteY2" fmla="*/ 275431 h 277257"/>
                      <a:gd name="connsiteX3" fmla="*/ 0 w 376245"/>
                      <a:gd name="connsiteY3" fmla="*/ 134938 h 277257"/>
                      <a:gd name="connsiteX4" fmla="*/ 90487 w 376245"/>
                      <a:gd name="connsiteY4" fmla="*/ 0 h 277257"/>
                      <a:gd name="connsiteX0" fmla="*/ 90487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0487 w 376244"/>
                      <a:gd name="connsiteY4" fmla="*/ 0 h 277257"/>
                      <a:gd name="connsiteX0" fmla="*/ 95249 w 376244"/>
                      <a:gd name="connsiteY0" fmla="*/ 0 h 279638"/>
                      <a:gd name="connsiteX1" fmla="*/ 376237 w 376244"/>
                      <a:gd name="connsiteY1" fmla="*/ 133349 h 279638"/>
                      <a:gd name="connsiteX2" fmla="*/ 271462 w 376244"/>
                      <a:gd name="connsiteY2" fmla="*/ 277812 h 279638"/>
                      <a:gd name="connsiteX3" fmla="*/ 0 w 376244"/>
                      <a:gd name="connsiteY3" fmla="*/ 137319 h 279638"/>
                      <a:gd name="connsiteX4" fmla="*/ 95249 w 376244"/>
                      <a:gd name="connsiteY4" fmla="*/ 0 h 279638"/>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679166 w 957780"/>
                      <a:gd name="connsiteY0" fmla="*/ 149688 h 426945"/>
                      <a:gd name="connsiteX1" fmla="*/ 957773 w 957780"/>
                      <a:gd name="connsiteY1" fmla="*/ 280656 h 426945"/>
                      <a:gd name="connsiteX2" fmla="*/ 852998 w 957780"/>
                      <a:gd name="connsiteY2" fmla="*/ 425119 h 426945"/>
                      <a:gd name="connsiteX3" fmla="*/ 0 w 957780"/>
                      <a:gd name="connsiteY3" fmla="*/ 1207 h 426945"/>
                      <a:gd name="connsiteX4" fmla="*/ 679166 w 957780"/>
                      <a:gd name="connsiteY4" fmla="*/ 149688 h 426945"/>
                      <a:gd name="connsiteX0" fmla="*/ 72068 w 957780"/>
                      <a:gd name="connsiteY0" fmla="*/ 0 h 554514"/>
                      <a:gd name="connsiteX1" fmla="*/ 957773 w 957780"/>
                      <a:gd name="connsiteY1" fmla="*/ 408225 h 554514"/>
                      <a:gd name="connsiteX2" fmla="*/ 852998 w 957780"/>
                      <a:gd name="connsiteY2" fmla="*/ 552688 h 554514"/>
                      <a:gd name="connsiteX3" fmla="*/ 0 w 957780"/>
                      <a:gd name="connsiteY3" fmla="*/ 128776 h 554514"/>
                      <a:gd name="connsiteX4" fmla="*/ 72068 w 957780"/>
                      <a:gd name="connsiteY4" fmla="*/ 0 h 554514"/>
                      <a:gd name="connsiteX0" fmla="*/ 72068 w 957780"/>
                      <a:gd name="connsiteY0" fmla="*/ 0 h 554514"/>
                      <a:gd name="connsiteX1" fmla="*/ 957773 w 957780"/>
                      <a:gd name="connsiteY1" fmla="*/ 408225 h 554514"/>
                      <a:gd name="connsiteX2" fmla="*/ 852998 w 957780"/>
                      <a:gd name="connsiteY2" fmla="*/ 552688 h 554514"/>
                      <a:gd name="connsiteX3" fmla="*/ 0 w 957780"/>
                      <a:gd name="connsiteY3" fmla="*/ 128776 h 554514"/>
                      <a:gd name="connsiteX4" fmla="*/ 72068 w 957780"/>
                      <a:gd name="connsiteY4" fmla="*/ 0 h 554514"/>
                      <a:gd name="connsiteX0" fmla="*/ 75263 w 960975"/>
                      <a:gd name="connsiteY0" fmla="*/ 0 h 554514"/>
                      <a:gd name="connsiteX1" fmla="*/ 960968 w 960975"/>
                      <a:gd name="connsiteY1" fmla="*/ 408225 h 554514"/>
                      <a:gd name="connsiteX2" fmla="*/ 856193 w 960975"/>
                      <a:gd name="connsiteY2" fmla="*/ 552688 h 554514"/>
                      <a:gd name="connsiteX3" fmla="*/ 0 w 960975"/>
                      <a:gd name="connsiteY3" fmla="*/ 134938 h 554514"/>
                      <a:gd name="connsiteX4" fmla="*/ 75263 w 960975"/>
                      <a:gd name="connsiteY4" fmla="*/ 0 h 554514"/>
                      <a:gd name="connsiteX0" fmla="*/ 75263 w 960975"/>
                      <a:gd name="connsiteY0" fmla="*/ 0 h 554514"/>
                      <a:gd name="connsiteX1" fmla="*/ 960968 w 960975"/>
                      <a:gd name="connsiteY1" fmla="*/ 408225 h 554514"/>
                      <a:gd name="connsiteX2" fmla="*/ 856193 w 960975"/>
                      <a:gd name="connsiteY2" fmla="*/ 552688 h 554514"/>
                      <a:gd name="connsiteX3" fmla="*/ 0 w 960975"/>
                      <a:gd name="connsiteY3" fmla="*/ 134938 h 554514"/>
                      <a:gd name="connsiteX4" fmla="*/ 75263 w 960975"/>
                      <a:gd name="connsiteY4" fmla="*/ 0 h 554514"/>
                      <a:gd name="connsiteX0" fmla="*/ 75263 w 960975"/>
                      <a:gd name="connsiteY0" fmla="*/ 0 h 554514"/>
                      <a:gd name="connsiteX1" fmla="*/ 960968 w 960975"/>
                      <a:gd name="connsiteY1" fmla="*/ 408225 h 554514"/>
                      <a:gd name="connsiteX2" fmla="*/ 856193 w 960975"/>
                      <a:gd name="connsiteY2" fmla="*/ 552688 h 554514"/>
                      <a:gd name="connsiteX3" fmla="*/ 0 w 960975"/>
                      <a:gd name="connsiteY3" fmla="*/ 134938 h 554514"/>
                      <a:gd name="connsiteX4" fmla="*/ 75263 w 960975"/>
                      <a:gd name="connsiteY4" fmla="*/ 0 h 554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0975" h="554514">
                        <a:moveTo>
                          <a:pt x="75263" y="0"/>
                        </a:moveTo>
                        <a:lnTo>
                          <a:pt x="960968" y="408225"/>
                        </a:lnTo>
                        <a:cubicBezTo>
                          <a:pt x="961761" y="523053"/>
                          <a:pt x="898261" y="564066"/>
                          <a:pt x="856193" y="552688"/>
                        </a:cubicBezTo>
                        <a:lnTo>
                          <a:pt x="0" y="134938"/>
                        </a:lnTo>
                        <a:cubicBezTo>
                          <a:pt x="52857" y="96875"/>
                          <a:pt x="76058" y="57679"/>
                          <a:pt x="75263" y="0"/>
                        </a:cubicBezTo>
                        <a:close/>
                      </a:path>
                    </a:pathLst>
                  </a:custGeom>
                  <a:solidFill>
                    <a:srgbClr val="669E40"/>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86" name="Rectangle 16"/>
                  <p:cNvSpPr/>
                  <p:nvPr/>
                </p:nvSpPr>
                <p:spPr>
                  <a:xfrm rot="1545906" flipH="1">
                    <a:off x="6938996" y="3147818"/>
                    <a:ext cx="99771" cy="130612"/>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4368"/>
                      <a:gd name="connsiteY0" fmla="*/ 0 h 368300"/>
                      <a:gd name="connsiteX1" fmla="*/ 664368 w 664368"/>
                      <a:gd name="connsiteY1" fmla="*/ 235744 h 368300"/>
                      <a:gd name="connsiteX2" fmla="*/ 571500 w 664368"/>
                      <a:gd name="connsiteY2" fmla="*/ 368300 h 368300"/>
                      <a:gd name="connsiteX3" fmla="*/ 0 w 664368"/>
                      <a:gd name="connsiteY3" fmla="*/ 368300 h 368300"/>
                      <a:gd name="connsiteX4" fmla="*/ 0 w 664368"/>
                      <a:gd name="connsiteY4" fmla="*/ 0 h 368300"/>
                      <a:gd name="connsiteX0" fmla="*/ 0 w 671347"/>
                      <a:gd name="connsiteY0" fmla="*/ 0 h 368300"/>
                      <a:gd name="connsiteX1" fmla="*/ 664368 w 671347"/>
                      <a:gd name="connsiteY1" fmla="*/ 235744 h 368300"/>
                      <a:gd name="connsiteX2" fmla="*/ 571500 w 671347"/>
                      <a:gd name="connsiteY2" fmla="*/ 368300 h 368300"/>
                      <a:gd name="connsiteX3" fmla="*/ 0 w 671347"/>
                      <a:gd name="connsiteY3" fmla="*/ 368300 h 368300"/>
                      <a:gd name="connsiteX4" fmla="*/ 0 w 671347"/>
                      <a:gd name="connsiteY4" fmla="*/ 0 h 368300"/>
                      <a:gd name="connsiteX0" fmla="*/ 0 w 664610"/>
                      <a:gd name="connsiteY0" fmla="*/ 0 h 368300"/>
                      <a:gd name="connsiteX1" fmla="*/ 664368 w 664610"/>
                      <a:gd name="connsiteY1" fmla="*/ 235744 h 368300"/>
                      <a:gd name="connsiteX2" fmla="*/ 571500 w 664610"/>
                      <a:gd name="connsiteY2" fmla="*/ 368300 h 368300"/>
                      <a:gd name="connsiteX3" fmla="*/ 0 w 664610"/>
                      <a:gd name="connsiteY3" fmla="*/ 368300 h 368300"/>
                      <a:gd name="connsiteX4" fmla="*/ 0 w 664610"/>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490538 w 664748"/>
                      <a:gd name="connsiteY0" fmla="*/ 0 h 215900"/>
                      <a:gd name="connsiteX1" fmla="*/ 664368 w 664748"/>
                      <a:gd name="connsiteY1" fmla="*/ 83344 h 215900"/>
                      <a:gd name="connsiteX2" fmla="*/ 571500 w 664748"/>
                      <a:gd name="connsiteY2" fmla="*/ 215900 h 215900"/>
                      <a:gd name="connsiteX3" fmla="*/ 0 w 664748"/>
                      <a:gd name="connsiteY3" fmla="*/ 215900 h 215900"/>
                      <a:gd name="connsiteX4" fmla="*/ 490538 w 664748"/>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5251 w 271842"/>
                      <a:gd name="connsiteY0" fmla="*/ 0 h 225425"/>
                      <a:gd name="connsiteX1" fmla="*/ 271462 w 271842"/>
                      <a:gd name="connsiteY1" fmla="*/ 92869 h 225425"/>
                      <a:gd name="connsiteX2" fmla="*/ 178594 w 271842"/>
                      <a:gd name="connsiteY2" fmla="*/ 225425 h 225425"/>
                      <a:gd name="connsiteX3" fmla="*/ 0 w 271842"/>
                      <a:gd name="connsiteY3" fmla="*/ 139700 h 225425"/>
                      <a:gd name="connsiteX4" fmla="*/ 95251 w 271842"/>
                      <a:gd name="connsiteY4" fmla="*/ 0 h 225425"/>
                      <a:gd name="connsiteX0" fmla="*/ 92870 w 271842"/>
                      <a:gd name="connsiteY0" fmla="*/ 0 h 220662"/>
                      <a:gd name="connsiteX1" fmla="*/ 271462 w 271842"/>
                      <a:gd name="connsiteY1" fmla="*/ 88106 h 220662"/>
                      <a:gd name="connsiteX2" fmla="*/ 178594 w 271842"/>
                      <a:gd name="connsiteY2" fmla="*/ 220662 h 220662"/>
                      <a:gd name="connsiteX3" fmla="*/ 0 w 271842"/>
                      <a:gd name="connsiteY3" fmla="*/ 134937 h 220662"/>
                      <a:gd name="connsiteX4" fmla="*/ 92870 w 271842"/>
                      <a:gd name="connsiteY4" fmla="*/ 0 h 220662"/>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85726 w 271842"/>
                      <a:gd name="connsiteY0" fmla="*/ 0 h 230186"/>
                      <a:gd name="connsiteX1" fmla="*/ 271462 w 271842"/>
                      <a:gd name="connsiteY1" fmla="*/ 97630 h 230186"/>
                      <a:gd name="connsiteX2" fmla="*/ 178594 w 271842"/>
                      <a:gd name="connsiteY2" fmla="*/ 230186 h 230186"/>
                      <a:gd name="connsiteX3" fmla="*/ 0 w 271842"/>
                      <a:gd name="connsiteY3" fmla="*/ 144461 h 230186"/>
                      <a:gd name="connsiteX4" fmla="*/ 85726 w 271842"/>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2567"/>
                      <a:gd name="connsiteX1" fmla="*/ 285750 w 286111"/>
                      <a:gd name="connsiteY1" fmla="*/ 97630 h 232567"/>
                      <a:gd name="connsiteX2" fmla="*/ 190501 w 286111"/>
                      <a:gd name="connsiteY2" fmla="*/ 232567 h 232567"/>
                      <a:gd name="connsiteX3" fmla="*/ 0 w 286111"/>
                      <a:gd name="connsiteY3" fmla="*/ 153986 h 232567"/>
                      <a:gd name="connsiteX4" fmla="*/ 97633 w 286111"/>
                      <a:gd name="connsiteY4" fmla="*/ 0 h 232567"/>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200027 w 286111"/>
                      <a:gd name="connsiteY0" fmla="*/ 0 h 182561"/>
                      <a:gd name="connsiteX1" fmla="*/ 285750 w 286111"/>
                      <a:gd name="connsiteY1" fmla="*/ 47624 h 182561"/>
                      <a:gd name="connsiteX2" fmla="*/ 190501 w 286111"/>
                      <a:gd name="connsiteY2" fmla="*/ 182561 h 182561"/>
                      <a:gd name="connsiteX3" fmla="*/ 0 w 286111"/>
                      <a:gd name="connsiteY3" fmla="*/ 103980 h 182561"/>
                      <a:gd name="connsiteX4" fmla="*/ 200027 w 286111"/>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2080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66678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66678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6204 w 167050"/>
                      <a:gd name="connsiteY0" fmla="*/ 0 h 182561"/>
                      <a:gd name="connsiteX1" fmla="*/ 166689 w 167050"/>
                      <a:gd name="connsiteY1" fmla="*/ 47624 h 182561"/>
                      <a:gd name="connsiteX2" fmla="*/ 71440 w 167050"/>
                      <a:gd name="connsiteY2" fmla="*/ 182561 h 182561"/>
                      <a:gd name="connsiteX3" fmla="*/ 0 w 167050"/>
                      <a:gd name="connsiteY3" fmla="*/ 144462 h 182561"/>
                      <a:gd name="connsiteX4" fmla="*/ 76204 w 167050"/>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900"/>
                      <a:gd name="connsiteY0" fmla="*/ 0 h 189705"/>
                      <a:gd name="connsiteX1" fmla="*/ 164308 w 164900"/>
                      <a:gd name="connsiteY1" fmla="*/ 47624 h 189705"/>
                      <a:gd name="connsiteX2" fmla="*/ 88109 w 164900"/>
                      <a:gd name="connsiteY2" fmla="*/ 189705 h 189705"/>
                      <a:gd name="connsiteX3" fmla="*/ 0 w 164900"/>
                      <a:gd name="connsiteY3" fmla="*/ 139699 h 189705"/>
                      <a:gd name="connsiteX4" fmla="*/ 73823 w 164900"/>
                      <a:gd name="connsiteY4" fmla="*/ 0 h 189705"/>
                      <a:gd name="connsiteX0" fmla="*/ 73823 w 164711"/>
                      <a:gd name="connsiteY0" fmla="*/ 0 h 189705"/>
                      <a:gd name="connsiteX1" fmla="*/ 164308 w 164711"/>
                      <a:gd name="connsiteY1" fmla="*/ 47624 h 189705"/>
                      <a:gd name="connsiteX2" fmla="*/ 88109 w 164711"/>
                      <a:gd name="connsiteY2" fmla="*/ 189705 h 189705"/>
                      <a:gd name="connsiteX3" fmla="*/ 0 w 164711"/>
                      <a:gd name="connsiteY3" fmla="*/ 139699 h 189705"/>
                      <a:gd name="connsiteX4" fmla="*/ 73823 w 164711"/>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54773 w 164599"/>
                      <a:gd name="connsiteY0" fmla="*/ 0 h 201611"/>
                      <a:gd name="connsiteX1" fmla="*/ 164308 w 164599"/>
                      <a:gd name="connsiteY1" fmla="*/ 59530 h 201611"/>
                      <a:gd name="connsiteX2" fmla="*/ 88109 w 164599"/>
                      <a:gd name="connsiteY2" fmla="*/ 201611 h 201611"/>
                      <a:gd name="connsiteX3" fmla="*/ 0 w 164599"/>
                      <a:gd name="connsiteY3" fmla="*/ 151605 h 201611"/>
                      <a:gd name="connsiteX4" fmla="*/ 54773 w 164599"/>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380"/>
                      <a:gd name="connsiteY0" fmla="*/ 0 h 201611"/>
                      <a:gd name="connsiteX1" fmla="*/ 180977 w 181380"/>
                      <a:gd name="connsiteY1" fmla="*/ 59530 h 201611"/>
                      <a:gd name="connsiteX2" fmla="*/ 104778 w 181380"/>
                      <a:gd name="connsiteY2" fmla="*/ 201611 h 201611"/>
                      <a:gd name="connsiteX3" fmla="*/ 0 w 181380"/>
                      <a:gd name="connsiteY3" fmla="*/ 151605 h 201611"/>
                      <a:gd name="connsiteX4" fmla="*/ 71442 w 181380"/>
                      <a:gd name="connsiteY4" fmla="*/ 0 h 201611"/>
                      <a:gd name="connsiteX0" fmla="*/ 71442 w 180977"/>
                      <a:gd name="connsiteY0" fmla="*/ 0 h 201611"/>
                      <a:gd name="connsiteX1" fmla="*/ 180977 w 180977"/>
                      <a:gd name="connsiteY1" fmla="*/ 59530 h 201611"/>
                      <a:gd name="connsiteX2" fmla="*/ 104778 w 180977"/>
                      <a:gd name="connsiteY2" fmla="*/ 201611 h 201611"/>
                      <a:gd name="connsiteX3" fmla="*/ 0 w 180977"/>
                      <a:gd name="connsiteY3" fmla="*/ 151605 h 201611"/>
                      <a:gd name="connsiteX4" fmla="*/ 71442 w 180977"/>
                      <a:gd name="connsiteY4" fmla="*/ 0 h 201611"/>
                      <a:gd name="connsiteX0" fmla="*/ 73823 w 180977"/>
                      <a:gd name="connsiteY0" fmla="*/ 0 h 199230"/>
                      <a:gd name="connsiteX1" fmla="*/ 180977 w 180977"/>
                      <a:gd name="connsiteY1" fmla="*/ 57149 h 199230"/>
                      <a:gd name="connsiteX2" fmla="*/ 104778 w 180977"/>
                      <a:gd name="connsiteY2" fmla="*/ 199230 h 199230"/>
                      <a:gd name="connsiteX3" fmla="*/ 0 w 180977"/>
                      <a:gd name="connsiteY3" fmla="*/ 149224 h 199230"/>
                      <a:gd name="connsiteX4" fmla="*/ 73823 w 180977"/>
                      <a:gd name="connsiteY4" fmla="*/ 0 h 199230"/>
                      <a:gd name="connsiteX0" fmla="*/ 73823 w 180977"/>
                      <a:gd name="connsiteY0" fmla="*/ 0 h 199230"/>
                      <a:gd name="connsiteX1" fmla="*/ 180977 w 180977"/>
                      <a:gd name="connsiteY1" fmla="*/ 57149 h 199230"/>
                      <a:gd name="connsiteX2" fmla="*/ 104778 w 180977"/>
                      <a:gd name="connsiteY2" fmla="*/ 199230 h 199230"/>
                      <a:gd name="connsiteX3" fmla="*/ 0 w 180977"/>
                      <a:gd name="connsiteY3" fmla="*/ 149224 h 199230"/>
                      <a:gd name="connsiteX4" fmla="*/ 73823 w 180977"/>
                      <a:gd name="connsiteY4" fmla="*/ 0 h 199230"/>
                      <a:gd name="connsiteX0" fmla="*/ 111923 w 180977"/>
                      <a:gd name="connsiteY0" fmla="*/ 0 h 180180"/>
                      <a:gd name="connsiteX1" fmla="*/ 180977 w 180977"/>
                      <a:gd name="connsiteY1" fmla="*/ 38099 h 180180"/>
                      <a:gd name="connsiteX2" fmla="*/ 104778 w 180977"/>
                      <a:gd name="connsiteY2" fmla="*/ 180180 h 180180"/>
                      <a:gd name="connsiteX3" fmla="*/ 0 w 180977"/>
                      <a:gd name="connsiteY3" fmla="*/ 130174 h 180180"/>
                      <a:gd name="connsiteX4" fmla="*/ 111923 w 180977"/>
                      <a:gd name="connsiteY4" fmla="*/ 0 h 180180"/>
                      <a:gd name="connsiteX0" fmla="*/ 111923 w 180977"/>
                      <a:gd name="connsiteY0" fmla="*/ 0 h 180180"/>
                      <a:gd name="connsiteX1" fmla="*/ 180977 w 180977"/>
                      <a:gd name="connsiteY1" fmla="*/ 38099 h 180180"/>
                      <a:gd name="connsiteX2" fmla="*/ 104778 w 180977"/>
                      <a:gd name="connsiteY2" fmla="*/ 180180 h 180180"/>
                      <a:gd name="connsiteX3" fmla="*/ 0 w 180977"/>
                      <a:gd name="connsiteY3" fmla="*/ 130174 h 180180"/>
                      <a:gd name="connsiteX4" fmla="*/ 111923 w 180977"/>
                      <a:gd name="connsiteY4" fmla="*/ 0 h 180180"/>
                      <a:gd name="connsiteX0" fmla="*/ 138117 w 180977"/>
                      <a:gd name="connsiteY0" fmla="*/ 0 h 165892"/>
                      <a:gd name="connsiteX1" fmla="*/ 180977 w 180977"/>
                      <a:gd name="connsiteY1" fmla="*/ 23811 h 165892"/>
                      <a:gd name="connsiteX2" fmla="*/ 104778 w 180977"/>
                      <a:gd name="connsiteY2" fmla="*/ 165892 h 165892"/>
                      <a:gd name="connsiteX3" fmla="*/ 0 w 180977"/>
                      <a:gd name="connsiteY3" fmla="*/ 115886 h 165892"/>
                      <a:gd name="connsiteX4" fmla="*/ 138117 w 180977"/>
                      <a:gd name="connsiteY4" fmla="*/ 0 h 165892"/>
                      <a:gd name="connsiteX0" fmla="*/ 78585 w 121445"/>
                      <a:gd name="connsiteY0" fmla="*/ 0 h 165892"/>
                      <a:gd name="connsiteX1" fmla="*/ 121445 w 121445"/>
                      <a:gd name="connsiteY1" fmla="*/ 23811 h 165892"/>
                      <a:gd name="connsiteX2" fmla="*/ 45246 w 121445"/>
                      <a:gd name="connsiteY2" fmla="*/ 165892 h 165892"/>
                      <a:gd name="connsiteX3" fmla="*/ 0 w 121445"/>
                      <a:gd name="connsiteY3" fmla="*/ 149224 h 165892"/>
                      <a:gd name="connsiteX4" fmla="*/ 78585 w 121445"/>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32609"/>
                      <a:gd name="connsiteY0" fmla="*/ 0 h 173036"/>
                      <a:gd name="connsiteX1" fmla="*/ 132609 w 132609"/>
                      <a:gd name="connsiteY1" fmla="*/ 24092 h 173036"/>
                      <a:gd name="connsiteX2" fmla="*/ 45564 w 132609"/>
                      <a:gd name="connsiteY2" fmla="*/ 173036 h 173036"/>
                      <a:gd name="connsiteX3" fmla="*/ 318 w 132609"/>
                      <a:gd name="connsiteY3" fmla="*/ 149224 h 173036"/>
                      <a:gd name="connsiteX4" fmla="*/ 78903 w 132609"/>
                      <a:gd name="connsiteY4" fmla="*/ 0 h 173036"/>
                      <a:gd name="connsiteX0" fmla="*/ 78903 w 135431"/>
                      <a:gd name="connsiteY0" fmla="*/ 0 h 173036"/>
                      <a:gd name="connsiteX1" fmla="*/ 135431 w 135431"/>
                      <a:gd name="connsiteY1" fmla="*/ 24092 h 173036"/>
                      <a:gd name="connsiteX2" fmla="*/ 45564 w 135431"/>
                      <a:gd name="connsiteY2" fmla="*/ 173036 h 173036"/>
                      <a:gd name="connsiteX3" fmla="*/ 318 w 135431"/>
                      <a:gd name="connsiteY3" fmla="*/ 149224 h 173036"/>
                      <a:gd name="connsiteX4" fmla="*/ 78903 w 135431"/>
                      <a:gd name="connsiteY4" fmla="*/ 0 h 173036"/>
                      <a:gd name="connsiteX0" fmla="*/ 78903 w 129787"/>
                      <a:gd name="connsiteY0" fmla="*/ 0 h 173036"/>
                      <a:gd name="connsiteX1" fmla="*/ 129787 w 129787"/>
                      <a:gd name="connsiteY1" fmla="*/ 18768 h 173036"/>
                      <a:gd name="connsiteX2" fmla="*/ 45564 w 129787"/>
                      <a:gd name="connsiteY2" fmla="*/ 173036 h 173036"/>
                      <a:gd name="connsiteX3" fmla="*/ 318 w 129787"/>
                      <a:gd name="connsiteY3" fmla="*/ 149224 h 173036"/>
                      <a:gd name="connsiteX4" fmla="*/ 78903 w 129787"/>
                      <a:gd name="connsiteY4" fmla="*/ 0 h 173036"/>
                      <a:gd name="connsiteX0" fmla="*/ 78903 w 129787"/>
                      <a:gd name="connsiteY0" fmla="*/ 0 h 173036"/>
                      <a:gd name="connsiteX1" fmla="*/ 129787 w 129787"/>
                      <a:gd name="connsiteY1" fmla="*/ 18768 h 173036"/>
                      <a:gd name="connsiteX2" fmla="*/ 45564 w 129787"/>
                      <a:gd name="connsiteY2" fmla="*/ 173036 h 173036"/>
                      <a:gd name="connsiteX3" fmla="*/ 318 w 129787"/>
                      <a:gd name="connsiteY3" fmla="*/ 149224 h 173036"/>
                      <a:gd name="connsiteX4" fmla="*/ 78903 w 129787"/>
                      <a:gd name="connsiteY4" fmla="*/ 0 h 173036"/>
                      <a:gd name="connsiteX0" fmla="*/ 78903 w 132608"/>
                      <a:gd name="connsiteY0" fmla="*/ 0 h 173036"/>
                      <a:gd name="connsiteX1" fmla="*/ 132608 w 132608"/>
                      <a:gd name="connsiteY1" fmla="*/ 18768 h 173036"/>
                      <a:gd name="connsiteX2" fmla="*/ 45564 w 132608"/>
                      <a:gd name="connsiteY2" fmla="*/ 173036 h 173036"/>
                      <a:gd name="connsiteX3" fmla="*/ 318 w 132608"/>
                      <a:gd name="connsiteY3" fmla="*/ 149224 h 173036"/>
                      <a:gd name="connsiteX4" fmla="*/ 78903 w 132608"/>
                      <a:gd name="connsiteY4" fmla="*/ 0 h 173036"/>
                      <a:gd name="connsiteX0" fmla="*/ 78903 w 133037"/>
                      <a:gd name="connsiteY0" fmla="*/ 0 h 173036"/>
                      <a:gd name="connsiteX1" fmla="*/ 132608 w 133037"/>
                      <a:gd name="connsiteY1" fmla="*/ 18768 h 173036"/>
                      <a:gd name="connsiteX2" fmla="*/ 45564 w 133037"/>
                      <a:gd name="connsiteY2" fmla="*/ 173036 h 173036"/>
                      <a:gd name="connsiteX3" fmla="*/ 318 w 133037"/>
                      <a:gd name="connsiteY3" fmla="*/ 149224 h 173036"/>
                      <a:gd name="connsiteX4" fmla="*/ 78903 w 133037"/>
                      <a:gd name="connsiteY4" fmla="*/ 0 h 173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037" h="173036">
                        <a:moveTo>
                          <a:pt x="78903" y="0"/>
                        </a:moveTo>
                        <a:cubicBezTo>
                          <a:pt x="103510" y="7939"/>
                          <a:pt x="108443" y="11393"/>
                          <a:pt x="132608" y="18768"/>
                        </a:cubicBezTo>
                        <a:cubicBezTo>
                          <a:pt x="138184" y="99530"/>
                          <a:pt x="88426" y="152664"/>
                          <a:pt x="45564" y="173036"/>
                        </a:cubicBezTo>
                        <a:cubicBezTo>
                          <a:pt x="30482" y="167480"/>
                          <a:pt x="-3650" y="159543"/>
                          <a:pt x="318" y="149224"/>
                        </a:cubicBezTo>
                        <a:cubicBezTo>
                          <a:pt x="57035" y="116053"/>
                          <a:pt x="80754" y="78697"/>
                          <a:pt x="78903" y="0"/>
                        </a:cubicBezTo>
                        <a:close/>
                      </a:path>
                    </a:pathLst>
                  </a:custGeom>
                  <a:solidFill>
                    <a:sysClr val="window" lastClr="FFFFFF">
                      <a:lumMod val="75000"/>
                    </a:sys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87" name="Rectangle 25"/>
                  <p:cNvSpPr/>
                  <p:nvPr/>
                </p:nvSpPr>
                <p:spPr>
                  <a:xfrm rot="1545906" flipH="1">
                    <a:off x="7026788" y="3109543"/>
                    <a:ext cx="386349" cy="230725"/>
                  </a:xfrm>
                  <a:custGeom>
                    <a:avLst/>
                    <a:gdLst>
                      <a:gd name="connsiteX0" fmla="*/ 0 w 452437"/>
                      <a:gd name="connsiteY0" fmla="*/ 0 h 228600"/>
                      <a:gd name="connsiteX1" fmla="*/ 452437 w 452437"/>
                      <a:gd name="connsiteY1" fmla="*/ 0 h 228600"/>
                      <a:gd name="connsiteX2" fmla="*/ 452437 w 452437"/>
                      <a:gd name="connsiteY2" fmla="*/ 228600 h 228600"/>
                      <a:gd name="connsiteX3" fmla="*/ 0 w 452437"/>
                      <a:gd name="connsiteY3" fmla="*/ 228600 h 228600"/>
                      <a:gd name="connsiteX4" fmla="*/ 0 w 452437"/>
                      <a:gd name="connsiteY4" fmla="*/ 0 h 228600"/>
                      <a:gd name="connsiteX0" fmla="*/ 0 w 452437"/>
                      <a:gd name="connsiteY0" fmla="*/ 0 h 228600"/>
                      <a:gd name="connsiteX1" fmla="*/ 431006 w 452437"/>
                      <a:gd name="connsiteY1" fmla="*/ 90487 h 228600"/>
                      <a:gd name="connsiteX2" fmla="*/ 452437 w 452437"/>
                      <a:gd name="connsiteY2" fmla="*/ 228600 h 228600"/>
                      <a:gd name="connsiteX3" fmla="*/ 0 w 452437"/>
                      <a:gd name="connsiteY3" fmla="*/ 228600 h 228600"/>
                      <a:gd name="connsiteX4" fmla="*/ 0 w 452437"/>
                      <a:gd name="connsiteY4" fmla="*/ 0 h 228600"/>
                      <a:gd name="connsiteX0" fmla="*/ 0 w 519112"/>
                      <a:gd name="connsiteY0" fmla="*/ 0 h 228600"/>
                      <a:gd name="connsiteX1" fmla="*/ 519112 w 519112"/>
                      <a:gd name="connsiteY1" fmla="*/ 128587 h 228600"/>
                      <a:gd name="connsiteX2" fmla="*/ 452437 w 519112"/>
                      <a:gd name="connsiteY2" fmla="*/ 228600 h 228600"/>
                      <a:gd name="connsiteX3" fmla="*/ 0 w 519112"/>
                      <a:gd name="connsiteY3" fmla="*/ 228600 h 228600"/>
                      <a:gd name="connsiteX4" fmla="*/ 0 w 519112"/>
                      <a:gd name="connsiteY4" fmla="*/ 0 h 228600"/>
                      <a:gd name="connsiteX0" fmla="*/ 0 w 519112"/>
                      <a:gd name="connsiteY0" fmla="*/ 0 h 228600"/>
                      <a:gd name="connsiteX1" fmla="*/ 519112 w 519112"/>
                      <a:gd name="connsiteY1" fmla="*/ 128587 h 228600"/>
                      <a:gd name="connsiteX2" fmla="*/ 452437 w 519112"/>
                      <a:gd name="connsiteY2" fmla="*/ 228600 h 228600"/>
                      <a:gd name="connsiteX3" fmla="*/ 0 w 519112"/>
                      <a:gd name="connsiteY3" fmla="*/ 228600 h 228600"/>
                      <a:gd name="connsiteX4" fmla="*/ 0 w 519112"/>
                      <a:gd name="connsiteY4" fmla="*/ 0 h 228600"/>
                      <a:gd name="connsiteX0" fmla="*/ 0 w 519112"/>
                      <a:gd name="connsiteY0" fmla="*/ 0 h 228600"/>
                      <a:gd name="connsiteX1" fmla="*/ 519112 w 519112"/>
                      <a:gd name="connsiteY1" fmla="*/ 128587 h 228600"/>
                      <a:gd name="connsiteX2" fmla="*/ 452437 w 519112"/>
                      <a:gd name="connsiteY2" fmla="*/ 228600 h 228600"/>
                      <a:gd name="connsiteX3" fmla="*/ 0 w 519112"/>
                      <a:gd name="connsiteY3" fmla="*/ 228600 h 228600"/>
                      <a:gd name="connsiteX4" fmla="*/ 0 w 519112"/>
                      <a:gd name="connsiteY4" fmla="*/ 0 h 228600"/>
                      <a:gd name="connsiteX0" fmla="*/ 0 w 519112"/>
                      <a:gd name="connsiteY0" fmla="*/ 0 h 228600"/>
                      <a:gd name="connsiteX1" fmla="*/ 519112 w 519112"/>
                      <a:gd name="connsiteY1" fmla="*/ 128587 h 228600"/>
                      <a:gd name="connsiteX2" fmla="*/ 450055 w 519112"/>
                      <a:gd name="connsiteY2" fmla="*/ 221456 h 228600"/>
                      <a:gd name="connsiteX3" fmla="*/ 0 w 519112"/>
                      <a:gd name="connsiteY3" fmla="*/ 228600 h 228600"/>
                      <a:gd name="connsiteX4" fmla="*/ 0 w 519112"/>
                      <a:gd name="connsiteY4" fmla="*/ 0 h 228600"/>
                      <a:gd name="connsiteX0" fmla="*/ 0 w 507205"/>
                      <a:gd name="connsiteY0" fmla="*/ 0 h 228600"/>
                      <a:gd name="connsiteX1" fmla="*/ 507205 w 507205"/>
                      <a:gd name="connsiteY1" fmla="*/ 128587 h 228600"/>
                      <a:gd name="connsiteX2" fmla="*/ 450055 w 507205"/>
                      <a:gd name="connsiteY2" fmla="*/ 221456 h 228600"/>
                      <a:gd name="connsiteX3" fmla="*/ 0 w 507205"/>
                      <a:gd name="connsiteY3" fmla="*/ 228600 h 228600"/>
                      <a:gd name="connsiteX4" fmla="*/ 0 w 507205"/>
                      <a:gd name="connsiteY4" fmla="*/ 0 h 228600"/>
                      <a:gd name="connsiteX0" fmla="*/ 0 w 507205"/>
                      <a:gd name="connsiteY0" fmla="*/ 0 h 228600"/>
                      <a:gd name="connsiteX1" fmla="*/ 507205 w 507205"/>
                      <a:gd name="connsiteY1" fmla="*/ 128587 h 228600"/>
                      <a:gd name="connsiteX2" fmla="*/ 450055 w 507205"/>
                      <a:gd name="connsiteY2" fmla="*/ 221456 h 228600"/>
                      <a:gd name="connsiteX3" fmla="*/ 0 w 507205"/>
                      <a:gd name="connsiteY3" fmla="*/ 228600 h 228600"/>
                      <a:gd name="connsiteX4" fmla="*/ 0 w 507205"/>
                      <a:gd name="connsiteY4" fmla="*/ 0 h 228600"/>
                      <a:gd name="connsiteX0" fmla="*/ 0 w 507205"/>
                      <a:gd name="connsiteY0" fmla="*/ 0 h 228600"/>
                      <a:gd name="connsiteX1" fmla="*/ 507205 w 507205"/>
                      <a:gd name="connsiteY1" fmla="*/ 128587 h 228600"/>
                      <a:gd name="connsiteX2" fmla="*/ 452436 w 507205"/>
                      <a:gd name="connsiteY2" fmla="*/ 223838 h 228600"/>
                      <a:gd name="connsiteX3" fmla="*/ 0 w 507205"/>
                      <a:gd name="connsiteY3" fmla="*/ 228600 h 228600"/>
                      <a:gd name="connsiteX4" fmla="*/ 0 w 507205"/>
                      <a:gd name="connsiteY4" fmla="*/ 0 h 228600"/>
                      <a:gd name="connsiteX0" fmla="*/ 0 w 507205"/>
                      <a:gd name="connsiteY0" fmla="*/ 0 h 228600"/>
                      <a:gd name="connsiteX1" fmla="*/ 507205 w 507205"/>
                      <a:gd name="connsiteY1" fmla="*/ 128587 h 228600"/>
                      <a:gd name="connsiteX2" fmla="*/ 452436 w 507205"/>
                      <a:gd name="connsiteY2" fmla="*/ 223838 h 228600"/>
                      <a:gd name="connsiteX3" fmla="*/ 0 w 507205"/>
                      <a:gd name="connsiteY3" fmla="*/ 228600 h 228600"/>
                      <a:gd name="connsiteX4" fmla="*/ 0 w 507205"/>
                      <a:gd name="connsiteY4" fmla="*/ 0 h 228600"/>
                      <a:gd name="connsiteX0" fmla="*/ 0 w 507205"/>
                      <a:gd name="connsiteY0" fmla="*/ 0 h 228600"/>
                      <a:gd name="connsiteX1" fmla="*/ 507205 w 507205"/>
                      <a:gd name="connsiteY1" fmla="*/ 128587 h 228600"/>
                      <a:gd name="connsiteX2" fmla="*/ 459579 w 507205"/>
                      <a:gd name="connsiteY2" fmla="*/ 223838 h 228600"/>
                      <a:gd name="connsiteX3" fmla="*/ 0 w 507205"/>
                      <a:gd name="connsiteY3" fmla="*/ 228600 h 228600"/>
                      <a:gd name="connsiteX4" fmla="*/ 0 w 507205"/>
                      <a:gd name="connsiteY4" fmla="*/ 0 h 228600"/>
                      <a:gd name="connsiteX0" fmla="*/ 0 w 514349"/>
                      <a:gd name="connsiteY0" fmla="*/ 0 h 228600"/>
                      <a:gd name="connsiteX1" fmla="*/ 514349 w 514349"/>
                      <a:gd name="connsiteY1" fmla="*/ 130969 h 228600"/>
                      <a:gd name="connsiteX2" fmla="*/ 459579 w 514349"/>
                      <a:gd name="connsiteY2" fmla="*/ 223838 h 228600"/>
                      <a:gd name="connsiteX3" fmla="*/ 0 w 514349"/>
                      <a:gd name="connsiteY3" fmla="*/ 228600 h 228600"/>
                      <a:gd name="connsiteX4" fmla="*/ 0 w 514349"/>
                      <a:gd name="connsiteY4" fmla="*/ 0 h 228600"/>
                      <a:gd name="connsiteX0" fmla="*/ 83343 w 514349"/>
                      <a:gd name="connsiteY0" fmla="*/ 0 h 273844"/>
                      <a:gd name="connsiteX1" fmla="*/ 514349 w 514349"/>
                      <a:gd name="connsiteY1" fmla="*/ 176213 h 273844"/>
                      <a:gd name="connsiteX2" fmla="*/ 459579 w 514349"/>
                      <a:gd name="connsiteY2" fmla="*/ 269082 h 273844"/>
                      <a:gd name="connsiteX3" fmla="*/ 0 w 514349"/>
                      <a:gd name="connsiteY3" fmla="*/ 273844 h 273844"/>
                      <a:gd name="connsiteX4" fmla="*/ 83343 w 514349"/>
                      <a:gd name="connsiteY4" fmla="*/ 0 h 273844"/>
                      <a:gd name="connsiteX0" fmla="*/ 95250 w 514349"/>
                      <a:gd name="connsiteY0" fmla="*/ 0 h 280988"/>
                      <a:gd name="connsiteX1" fmla="*/ 514349 w 514349"/>
                      <a:gd name="connsiteY1" fmla="*/ 183357 h 280988"/>
                      <a:gd name="connsiteX2" fmla="*/ 459579 w 514349"/>
                      <a:gd name="connsiteY2" fmla="*/ 276226 h 280988"/>
                      <a:gd name="connsiteX3" fmla="*/ 0 w 514349"/>
                      <a:gd name="connsiteY3" fmla="*/ 280988 h 280988"/>
                      <a:gd name="connsiteX4" fmla="*/ 95250 w 514349"/>
                      <a:gd name="connsiteY4" fmla="*/ 0 h 280988"/>
                      <a:gd name="connsiteX0" fmla="*/ 28575 w 447674"/>
                      <a:gd name="connsiteY0" fmla="*/ 0 h 276226"/>
                      <a:gd name="connsiteX1" fmla="*/ 447674 w 447674"/>
                      <a:gd name="connsiteY1" fmla="*/ 183357 h 276226"/>
                      <a:gd name="connsiteX2" fmla="*/ 392904 w 447674"/>
                      <a:gd name="connsiteY2" fmla="*/ 276226 h 276226"/>
                      <a:gd name="connsiteX3" fmla="*/ 0 w 447674"/>
                      <a:gd name="connsiteY3" fmla="*/ 59531 h 276226"/>
                      <a:gd name="connsiteX4" fmla="*/ 28575 w 447674"/>
                      <a:gd name="connsiteY4" fmla="*/ 0 h 276226"/>
                      <a:gd name="connsiteX0" fmla="*/ 34750 w 453849"/>
                      <a:gd name="connsiteY0" fmla="*/ 0 h 276226"/>
                      <a:gd name="connsiteX1" fmla="*/ 453849 w 453849"/>
                      <a:gd name="connsiteY1" fmla="*/ 183357 h 276226"/>
                      <a:gd name="connsiteX2" fmla="*/ 399079 w 453849"/>
                      <a:gd name="connsiteY2" fmla="*/ 276226 h 276226"/>
                      <a:gd name="connsiteX3" fmla="*/ 6175 w 453849"/>
                      <a:gd name="connsiteY3" fmla="*/ 59531 h 276226"/>
                      <a:gd name="connsiteX4" fmla="*/ 34750 w 453849"/>
                      <a:gd name="connsiteY4" fmla="*/ 0 h 276226"/>
                      <a:gd name="connsiteX0" fmla="*/ 39703 w 458802"/>
                      <a:gd name="connsiteY0" fmla="*/ 0 h 276226"/>
                      <a:gd name="connsiteX1" fmla="*/ 458802 w 458802"/>
                      <a:gd name="connsiteY1" fmla="*/ 183357 h 276226"/>
                      <a:gd name="connsiteX2" fmla="*/ 404032 w 458802"/>
                      <a:gd name="connsiteY2" fmla="*/ 276226 h 276226"/>
                      <a:gd name="connsiteX3" fmla="*/ 11128 w 458802"/>
                      <a:gd name="connsiteY3" fmla="*/ 59531 h 276226"/>
                      <a:gd name="connsiteX4" fmla="*/ 39703 w 458802"/>
                      <a:gd name="connsiteY4" fmla="*/ 0 h 276226"/>
                      <a:gd name="connsiteX0" fmla="*/ 42178 w 461277"/>
                      <a:gd name="connsiteY0" fmla="*/ 0 h 276226"/>
                      <a:gd name="connsiteX1" fmla="*/ 461277 w 461277"/>
                      <a:gd name="connsiteY1" fmla="*/ 183357 h 276226"/>
                      <a:gd name="connsiteX2" fmla="*/ 406507 w 461277"/>
                      <a:gd name="connsiteY2" fmla="*/ 276226 h 276226"/>
                      <a:gd name="connsiteX3" fmla="*/ 13603 w 461277"/>
                      <a:gd name="connsiteY3" fmla="*/ 59531 h 276226"/>
                      <a:gd name="connsiteX4" fmla="*/ 42178 w 461277"/>
                      <a:gd name="connsiteY4" fmla="*/ 0 h 276226"/>
                      <a:gd name="connsiteX0" fmla="*/ 45081 w 464180"/>
                      <a:gd name="connsiteY0" fmla="*/ 0 h 276226"/>
                      <a:gd name="connsiteX1" fmla="*/ 464180 w 464180"/>
                      <a:gd name="connsiteY1" fmla="*/ 183357 h 276226"/>
                      <a:gd name="connsiteX2" fmla="*/ 409410 w 464180"/>
                      <a:gd name="connsiteY2" fmla="*/ 276226 h 276226"/>
                      <a:gd name="connsiteX3" fmla="*/ 16506 w 464180"/>
                      <a:gd name="connsiteY3" fmla="*/ 59531 h 276226"/>
                      <a:gd name="connsiteX4" fmla="*/ 45081 w 464180"/>
                      <a:gd name="connsiteY4" fmla="*/ 0 h 276226"/>
                      <a:gd name="connsiteX0" fmla="*/ 40883 w 459982"/>
                      <a:gd name="connsiteY0" fmla="*/ 50 h 276276"/>
                      <a:gd name="connsiteX1" fmla="*/ 459982 w 459982"/>
                      <a:gd name="connsiteY1" fmla="*/ 183407 h 276276"/>
                      <a:gd name="connsiteX2" fmla="*/ 405212 w 459982"/>
                      <a:gd name="connsiteY2" fmla="*/ 276276 h 276276"/>
                      <a:gd name="connsiteX3" fmla="*/ 12308 w 459982"/>
                      <a:gd name="connsiteY3" fmla="*/ 59581 h 276276"/>
                      <a:gd name="connsiteX4" fmla="*/ 40883 w 459982"/>
                      <a:gd name="connsiteY4" fmla="*/ 50 h 276276"/>
                      <a:gd name="connsiteX0" fmla="*/ 45081 w 464180"/>
                      <a:gd name="connsiteY0" fmla="*/ 0 h 276226"/>
                      <a:gd name="connsiteX1" fmla="*/ 464180 w 464180"/>
                      <a:gd name="connsiteY1" fmla="*/ 183357 h 276226"/>
                      <a:gd name="connsiteX2" fmla="*/ 409410 w 464180"/>
                      <a:gd name="connsiteY2" fmla="*/ 276226 h 276226"/>
                      <a:gd name="connsiteX3" fmla="*/ 16506 w 464180"/>
                      <a:gd name="connsiteY3" fmla="*/ 59531 h 276226"/>
                      <a:gd name="connsiteX4" fmla="*/ 45081 w 464180"/>
                      <a:gd name="connsiteY4" fmla="*/ 0 h 276226"/>
                      <a:gd name="connsiteX0" fmla="*/ 48073 w 467172"/>
                      <a:gd name="connsiteY0" fmla="*/ 0 h 276226"/>
                      <a:gd name="connsiteX1" fmla="*/ 467172 w 467172"/>
                      <a:gd name="connsiteY1" fmla="*/ 183357 h 276226"/>
                      <a:gd name="connsiteX2" fmla="*/ 412402 w 467172"/>
                      <a:gd name="connsiteY2" fmla="*/ 276226 h 276226"/>
                      <a:gd name="connsiteX3" fmla="*/ 19498 w 467172"/>
                      <a:gd name="connsiteY3" fmla="*/ 59531 h 276226"/>
                      <a:gd name="connsiteX4" fmla="*/ 48073 w 467172"/>
                      <a:gd name="connsiteY4" fmla="*/ 0 h 276226"/>
                      <a:gd name="connsiteX0" fmla="*/ 45289 w 464388"/>
                      <a:gd name="connsiteY0" fmla="*/ 0 h 276226"/>
                      <a:gd name="connsiteX1" fmla="*/ 464388 w 464388"/>
                      <a:gd name="connsiteY1" fmla="*/ 183357 h 276226"/>
                      <a:gd name="connsiteX2" fmla="*/ 409618 w 464388"/>
                      <a:gd name="connsiteY2" fmla="*/ 276226 h 276226"/>
                      <a:gd name="connsiteX3" fmla="*/ 16714 w 464388"/>
                      <a:gd name="connsiteY3" fmla="*/ 59531 h 276226"/>
                      <a:gd name="connsiteX4" fmla="*/ 45289 w 464388"/>
                      <a:gd name="connsiteY4" fmla="*/ 0 h 276226"/>
                      <a:gd name="connsiteX0" fmla="*/ 43442 w 462541"/>
                      <a:gd name="connsiteY0" fmla="*/ 0 h 276226"/>
                      <a:gd name="connsiteX1" fmla="*/ 462541 w 462541"/>
                      <a:gd name="connsiteY1" fmla="*/ 183357 h 276226"/>
                      <a:gd name="connsiteX2" fmla="*/ 407771 w 462541"/>
                      <a:gd name="connsiteY2" fmla="*/ 276226 h 276226"/>
                      <a:gd name="connsiteX3" fmla="*/ 14867 w 462541"/>
                      <a:gd name="connsiteY3" fmla="*/ 59531 h 276226"/>
                      <a:gd name="connsiteX4" fmla="*/ 43442 w 462541"/>
                      <a:gd name="connsiteY4" fmla="*/ 0 h 276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541" h="276226">
                        <a:moveTo>
                          <a:pt x="43442" y="0"/>
                        </a:moveTo>
                        <a:lnTo>
                          <a:pt x="462541" y="183357"/>
                        </a:lnTo>
                        <a:cubicBezTo>
                          <a:pt x="461748" y="233364"/>
                          <a:pt x="429996" y="271462"/>
                          <a:pt x="407771" y="276226"/>
                        </a:cubicBezTo>
                        <a:lnTo>
                          <a:pt x="14867" y="59531"/>
                        </a:lnTo>
                        <a:cubicBezTo>
                          <a:pt x="-13709" y="34924"/>
                          <a:pt x="580" y="793"/>
                          <a:pt x="43442" y="0"/>
                        </a:cubicBezTo>
                        <a:close/>
                      </a:path>
                    </a:pathLst>
                  </a:custGeom>
                  <a:solidFill>
                    <a:srgbClr val="F2F2F2"/>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88" name="Rectangle 16"/>
                  <p:cNvSpPr/>
                  <p:nvPr/>
                </p:nvSpPr>
                <p:spPr>
                  <a:xfrm rot="1545906" flipH="1">
                    <a:off x="6975673" y="3149300"/>
                    <a:ext cx="99211" cy="132601"/>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4368"/>
                      <a:gd name="connsiteY0" fmla="*/ 0 h 368300"/>
                      <a:gd name="connsiteX1" fmla="*/ 664368 w 664368"/>
                      <a:gd name="connsiteY1" fmla="*/ 235744 h 368300"/>
                      <a:gd name="connsiteX2" fmla="*/ 571500 w 664368"/>
                      <a:gd name="connsiteY2" fmla="*/ 368300 h 368300"/>
                      <a:gd name="connsiteX3" fmla="*/ 0 w 664368"/>
                      <a:gd name="connsiteY3" fmla="*/ 368300 h 368300"/>
                      <a:gd name="connsiteX4" fmla="*/ 0 w 664368"/>
                      <a:gd name="connsiteY4" fmla="*/ 0 h 368300"/>
                      <a:gd name="connsiteX0" fmla="*/ 0 w 671347"/>
                      <a:gd name="connsiteY0" fmla="*/ 0 h 368300"/>
                      <a:gd name="connsiteX1" fmla="*/ 664368 w 671347"/>
                      <a:gd name="connsiteY1" fmla="*/ 235744 h 368300"/>
                      <a:gd name="connsiteX2" fmla="*/ 571500 w 671347"/>
                      <a:gd name="connsiteY2" fmla="*/ 368300 h 368300"/>
                      <a:gd name="connsiteX3" fmla="*/ 0 w 671347"/>
                      <a:gd name="connsiteY3" fmla="*/ 368300 h 368300"/>
                      <a:gd name="connsiteX4" fmla="*/ 0 w 671347"/>
                      <a:gd name="connsiteY4" fmla="*/ 0 h 368300"/>
                      <a:gd name="connsiteX0" fmla="*/ 0 w 664610"/>
                      <a:gd name="connsiteY0" fmla="*/ 0 h 368300"/>
                      <a:gd name="connsiteX1" fmla="*/ 664368 w 664610"/>
                      <a:gd name="connsiteY1" fmla="*/ 235744 h 368300"/>
                      <a:gd name="connsiteX2" fmla="*/ 571500 w 664610"/>
                      <a:gd name="connsiteY2" fmla="*/ 368300 h 368300"/>
                      <a:gd name="connsiteX3" fmla="*/ 0 w 664610"/>
                      <a:gd name="connsiteY3" fmla="*/ 368300 h 368300"/>
                      <a:gd name="connsiteX4" fmla="*/ 0 w 664610"/>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490538 w 664748"/>
                      <a:gd name="connsiteY0" fmla="*/ 0 h 215900"/>
                      <a:gd name="connsiteX1" fmla="*/ 664368 w 664748"/>
                      <a:gd name="connsiteY1" fmla="*/ 83344 h 215900"/>
                      <a:gd name="connsiteX2" fmla="*/ 571500 w 664748"/>
                      <a:gd name="connsiteY2" fmla="*/ 215900 h 215900"/>
                      <a:gd name="connsiteX3" fmla="*/ 0 w 664748"/>
                      <a:gd name="connsiteY3" fmla="*/ 215900 h 215900"/>
                      <a:gd name="connsiteX4" fmla="*/ 490538 w 664748"/>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5251 w 271842"/>
                      <a:gd name="connsiteY0" fmla="*/ 0 h 225425"/>
                      <a:gd name="connsiteX1" fmla="*/ 271462 w 271842"/>
                      <a:gd name="connsiteY1" fmla="*/ 92869 h 225425"/>
                      <a:gd name="connsiteX2" fmla="*/ 178594 w 271842"/>
                      <a:gd name="connsiteY2" fmla="*/ 225425 h 225425"/>
                      <a:gd name="connsiteX3" fmla="*/ 0 w 271842"/>
                      <a:gd name="connsiteY3" fmla="*/ 139700 h 225425"/>
                      <a:gd name="connsiteX4" fmla="*/ 95251 w 271842"/>
                      <a:gd name="connsiteY4" fmla="*/ 0 h 225425"/>
                      <a:gd name="connsiteX0" fmla="*/ 92870 w 271842"/>
                      <a:gd name="connsiteY0" fmla="*/ 0 h 220662"/>
                      <a:gd name="connsiteX1" fmla="*/ 271462 w 271842"/>
                      <a:gd name="connsiteY1" fmla="*/ 88106 h 220662"/>
                      <a:gd name="connsiteX2" fmla="*/ 178594 w 271842"/>
                      <a:gd name="connsiteY2" fmla="*/ 220662 h 220662"/>
                      <a:gd name="connsiteX3" fmla="*/ 0 w 271842"/>
                      <a:gd name="connsiteY3" fmla="*/ 134937 h 220662"/>
                      <a:gd name="connsiteX4" fmla="*/ 92870 w 271842"/>
                      <a:gd name="connsiteY4" fmla="*/ 0 h 220662"/>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85726 w 271842"/>
                      <a:gd name="connsiteY0" fmla="*/ 0 h 230186"/>
                      <a:gd name="connsiteX1" fmla="*/ 271462 w 271842"/>
                      <a:gd name="connsiteY1" fmla="*/ 97630 h 230186"/>
                      <a:gd name="connsiteX2" fmla="*/ 178594 w 271842"/>
                      <a:gd name="connsiteY2" fmla="*/ 230186 h 230186"/>
                      <a:gd name="connsiteX3" fmla="*/ 0 w 271842"/>
                      <a:gd name="connsiteY3" fmla="*/ 144461 h 230186"/>
                      <a:gd name="connsiteX4" fmla="*/ 85726 w 271842"/>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2567"/>
                      <a:gd name="connsiteX1" fmla="*/ 285750 w 286111"/>
                      <a:gd name="connsiteY1" fmla="*/ 97630 h 232567"/>
                      <a:gd name="connsiteX2" fmla="*/ 190501 w 286111"/>
                      <a:gd name="connsiteY2" fmla="*/ 232567 h 232567"/>
                      <a:gd name="connsiteX3" fmla="*/ 0 w 286111"/>
                      <a:gd name="connsiteY3" fmla="*/ 153986 h 232567"/>
                      <a:gd name="connsiteX4" fmla="*/ 97633 w 286111"/>
                      <a:gd name="connsiteY4" fmla="*/ 0 h 232567"/>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200027 w 286111"/>
                      <a:gd name="connsiteY0" fmla="*/ 0 h 182561"/>
                      <a:gd name="connsiteX1" fmla="*/ 285750 w 286111"/>
                      <a:gd name="connsiteY1" fmla="*/ 47624 h 182561"/>
                      <a:gd name="connsiteX2" fmla="*/ 190501 w 286111"/>
                      <a:gd name="connsiteY2" fmla="*/ 182561 h 182561"/>
                      <a:gd name="connsiteX3" fmla="*/ 0 w 286111"/>
                      <a:gd name="connsiteY3" fmla="*/ 103980 h 182561"/>
                      <a:gd name="connsiteX4" fmla="*/ 200027 w 286111"/>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2080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66678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66678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6204 w 167050"/>
                      <a:gd name="connsiteY0" fmla="*/ 0 h 182561"/>
                      <a:gd name="connsiteX1" fmla="*/ 166689 w 167050"/>
                      <a:gd name="connsiteY1" fmla="*/ 47624 h 182561"/>
                      <a:gd name="connsiteX2" fmla="*/ 71440 w 167050"/>
                      <a:gd name="connsiteY2" fmla="*/ 182561 h 182561"/>
                      <a:gd name="connsiteX3" fmla="*/ 0 w 167050"/>
                      <a:gd name="connsiteY3" fmla="*/ 144462 h 182561"/>
                      <a:gd name="connsiteX4" fmla="*/ 76204 w 167050"/>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900"/>
                      <a:gd name="connsiteY0" fmla="*/ 0 h 189705"/>
                      <a:gd name="connsiteX1" fmla="*/ 164308 w 164900"/>
                      <a:gd name="connsiteY1" fmla="*/ 47624 h 189705"/>
                      <a:gd name="connsiteX2" fmla="*/ 88109 w 164900"/>
                      <a:gd name="connsiteY2" fmla="*/ 189705 h 189705"/>
                      <a:gd name="connsiteX3" fmla="*/ 0 w 164900"/>
                      <a:gd name="connsiteY3" fmla="*/ 139699 h 189705"/>
                      <a:gd name="connsiteX4" fmla="*/ 73823 w 164900"/>
                      <a:gd name="connsiteY4" fmla="*/ 0 h 189705"/>
                      <a:gd name="connsiteX0" fmla="*/ 73823 w 164711"/>
                      <a:gd name="connsiteY0" fmla="*/ 0 h 189705"/>
                      <a:gd name="connsiteX1" fmla="*/ 164308 w 164711"/>
                      <a:gd name="connsiteY1" fmla="*/ 47624 h 189705"/>
                      <a:gd name="connsiteX2" fmla="*/ 88109 w 164711"/>
                      <a:gd name="connsiteY2" fmla="*/ 189705 h 189705"/>
                      <a:gd name="connsiteX3" fmla="*/ 0 w 164711"/>
                      <a:gd name="connsiteY3" fmla="*/ 139699 h 189705"/>
                      <a:gd name="connsiteX4" fmla="*/ 73823 w 164711"/>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54773 w 164599"/>
                      <a:gd name="connsiteY0" fmla="*/ 0 h 201611"/>
                      <a:gd name="connsiteX1" fmla="*/ 164308 w 164599"/>
                      <a:gd name="connsiteY1" fmla="*/ 59530 h 201611"/>
                      <a:gd name="connsiteX2" fmla="*/ 88109 w 164599"/>
                      <a:gd name="connsiteY2" fmla="*/ 201611 h 201611"/>
                      <a:gd name="connsiteX3" fmla="*/ 0 w 164599"/>
                      <a:gd name="connsiteY3" fmla="*/ 151605 h 201611"/>
                      <a:gd name="connsiteX4" fmla="*/ 54773 w 164599"/>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380"/>
                      <a:gd name="connsiteY0" fmla="*/ 0 h 201611"/>
                      <a:gd name="connsiteX1" fmla="*/ 180977 w 181380"/>
                      <a:gd name="connsiteY1" fmla="*/ 59530 h 201611"/>
                      <a:gd name="connsiteX2" fmla="*/ 104778 w 181380"/>
                      <a:gd name="connsiteY2" fmla="*/ 201611 h 201611"/>
                      <a:gd name="connsiteX3" fmla="*/ 0 w 181380"/>
                      <a:gd name="connsiteY3" fmla="*/ 151605 h 201611"/>
                      <a:gd name="connsiteX4" fmla="*/ 71442 w 181380"/>
                      <a:gd name="connsiteY4" fmla="*/ 0 h 201611"/>
                      <a:gd name="connsiteX0" fmla="*/ 71442 w 180977"/>
                      <a:gd name="connsiteY0" fmla="*/ 0 h 201611"/>
                      <a:gd name="connsiteX1" fmla="*/ 180977 w 180977"/>
                      <a:gd name="connsiteY1" fmla="*/ 59530 h 201611"/>
                      <a:gd name="connsiteX2" fmla="*/ 104778 w 180977"/>
                      <a:gd name="connsiteY2" fmla="*/ 201611 h 201611"/>
                      <a:gd name="connsiteX3" fmla="*/ 0 w 180977"/>
                      <a:gd name="connsiteY3" fmla="*/ 151605 h 201611"/>
                      <a:gd name="connsiteX4" fmla="*/ 71442 w 180977"/>
                      <a:gd name="connsiteY4" fmla="*/ 0 h 201611"/>
                      <a:gd name="connsiteX0" fmla="*/ 73823 w 180977"/>
                      <a:gd name="connsiteY0" fmla="*/ 0 h 199230"/>
                      <a:gd name="connsiteX1" fmla="*/ 180977 w 180977"/>
                      <a:gd name="connsiteY1" fmla="*/ 57149 h 199230"/>
                      <a:gd name="connsiteX2" fmla="*/ 104778 w 180977"/>
                      <a:gd name="connsiteY2" fmla="*/ 199230 h 199230"/>
                      <a:gd name="connsiteX3" fmla="*/ 0 w 180977"/>
                      <a:gd name="connsiteY3" fmla="*/ 149224 h 199230"/>
                      <a:gd name="connsiteX4" fmla="*/ 73823 w 180977"/>
                      <a:gd name="connsiteY4" fmla="*/ 0 h 199230"/>
                      <a:gd name="connsiteX0" fmla="*/ 73823 w 180977"/>
                      <a:gd name="connsiteY0" fmla="*/ 0 h 199230"/>
                      <a:gd name="connsiteX1" fmla="*/ 180977 w 180977"/>
                      <a:gd name="connsiteY1" fmla="*/ 57149 h 199230"/>
                      <a:gd name="connsiteX2" fmla="*/ 104778 w 180977"/>
                      <a:gd name="connsiteY2" fmla="*/ 199230 h 199230"/>
                      <a:gd name="connsiteX3" fmla="*/ 0 w 180977"/>
                      <a:gd name="connsiteY3" fmla="*/ 149224 h 199230"/>
                      <a:gd name="connsiteX4" fmla="*/ 73823 w 180977"/>
                      <a:gd name="connsiteY4" fmla="*/ 0 h 199230"/>
                      <a:gd name="connsiteX0" fmla="*/ 111923 w 180977"/>
                      <a:gd name="connsiteY0" fmla="*/ 0 h 180180"/>
                      <a:gd name="connsiteX1" fmla="*/ 180977 w 180977"/>
                      <a:gd name="connsiteY1" fmla="*/ 38099 h 180180"/>
                      <a:gd name="connsiteX2" fmla="*/ 104778 w 180977"/>
                      <a:gd name="connsiteY2" fmla="*/ 180180 h 180180"/>
                      <a:gd name="connsiteX3" fmla="*/ 0 w 180977"/>
                      <a:gd name="connsiteY3" fmla="*/ 130174 h 180180"/>
                      <a:gd name="connsiteX4" fmla="*/ 111923 w 180977"/>
                      <a:gd name="connsiteY4" fmla="*/ 0 h 180180"/>
                      <a:gd name="connsiteX0" fmla="*/ 111923 w 180977"/>
                      <a:gd name="connsiteY0" fmla="*/ 0 h 180180"/>
                      <a:gd name="connsiteX1" fmla="*/ 180977 w 180977"/>
                      <a:gd name="connsiteY1" fmla="*/ 38099 h 180180"/>
                      <a:gd name="connsiteX2" fmla="*/ 104778 w 180977"/>
                      <a:gd name="connsiteY2" fmla="*/ 180180 h 180180"/>
                      <a:gd name="connsiteX3" fmla="*/ 0 w 180977"/>
                      <a:gd name="connsiteY3" fmla="*/ 130174 h 180180"/>
                      <a:gd name="connsiteX4" fmla="*/ 111923 w 180977"/>
                      <a:gd name="connsiteY4" fmla="*/ 0 h 180180"/>
                      <a:gd name="connsiteX0" fmla="*/ 138117 w 180977"/>
                      <a:gd name="connsiteY0" fmla="*/ 0 h 165892"/>
                      <a:gd name="connsiteX1" fmla="*/ 180977 w 180977"/>
                      <a:gd name="connsiteY1" fmla="*/ 23811 h 165892"/>
                      <a:gd name="connsiteX2" fmla="*/ 104778 w 180977"/>
                      <a:gd name="connsiteY2" fmla="*/ 165892 h 165892"/>
                      <a:gd name="connsiteX3" fmla="*/ 0 w 180977"/>
                      <a:gd name="connsiteY3" fmla="*/ 115886 h 165892"/>
                      <a:gd name="connsiteX4" fmla="*/ 138117 w 180977"/>
                      <a:gd name="connsiteY4" fmla="*/ 0 h 165892"/>
                      <a:gd name="connsiteX0" fmla="*/ 78585 w 121445"/>
                      <a:gd name="connsiteY0" fmla="*/ 0 h 165892"/>
                      <a:gd name="connsiteX1" fmla="*/ 121445 w 121445"/>
                      <a:gd name="connsiteY1" fmla="*/ 23811 h 165892"/>
                      <a:gd name="connsiteX2" fmla="*/ 45246 w 121445"/>
                      <a:gd name="connsiteY2" fmla="*/ 165892 h 165892"/>
                      <a:gd name="connsiteX3" fmla="*/ 0 w 121445"/>
                      <a:gd name="connsiteY3" fmla="*/ 149224 h 165892"/>
                      <a:gd name="connsiteX4" fmla="*/ 78585 w 121445"/>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32609"/>
                      <a:gd name="connsiteY0" fmla="*/ 0 h 173036"/>
                      <a:gd name="connsiteX1" fmla="*/ 132609 w 132609"/>
                      <a:gd name="connsiteY1" fmla="*/ 24092 h 173036"/>
                      <a:gd name="connsiteX2" fmla="*/ 45564 w 132609"/>
                      <a:gd name="connsiteY2" fmla="*/ 173036 h 173036"/>
                      <a:gd name="connsiteX3" fmla="*/ 318 w 132609"/>
                      <a:gd name="connsiteY3" fmla="*/ 149224 h 173036"/>
                      <a:gd name="connsiteX4" fmla="*/ 78903 w 132609"/>
                      <a:gd name="connsiteY4" fmla="*/ 0 h 173036"/>
                      <a:gd name="connsiteX0" fmla="*/ 78903 w 135431"/>
                      <a:gd name="connsiteY0" fmla="*/ 0 h 173036"/>
                      <a:gd name="connsiteX1" fmla="*/ 135431 w 135431"/>
                      <a:gd name="connsiteY1" fmla="*/ 24092 h 173036"/>
                      <a:gd name="connsiteX2" fmla="*/ 45564 w 135431"/>
                      <a:gd name="connsiteY2" fmla="*/ 173036 h 173036"/>
                      <a:gd name="connsiteX3" fmla="*/ 318 w 135431"/>
                      <a:gd name="connsiteY3" fmla="*/ 149224 h 173036"/>
                      <a:gd name="connsiteX4" fmla="*/ 78903 w 135431"/>
                      <a:gd name="connsiteY4" fmla="*/ 0 h 173036"/>
                      <a:gd name="connsiteX0" fmla="*/ 78903 w 129787"/>
                      <a:gd name="connsiteY0" fmla="*/ 0 h 173036"/>
                      <a:gd name="connsiteX1" fmla="*/ 129787 w 129787"/>
                      <a:gd name="connsiteY1" fmla="*/ 18768 h 173036"/>
                      <a:gd name="connsiteX2" fmla="*/ 45564 w 129787"/>
                      <a:gd name="connsiteY2" fmla="*/ 173036 h 173036"/>
                      <a:gd name="connsiteX3" fmla="*/ 318 w 129787"/>
                      <a:gd name="connsiteY3" fmla="*/ 149224 h 173036"/>
                      <a:gd name="connsiteX4" fmla="*/ 78903 w 129787"/>
                      <a:gd name="connsiteY4" fmla="*/ 0 h 173036"/>
                      <a:gd name="connsiteX0" fmla="*/ 78903 w 129787"/>
                      <a:gd name="connsiteY0" fmla="*/ 0 h 173036"/>
                      <a:gd name="connsiteX1" fmla="*/ 129787 w 129787"/>
                      <a:gd name="connsiteY1" fmla="*/ 18768 h 173036"/>
                      <a:gd name="connsiteX2" fmla="*/ 45564 w 129787"/>
                      <a:gd name="connsiteY2" fmla="*/ 173036 h 173036"/>
                      <a:gd name="connsiteX3" fmla="*/ 318 w 129787"/>
                      <a:gd name="connsiteY3" fmla="*/ 149224 h 173036"/>
                      <a:gd name="connsiteX4" fmla="*/ 78903 w 129787"/>
                      <a:gd name="connsiteY4" fmla="*/ 0 h 173036"/>
                      <a:gd name="connsiteX0" fmla="*/ 78903 w 132608"/>
                      <a:gd name="connsiteY0" fmla="*/ 0 h 173036"/>
                      <a:gd name="connsiteX1" fmla="*/ 132608 w 132608"/>
                      <a:gd name="connsiteY1" fmla="*/ 18768 h 173036"/>
                      <a:gd name="connsiteX2" fmla="*/ 45564 w 132608"/>
                      <a:gd name="connsiteY2" fmla="*/ 173036 h 173036"/>
                      <a:gd name="connsiteX3" fmla="*/ 318 w 132608"/>
                      <a:gd name="connsiteY3" fmla="*/ 149224 h 173036"/>
                      <a:gd name="connsiteX4" fmla="*/ 78903 w 132608"/>
                      <a:gd name="connsiteY4" fmla="*/ 0 h 173036"/>
                      <a:gd name="connsiteX0" fmla="*/ 78584 w 132289"/>
                      <a:gd name="connsiteY0" fmla="*/ 0 h 173036"/>
                      <a:gd name="connsiteX1" fmla="*/ 132289 w 132289"/>
                      <a:gd name="connsiteY1" fmla="*/ 18768 h 173036"/>
                      <a:gd name="connsiteX2" fmla="*/ 45245 w 132289"/>
                      <a:gd name="connsiteY2" fmla="*/ 173036 h 173036"/>
                      <a:gd name="connsiteX3" fmla="*/ -1 w 132289"/>
                      <a:gd name="connsiteY3" fmla="*/ 149224 h 173036"/>
                      <a:gd name="connsiteX4" fmla="*/ 78584 w 132289"/>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5672"/>
                      <a:gd name="connsiteX1" fmla="*/ 132290 w 132290"/>
                      <a:gd name="connsiteY1" fmla="*/ 18768 h 175672"/>
                      <a:gd name="connsiteX2" fmla="*/ 50549 w 132290"/>
                      <a:gd name="connsiteY2" fmla="*/ 175672 h 175672"/>
                      <a:gd name="connsiteX3" fmla="*/ 0 w 132290"/>
                      <a:gd name="connsiteY3" fmla="*/ 149224 h 175672"/>
                      <a:gd name="connsiteX4" fmla="*/ 78585 w 132290"/>
                      <a:gd name="connsiteY4" fmla="*/ 0 h 175672"/>
                      <a:gd name="connsiteX0" fmla="*/ 78585 w 132290"/>
                      <a:gd name="connsiteY0" fmla="*/ 0 h 175672"/>
                      <a:gd name="connsiteX1" fmla="*/ 132290 w 132290"/>
                      <a:gd name="connsiteY1" fmla="*/ 18768 h 175672"/>
                      <a:gd name="connsiteX2" fmla="*/ 50549 w 132290"/>
                      <a:gd name="connsiteY2" fmla="*/ 175672 h 175672"/>
                      <a:gd name="connsiteX3" fmla="*/ 0 w 132290"/>
                      <a:gd name="connsiteY3" fmla="*/ 149224 h 175672"/>
                      <a:gd name="connsiteX4" fmla="*/ 78585 w 132290"/>
                      <a:gd name="connsiteY4" fmla="*/ 0 h 175672"/>
                      <a:gd name="connsiteX0" fmla="*/ 78585 w 132290"/>
                      <a:gd name="connsiteY0" fmla="*/ 0 h 175672"/>
                      <a:gd name="connsiteX1" fmla="*/ 132290 w 132290"/>
                      <a:gd name="connsiteY1" fmla="*/ 18768 h 175672"/>
                      <a:gd name="connsiteX2" fmla="*/ 47898 w 132290"/>
                      <a:gd name="connsiteY2" fmla="*/ 175672 h 175672"/>
                      <a:gd name="connsiteX3" fmla="*/ 0 w 132290"/>
                      <a:gd name="connsiteY3" fmla="*/ 149224 h 175672"/>
                      <a:gd name="connsiteX4" fmla="*/ 78585 w 132290"/>
                      <a:gd name="connsiteY4" fmla="*/ 0 h 175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90" h="175672">
                        <a:moveTo>
                          <a:pt x="78585" y="0"/>
                        </a:moveTo>
                        <a:cubicBezTo>
                          <a:pt x="103192" y="7939"/>
                          <a:pt x="108125" y="11393"/>
                          <a:pt x="132290" y="18768"/>
                        </a:cubicBezTo>
                        <a:cubicBezTo>
                          <a:pt x="129909" y="115340"/>
                          <a:pt x="90760" y="155300"/>
                          <a:pt x="47898" y="175672"/>
                        </a:cubicBezTo>
                        <a:cubicBezTo>
                          <a:pt x="27510" y="162209"/>
                          <a:pt x="27856" y="162178"/>
                          <a:pt x="0" y="149224"/>
                        </a:cubicBezTo>
                        <a:cubicBezTo>
                          <a:pt x="56717" y="116053"/>
                          <a:pt x="80436" y="78697"/>
                          <a:pt x="78585" y="0"/>
                        </a:cubicBezTo>
                        <a:close/>
                      </a:path>
                    </a:pathLst>
                  </a:custGeom>
                  <a:solidFill>
                    <a:srgbClr val="669E40"/>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89" name="Rectangle 17"/>
                  <p:cNvSpPr/>
                  <p:nvPr/>
                </p:nvSpPr>
                <p:spPr>
                  <a:xfrm rot="1545906" flipH="1">
                    <a:off x="5118366" y="3165232"/>
                    <a:ext cx="95914" cy="124993"/>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14363"/>
                      <a:gd name="connsiteY0" fmla="*/ 0 h 368300"/>
                      <a:gd name="connsiteX1" fmla="*/ 614363 w 614363"/>
                      <a:gd name="connsiteY1" fmla="*/ 254794 h 368300"/>
                      <a:gd name="connsiteX2" fmla="*/ 571500 w 614363"/>
                      <a:gd name="connsiteY2" fmla="*/ 368300 h 368300"/>
                      <a:gd name="connsiteX3" fmla="*/ 0 w 614363"/>
                      <a:gd name="connsiteY3" fmla="*/ 368300 h 368300"/>
                      <a:gd name="connsiteX4" fmla="*/ 0 w 614363"/>
                      <a:gd name="connsiteY4" fmla="*/ 0 h 368300"/>
                      <a:gd name="connsiteX0" fmla="*/ 0 w 614824"/>
                      <a:gd name="connsiteY0" fmla="*/ 0 h 368300"/>
                      <a:gd name="connsiteX1" fmla="*/ 614363 w 614824"/>
                      <a:gd name="connsiteY1" fmla="*/ 254794 h 368300"/>
                      <a:gd name="connsiteX2" fmla="*/ 571500 w 614824"/>
                      <a:gd name="connsiteY2" fmla="*/ 368300 h 368300"/>
                      <a:gd name="connsiteX3" fmla="*/ 0 w 614824"/>
                      <a:gd name="connsiteY3" fmla="*/ 368300 h 368300"/>
                      <a:gd name="connsiteX4" fmla="*/ 0 w 614824"/>
                      <a:gd name="connsiteY4" fmla="*/ 0 h 368300"/>
                      <a:gd name="connsiteX0" fmla="*/ 0 w 614892"/>
                      <a:gd name="connsiteY0" fmla="*/ 0 h 368300"/>
                      <a:gd name="connsiteX1" fmla="*/ 614363 w 614892"/>
                      <a:gd name="connsiteY1" fmla="*/ 254794 h 368300"/>
                      <a:gd name="connsiteX2" fmla="*/ 576263 w 614892"/>
                      <a:gd name="connsiteY2" fmla="*/ 358775 h 368300"/>
                      <a:gd name="connsiteX3" fmla="*/ 0 w 614892"/>
                      <a:gd name="connsiteY3" fmla="*/ 368300 h 368300"/>
                      <a:gd name="connsiteX4" fmla="*/ 0 w 614892"/>
                      <a:gd name="connsiteY4" fmla="*/ 0 h 368300"/>
                      <a:gd name="connsiteX0" fmla="*/ 0 w 615512"/>
                      <a:gd name="connsiteY0" fmla="*/ 0 h 368300"/>
                      <a:gd name="connsiteX1" fmla="*/ 614363 w 615512"/>
                      <a:gd name="connsiteY1" fmla="*/ 254794 h 368300"/>
                      <a:gd name="connsiteX2" fmla="*/ 576263 w 615512"/>
                      <a:gd name="connsiteY2" fmla="*/ 358775 h 368300"/>
                      <a:gd name="connsiteX3" fmla="*/ 0 w 615512"/>
                      <a:gd name="connsiteY3" fmla="*/ 368300 h 368300"/>
                      <a:gd name="connsiteX4" fmla="*/ 0 w 615512"/>
                      <a:gd name="connsiteY4" fmla="*/ 0 h 368300"/>
                      <a:gd name="connsiteX0" fmla="*/ 0 w 615512"/>
                      <a:gd name="connsiteY0" fmla="*/ 0 h 368300"/>
                      <a:gd name="connsiteX1" fmla="*/ 614363 w 615512"/>
                      <a:gd name="connsiteY1" fmla="*/ 254794 h 368300"/>
                      <a:gd name="connsiteX2" fmla="*/ 576263 w 615512"/>
                      <a:gd name="connsiteY2" fmla="*/ 358775 h 368300"/>
                      <a:gd name="connsiteX3" fmla="*/ 0 w 615512"/>
                      <a:gd name="connsiteY3" fmla="*/ 368300 h 368300"/>
                      <a:gd name="connsiteX4" fmla="*/ 0 w 615512"/>
                      <a:gd name="connsiteY4" fmla="*/ 0 h 368300"/>
                      <a:gd name="connsiteX0" fmla="*/ 0 w 615512"/>
                      <a:gd name="connsiteY0" fmla="*/ 0 h 358775"/>
                      <a:gd name="connsiteX1" fmla="*/ 614363 w 615512"/>
                      <a:gd name="connsiteY1" fmla="*/ 254794 h 358775"/>
                      <a:gd name="connsiteX2" fmla="*/ 576263 w 615512"/>
                      <a:gd name="connsiteY2" fmla="*/ 358775 h 358775"/>
                      <a:gd name="connsiteX3" fmla="*/ 500063 w 615512"/>
                      <a:gd name="connsiteY3" fmla="*/ 358775 h 358775"/>
                      <a:gd name="connsiteX4" fmla="*/ 0 w 615512"/>
                      <a:gd name="connsiteY4" fmla="*/ 0 h 358775"/>
                      <a:gd name="connsiteX0" fmla="*/ 80962 w 115449"/>
                      <a:gd name="connsiteY0" fmla="*/ 0 h 123032"/>
                      <a:gd name="connsiteX1" fmla="*/ 114300 w 115449"/>
                      <a:gd name="connsiteY1" fmla="*/ 19051 h 123032"/>
                      <a:gd name="connsiteX2" fmla="*/ 76200 w 115449"/>
                      <a:gd name="connsiteY2" fmla="*/ 123032 h 123032"/>
                      <a:gd name="connsiteX3" fmla="*/ 0 w 115449"/>
                      <a:gd name="connsiteY3" fmla="*/ 123032 h 123032"/>
                      <a:gd name="connsiteX4" fmla="*/ 80962 w 115449"/>
                      <a:gd name="connsiteY4" fmla="*/ 0 h 123032"/>
                      <a:gd name="connsiteX0" fmla="*/ 78581 w 115449"/>
                      <a:gd name="connsiteY0" fmla="*/ 0 h 120651"/>
                      <a:gd name="connsiteX1" fmla="*/ 114300 w 115449"/>
                      <a:gd name="connsiteY1" fmla="*/ 16670 h 120651"/>
                      <a:gd name="connsiteX2" fmla="*/ 76200 w 115449"/>
                      <a:gd name="connsiteY2" fmla="*/ 120651 h 120651"/>
                      <a:gd name="connsiteX3" fmla="*/ 0 w 115449"/>
                      <a:gd name="connsiteY3" fmla="*/ 120651 h 120651"/>
                      <a:gd name="connsiteX4" fmla="*/ 78581 w 115449"/>
                      <a:gd name="connsiteY4" fmla="*/ 0 h 120651"/>
                      <a:gd name="connsiteX0" fmla="*/ 76200 w 113068"/>
                      <a:gd name="connsiteY0" fmla="*/ 0 h 127795"/>
                      <a:gd name="connsiteX1" fmla="*/ 111919 w 113068"/>
                      <a:gd name="connsiteY1" fmla="*/ 16670 h 127795"/>
                      <a:gd name="connsiteX2" fmla="*/ 73819 w 113068"/>
                      <a:gd name="connsiteY2" fmla="*/ 120651 h 127795"/>
                      <a:gd name="connsiteX3" fmla="*/ 0 w 113068"/>
                      <a:gd name="connsiteY3" fmla="*/ 127795 h 127795"/>
                      <a:gd name="connsiteX4" fmla="*/ 76200 w 113068"/>
                      <a:gd name="connsiteY4" fmla="*/ 0 h 127795"/>
                      <a:gd name="connsiteX0" fmla="*/ 76200 w 113068"/>
                      <a:gd name="connsiteY0" fmla="*/ 0 h 132040"/>
                      <a:gd name="connsiteX1" fmla="*/ 111919 w 113068"/>
                      <a:gd name="connsiteY1" fmla="*/ 16670 h 132040"/>
                      <a:gd name="connsiteX2" fmla="*/ 73819 w 113068"/>
                      <a:gd name="connsiteY2" fmla="*/ 120651 h 132040"/>
                      <a:gd name="connsiteX3" fmla="*/ 0 w 113068"/>
                      <a:gd name="connsiteY3" fmla="*/ 127795 h 132040"/>
                      <a:gd name="connsiteX4" fmla="*/ 76200 w 113068"/>
                      <a:gd name="connsiteY4" fmla="*/ 0 h 132040"/>
                      <a:gd name="connsiteX0" fmla="*/ 76200 w 113068"/>
                      <a:gd name="connsiteY0" fmla="*/ 0 h 135236"/>
                      <a:gd name="connsiteX1" fmla="*/ 111919 w 113068"/>
                      <a:gd name="connsiteY1" fmla="*/ 16670 h 135236"/>
                      <a:gd name="connsiteX2" fmla="*/ 73819 w 113068"/>
                      <a:gd name="connsiteY2" fmla="*/ 120651 h 135236"/>
                      <a:gd name="connsiteX3" fmla="*/ 0 w 113068"/>
                      <a:gd name="connsiteY3" fmla="*/ 127795 h 135236"/>
                      <a:gd name="connsiteX4" fmla="*/ 76200 w 113068"/>
                      <a:gd name="connsiteY4" fmla="*/ 0 h 135236"/>
                      <a:gd name="connsiteX0" fmla="*/ 76200 w 113068"/>
                      <a:gd name="connsiteY0" fmla="*/ 0 h 135236"/>
                      <a:gd name="connsiteX1" fmla="*/ 111919 w 113068"/>
                      <a:gd name="connsiteY1" fmla="*/ 16670 h 135236"/>
                      <a:gd name="connsiteX2" fmla="*/ 73819 w 113068"/>
                      <a:gd name="connsiteY2" fmla="*/ 120651 h 135236"/>
                      <a:gd name="connsiteX3" fmla="*/ 0 w 113068"/>
                      <a:gd name="connsiteY3" fmla="*/ 127795 h 135236"/>
                      <a:gd name="connsiteX4" fmla="*/ 76200 w 113068"/>
                      <a:gd name="connsiteY4" fmla="*/ 0 h 135236"/>
                      <a:gd name="connsiteX0" fmla="*/ 76200 w 113068"/>
                      <a:gd name="connsiteY0" fmla="*/ 0 h 135236"/>
                      <a:gd name="connsiteX1" fmla="*/ 111919 w 113068"/>
                      <a:gd name="connsiteY1" fmla="*/ 16670 h 135236"/>
                      <a:gd name="connsiteX2" fmla="*/ 73819 w 113068"/>
                      <a:gd name="connsiteY2" fmla="*/ 120651 h 135236"/>
                      <a:gd name="connsiteX3" fmla="*/ 0 w 113068"/>
                      <a:gd name="connsiteY3" fmla="*/ 127795 h 135236"/>
                      <a:gd name="connsiteX4" fmla="*/ 76200 w 113068"/>
                      <a:gd name="connsiteY4" fmla="*/ 0 h 135236"/>
                      <a:gd name="connsiteX0" fmla="*/ 76200 w 113068"/>
                      <a:gd name="connsiteY0" fmla="*/ 0 h 135236"/>
                      <a:gd name="connsiteX1" fmla="*/ 111919 w 113068"/>
                      <a:gd name="connsiteY1" fmla="*/ 16670 h 135236"/>
                      <a:gd name="connsiteX2" fmla="*/ 73819 w 113068"/>
                      <a:gd name="connsiteY2" fmla="*/ 120651 h 135236"/>
                      <a:gd name="connsiteX3" fmla="*/ 0 w 113068"/>
                      <a:gd name="connsiteY3" fmla="*/ 127795 h 135236"/>
                      <a:gd name="connsiteX4" fmla="*/ 76200 w 113068"/>
                      <a:gd name="connsiteY4" fmla="*/ 0 h 135236"/>
                      <a:gd name="connsiteX0" fmla="*/ 76200 w 113068"/>
                      <a:gd name="connsiteY0" fmla="*/ 0 h 137617"/>
                      <a:gd name="connsiteX1" fmla="*/ 111919 w 113068"/>
                      <a:gd name="connsiteY1" fmla="*/ 19051 h 137617"/>
                      <a:gd name="connsiteX2" fmla="*/ 73819 w 113068"/>
                      <a:gd name="connsiteY2" fmla="*/ 123032 h 137617"/>
                      <a:gd name="connsiteX3" fmla="*/ 0 w 113068"/>
                      <a:gd name="connsiteY3" fmla="*/ 130176 h 137617"/>
                      <a:gd name="connsiteX4" fmla="*/ 76200 w 113068"/>
                      <a:gd name="connsiteY4" fmla="*/ 0 h 137617"/>
                      <a:gd name="connsiteX0" fmla="*/ 76200 w 113068"/>
                      <a:gd name="connsiteY0" fmla="*/ 0 h 137617"/>
                      <a:gd name="connsiteX1" fmla="*/ 111919 w 113068"/>
                      <a:gd name="connsiteY1" fmla="*/ 19051 h 137617"/>
                      <a:gd name="connsiteX2" fmla="*/ 73819 w 113068"/>
                      <a:gd name="connsiteY2" fmla="*/ 123032 h 137617"/>
                      <a:gd name="connsiteX3" fmla="*/ 0 w 113068"/>
                      <a:gd name="connsiteY3" fmla="*/ 130176 h 137617"/>
                      <a:gd name="connsiteX4" fmla="*/ 76200 w 113068"/>
                      <a:gd name="connsiteY4" fmla="*/ 0 h 137617"/>
                      <a:gd name="connsiteX0" fmla="*/ 76200 w 113068"/>
                      <a:gd name="connsiteY0" fmla="*/ 0 h 137617"/>
                      <a:gd name="connsiteX1" fmla="*/ 111919 w 113068"/>
                      <a:gd name="connsiteY1" fmla="*/ 19051 h 137617"/>
                      <a:gd name="connsiteX2" fmla="*/ 73819 w 113068"/>
                      <a:gd name="connsiteY2" fmla="*/ 123032 h 137617"/>
                      <a:gd name="connsiteX3" fmla="*/ 0 w 113068"/>
                      <a:gd name="connsiteY3" fmla="*/ 130176 h 137617"/>
                      <a:gd name="connsiteX4" fmla="*/ 76200 w 113068"/>
                      <a:gd name="connsiteY4" fmla="*/ 0 h 137617"/>
                      <a:gd name="connsiteX0" fmla="*/ 76200 w 113068"/>
                      <a:gd name="connsiteY0" fmla="*/ 0 h 137617"/>
                      <a:gd name="connsiteX1" fmla="*/ 111919 w 113068"/>
                      <a:gd name="connsiteY1" fmla="*/ 19051 h 137617"/>
                      <a:gd name="connsiteX2" fmla="*/ 73819 w 113068"/>
                      <a:gd name="connsiteY2" fmla="*/ 123032 h 137617"/>
                      <a:gd name="connsiteX3" fmla="*/ 0 w 113068"/>
                      <a:gd name="connsiteY3" fmla="*/ 130176 h 137617"/>
                      <a:gd name="connsiteX4" fmla="*/ 76200 w 113068"/>
                      <a:gd name="connsiteY4" fmla="*/ 0 h 137617"/>
                      <a:gd name="connsiteX0" fmla="*/ 76200 w 113068"/>
                      <a:gd name="connsiteY0" fmla="*/ 0 h 139998"/>
                      <a:gd name="connsiteX1" fmla="*/ 111919 w 113068"/>
                      <a:gd name="connsiteY1" fmla="*/ 21432 h 139998"/>
                      <a:gd name="connsiteX2" fmla="*/ 73819 w 113068"/>
                      <a:gd name="connsiteY2" fmla="*/ 125413 h 139998"/>
                      <a:gd name="connsiteX3" fmla="*/ 0 w 113068"/>
                      <a:gd name="connsiteY3" fmla="*/ 132557 h 139998"/>
                      <a:gd name="connsiteX4" fmla="*/ 76200 w 113068"/>
                      <a:gd name="connsiteY4" fmla="*/ 0 h 139998"/>
                      <a:gd name="connsiteX0" fmla="*/ 76200 w 113068"/>
                      <a:gd name="connsiteY0" fmla="*/ 0 h 139998"/>
                      <a:gd name="connsiteX1" fmla="*/ 111919 w 113068"/>
                      <a:gd name="connsiteY1" fmla="*/ 21432 h 139998"/>
                      <a:gd name="connsiteX2" fmla="*/ 73819 w 113068"/>
                      <a:gd name="connsiteY2" fmla="*/ 125413 h 139998"/>
                      <a:gd name="connsiteX3" fmla="*/ 0 w 113068"/>
                      <a:gd name="connsiteY3" fmla="*/ 132557 h 139998"/>
                      <a:gd name="connsiteX4" fmla="*/ 76200 w 113068"/>
                      <a:gd name="connsiteY4" fmla="*/ 0 h 139998"/>
                      <a:gd name="connsiteX0" fmla="*/ 76200 w 113912"/>
                      <a:gd name="connsiteY0" fmla="*/ 0 h 139998"/>
                      <a:gd name="connsiteX1" fmla="*/ 111919 w 113912"/>
                      <a:gd name="connsiteY1" fmla="*/ 21432 h 139998"/>
                      <a:gd name="connsiteX2" fmla="*/ 73819 w 113912"/>
                      <a:gd name="connsiteY2" fmla="*/ 125413 h 139998"/>
                      <a:gd name="connsiteX3" fmla="*/ 0 w 113912"/>
                      <a:gd name="connsiteY3" fmla="*/ 132557 h 139998"/>
                      <a:gd name="connsiteX4" fmla="*/ 76200 w 113912"/>
                      <a:gd name="connsiteY4" fmla="*/ 0 h 139998"/>
                      <a:gd name="connsiteX0" fmla="*/ 76200 w 113912"/>
                      <a:gd name="connsiteY0" fmla="*/ 0 h 139998"/>
                      <a:gd name="connsiteX1" fmla="*/ 111919 w 113912"/>
                      <a:gd name="connsiteY1" fmla="*/ 21432 h 139998"/>
                      <a:gd name="connsiteX2" fmla="*/ 73819 w 113912"/>
                      <a:gd name="connsiteY2" fmla="*/ 125413 h 139998"/>
                      <a:gd name="connsiteX3" fmla="*/ 0 w 113912"/>
                      <a:gd name="connsiteY3" fmla="*/ 132557 h 139998"/>
                      <a:gd name="connsiteX4" fmla="*/ 76200 w 113912"/>
                      <a:gd name="connsiteY4" fmla="*/ 0 h 139998"/>
                      <a:gd name="connsiteX0" fmla="*/ 76200 w 113912"/>
                      <a:gd name="connsiteY0" fmla="*/ 0 h 139998"/>
                      <a:gd name="connsiteX1" fmla="*/ 111919 w 113912"/>
                      <a:gd name="connsiteY1" fmla="*/ 21432 h 139998"/>
                      <a:gd name="connsiteX2" fmla="*/ 73819 w 113912"/>
                      <a:gd name="connsiteY2" fmla="*/ 125413 h 139998"/>
                      <a:gd name="connsiteX3" fmla="*/ 0 w 113912"/>
                      <a:gd name="connsiteY3" fmla="*/ 132557 h 139998"/>
                      <a:gd name="connsiteX4" fmla="*/ 76200 w 113912"/>
                      <a:gd name="connsiteY4" fmla="*/ 0 h 139998"/>
                      <a:gd name="connsiteX0" fmla="*/ 76200 w 113912"/>
                      <a:gd name="connsiteY0" fmla="*/ 0 h 139998"/>
                      <a:gd name="connsiteX1" fmla="*/ 111919 w 113912"/>
                      <a:gd name="connsiteY1" fmla="*/ 21432 h 139998"/>
                      <a:gd name="connsiteX2" fmla="*/ 73819 w 113912"/>
                      <a:gd name="connsiteY2" fmla="*/ 125413 h 139998"/>
                      <a:gd name="connsiteX3" fmla="*/ 0 w 113912"/>
                      <a:gd name="connsiteY3" fmla="*/ 132557 h 139998"/>
                      <a:gd name="connsiteX4" fmla="*/ 76200 w 113912"/>
                      <a:gd name="connsiteY4" fmla="*/ 0 h 139998"/>
                      <a:gd name="connsiteX0" fmla="*/ 76200 w 113912"/>
                      <a:gd name="connsiteY0" fmla="*/ 0 h 139998"/>
                      <a:gd name="connsiteX1" fmla="*/ 111919 w 113912"/>
                      <a:gd name="connsiteY1" fmla="*/ 21432 h 139998"/>
                      <a:gd name="connsiteX2" fmla="*/ 73819 w 113912"/>
                      <a:gd name="connsiteY2" fmla="*/ 125413 h 139998"/>
                      <a:gd name="connsiteX3" fmla="*/ 0 w 113912"/>
                      <a:gd name="connsiteY3" fmla="*/ 132557 h 139998"/>
                      <a:gd name="connsiteX4" fmla="*/ 76200 w 113912"/>
                      <a:gd name="connsiteY4" fmla="*/ 0 h 139998"/>
                      <a:gd name="connsiteX0" fmla="*/ 76200 w 113912"/>
                      <a:gd name="connsiteY0" fmla="*/ 0 h 139998"/>
                      <a:gd name="connsiteX1" fmla="*/ 111919 w 113912"/>
                      <a:gd name="connsiteY1" fmla="*/ 21432 h 139998"/>
                      <a:gd name="connsiteX2" fmla="*/ 73819 w 113912"/>
                      <a:gd name="connsiteY2" fmla="*/ 125413 h 139998"/>
                      <a:gd name="connsiteX3" fmla="*/ 0 w 113912"/>
                      <a:gd name="connsiteY3" fmla="*/ 132557 h 139998"/>
                      <a:gd name="connsiteX4" fmla="*/ 76200 w 113912"/>
                      <a:gd name="connsiteY4" fmla="*/ 0 h 139998"/>
                      <a:gd name="connsiteX0" fmla="*/ 76200 w 113949"/>
                      <a:gd name="connsiteY0" fmla="*/ 0 h 140582"/>
                      <a:gd name="connsiteX1" fmla="*/ 111919 w 113949"/>
                      <a:gd name="connsiteY1" fmla="*/ 21432 h 140582"/>
                      <a:gd name="connsiteX2" fmla="*/ 73819 w 113949"/>
                      <a:gd name="connsiteY2" fmla="*/ 125413 h 140582"/>
                      <a:gd name="connsiteX3" fmla="*/ 0 w 113949"/>
                      <a:gd name="connsiteY3" fmla="*/ 132557 h 140582"/>
                      <a:gd name="connsiteX4" fmla="*/ 76200 w 113949"/>
                      <a:gd name="connsiteY4" fmla="*/ 0 h 140582"/>
                      <a:gd name="connsiteX0" fmla="*/ 76200 w 113949"/>
                      <a:gd name="connsiteY0" fmla="*/ 0 h 141362"/>
                      <a:gd name="connsiteX1" fmla="*/ 111919 w 113949"/>
                      <a:gd name="connsiteY1" fmla="*/ 21432 h 141362"/>
                      <a:gd name="connsiteX2" fmla="*/ 73819 w 113949"/>
                      <a:gd name="connsiteY2" fmla="*/ 125413 h 141362"/>
                      <a:gd name="connsiteX3" fmla="*/ 0 w 113949"/>
                      <a:gd name="connsiteY3" fmla="*/ 132557 h 141362"/>
                      <a:gd name="connsiteX4" fmla="*/ 76200 w 113949"/>
                      <a:gd name="connsiteY4" fmla="*/ 0 h 141362"/>
                      <a:gd name="connsiteX0" fmla="*/ 76200 w 113949"/>
                      <a:gd name="connsiteY0" fmla="*/ 0 h 143745"/>
                      <a:gd name="connsiteX1" fmla="*/ 111919 w 113949"/>
                      <a:gd name="connsiteY1" fmla="*/ 21432 h 143745"/>
                      <a:gd name="connsiteX2" fmla="*/ 73819 w 113949"/>
                      <a:gd name="connsiteY2" fmla="*/ 125413 h 143745"/>
                      <a:gd name="connsiteX3" fmla="*/ 0 w 113949"/>
                      <a:gd name="connsiteY3" fmla="*/ 132557 h 143745"/>
                      <a:gd name="connsiteX4" fmla="*/ 76200 w 113949"/>
                      <a:gd name="connsiteY4" fmla="*/ 0 h 143745"/>
                      <a:gd name="connsiteX0" fmla="*/ 76200 w 112839"/>
                      <a:gd name="connsiteY0" fmla="*/ 0 h 153673"/>
                      <a:gd name="connsiteX1" fmla="*/ 111919 w 112839"/>
                      <a:gd name="connsiteY1" fmla="*/ 21432 h 153673"/>
                      <a:gd name="connsiteX2" fmla="*/ 49586 w 112839"/>
                      <a:gd name="connsiteY2" fmla="*/ 144053 h 153673"/>
                      <a:gd name="connsiteX3" fmla="*/ 0 w 112839"/>
                      <a:gd name="connsiteY3" fmla="*/ 132557 h 153673"/>
                      <a:gd name="connsiteX4" fmla="*/ 76200 w 112839"/>
                      <a:gd name="connsiteY4" fmla="*/ 0 h 153673"/>
                      <a:gd name="connsiteX0" fmla="*/ 76200 w 112839"/>
                      <a:gd name="connsiteY0" fmla="*/ 0 h 144842"/>
                      <a:gd name="connsiteX1" fmla="*/ 111919 w 112839"/>
                      <a:gd name="connsiteY1" fmla="*/ 21432 h 144842"/>
                      <a:gd name="connsiteX2" fmla="*/ 49586 w 112839"/>
                      <a:gd name="connsiteY2" fmla="*/ 144053 h 144842"/>
                      <a:gd name="connsiteX3" fmla="*/ 0 w 112839"/>
                      <a:gd name="connsiteY3" fmla="*/ 132557 h 144842"/>
                      <a:gd name="connsiteX4" fmla="*/ 76200 w 112839"/>
                      <a:gd name="connsiteY4" fmla="*/ 0 h 144842"/>
                      <a:gd name="connsiteX0" fmla="*/ 76200 w 112765"/>
                      <a:gd name="connsiteY0" fmla="*/ 0 h 149645"/>
                      <a:gd name="connsiteX1" fmla="*/ 111919 w 112765"/>
                      <a:gd name="connsiteY1" fmla="*/ 21432 h 149645"/>
                      <a:gd name="connsiteX2" fmla="*/ 45858 w 112765"/>
                      <a:gd name="connsiteY2" fmla="*/ 149645 h 149645"/>
                      <a:gd name="connsiteX3" fmla="*/ 0 w 112765"/>
                      <a:gd name="connsiteY3" fmla="*/ 132557 h 149645"/>
                      <a:gd name="connsiteX4" fmla="*/ 76200 w 112765"/>
                      <a:gd name="connsiteY4" fmla="*/ 0 h 149645"/>
                      <a:gd name="connsiteX0" fmla="*/ 76200 w 112765"/>
                      <a:gd name="connsiteY0" fmla="*/ 0 h 149645"/>
                      <a:gd name="connsiteX1" fmla="*/ 111919 w 112765"/>
                      <a:gd name="connsiteY1" fmla="*/ 21432 h 149645"/>
                      <a:gd name="connsiteX2" fmla="*/ 45858 w 112765"/>
                      <a:gd name="connsiteY2" fmla="*/ 149645 h 149645"/>
                      <a:gd name="connsiteX3" fmla="*/ 0 w 112765"/>
                      <a:gd name="connsiteY3" fmla="*/ 132557 h 149645"/>
                      <a:gd name="connsiteX4" fmla="*/ 76200 w 112765"/>
                      <a:gd name="connsiteY4" fmla="*/ 0 h 149645"/>
                      <a:gd name="connsiteX0" fmla="*/ 76200 w 112765"/>
                      <a:gd name="connsiteY0" fmla="*/ 0 h 149645"/>
                      <a:gd name="connsiteX1" fmla="*/ 111919 w 112765"/>
                      <a:gd name="connsiteY1" fmla="*/ 21432 h 149645"/>
                      <a:gd name="connsiteX2" fmla="*/ 45858 w 112765"/>
                      <a:gd name="connsiteY2" fmla="*/ 149645 h 149645"/>
                      <a:gd name="connsiteX3" fmla="*/ 0 w 112765"/>
                      <a:gd name="connsiteY3" fmla="*/ 132557 h 149645"/>
                      <a:gd name="connsiteX4" fmla="*/ 76200 w 112765"/>
                      <a:gd name="connsiteY4" fmla="*/ 0 h 149645"/>
                      <a:gd name="connsiteX0" fmla="*/ 76200 w 112765"/>
                      <a:gd name="connsiteY0" fmla="*/ 0 h 149645"/>
                      <a:gd name="connsiteX1" fmla="*/ 111919 w 112765"/>
                      <a:gd name="connsiteY1" fmla="*/ 21432 h 149645"/>
                      <a:gd name="connsiteX2" fmla="*/ 45858 w 112765"/>
                      <a:gd name="connsiteY2" fmla="*/ 149645 h 149645"/>
                      <a:gd name="connsiteX3" fmla="*/ 0 w 112765"/>
                      <a:gd name="connsiteY3" fmla="*/ 132557 h 149645"/>
                      <a:gd name="connsiteX4" fmla="*/ 76200 w 112765"/>
                      <a:gd name="connsiteY4" fmla="*/ 0 h 149645"/>
                      <a:gd name="connsiteX0" fmla="*/ 76200 w 112837"/>
                      <a:gd name="connsiteY0" fmla="*/ 0 h 149645"/>
                      <a:gd name="connsiteX1" fmla="*/ 111919 w 112837"/>
                      <a:gd name="connsiteY1" fmla="*/ 21432 h 149645"/>
                      <a:gd name="connsiteX2" fmla="*/ 45858 w 112837"/>
                      <a:gd name="connsiteY2" fmla="*/ 149645 h 149645"/>
                      <a:gd name="connsiteX3" fmla="*/ 0 w 112837"/>
                      <a:gd name="connsiteY3" fmla="*/ 132557 h 149645"/>
                      <a:gd name="connsiteX4" fmla="*/ 76200 w 112837"/>
                      <a:gd name="connsiteY4" fmla="*/ 0 h 149645"/>
                      <a:gd name="connsiteX0" fmla="*/ 76200 w 114829"/>
                      <a:gd name="connsiteY0" fmla="*/ 0 h 149645"/>
                      <a:gd name="connsiteX1" fmla="*/ 111919 w 114829"/>
                      <a:gd name="connsiteY1" fmla="*/ 21432 h 149645"/>
                      <a:gd name="connsiteX2" fmla="*/ 45858 w 114829"/>
                      <a:gd name="connsiteY2" fmla="*/ 149645 h 149645"/>
                      <a:gd name="connsiteX3" fmla="*/ 0 w 114829"/>
                      <a:gd name="connsiteY3" fmla="*/ 132557 h 149645"/>
                      <a:gd name="connsiteX4" fmla="*/ 76200 w 114829"/>
                      <a:gd name="connsiteY4" fmla="*/ 0 h 149645"/>
                      <a:gd name="connsiteX0" fmla="*/ 76200 w 114829"/>
                      <a:gd name="connsiteY0" fmla="*/ 0 h 149645"/>
                      <a:gd name="connsiteX1" fmla="*/ 111919 w 114829"/>
                      <a:gd name="connsiteY1" fmla="*/ 21432 h 149645"/>
                      <a:gd name="connsiteX2" fmla="*/ 45858 w 114829"/>
                      <a:gd name="connsiteY2" fmla="*/ 149645 h 149645"/>
                      <a:gd name="connsiteX3" fmla="*/ 0 w 114829"/>
                      <a:gd name="connsiteY3" fmla="*/ 132557 h 149645"/>
                      <a:gd name="connsiteX4" fmla="*/ 76200 w 114829"/>
                      <a:gd name="connsiteY4" fmla="*/ 0 h 149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829" h="149645">
                        <a:moveTo>
                          <a:pt x="76200" y="0"/>
                        </a:moveTo>
                        <a:cubicBezTo>
                          <a:pt x="92868" y="7144"/>
                          <a:pt x="97632" y="11907"/>
                          <a:pt x="111919" y="21432"/>
                        </a:cubicBezTo>
                        <a:cubicBezTo>
                          <a:pt x="126518" y="57403"/>
                          <a:pt x="83355" y="145360"/>
                          <a:pt x="45858" y="149645"/>
                        </a:cubicBezTo>
                        <a:cubicBezTo>
                          <a:pt x="22286" y="140217"/>
                          <a:pt x="28229" y="144464"/>
                          <a:pt x="0" y="132557"/>
                        </a:cubicBezTo>
                        <a:cubicBezTo>
                          <a:pt x="58737" y="99483"/>
                          <a:pt x="78545" y="55021"/>
                          <a:pt x="76200" y="0"/>
                        </a:cubicBezTo>
                        <a:close/>
                      </a:path>
                    </a:pathLst>
                  </a:custGeom>
                  <a:solidFill>
                    <a:srgbClr val="669E40"/>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90" name="Rectangle 16"/>
                  <p:cNvSpPr/>
                  <p:nvPr/>
                </p:nvSpPr>
                <p:spPr>
                  <a:xfrm rot="1545906" flipH="1">
                    <a:off x="5694877" y="3132649"/>
                    <a:ext cx="161013" cy="170622"/>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4368"/>
                      <a:gd name="connsiteY0" fmla="*/ 0 h 368300"/>
                      <a:gd name="connsiteX1" fmla="*/ 664368 w 664368"/>
                      <a:gd name="connsiteY1" fmla="*/ 235744 h 368300"/>
                      <a:gd name="connsiteX2" fmla="*/ 571500 w 664368"/>
                      <a:gd name="connsiteY2" fmla="*/ 368300 h 368300"/>
                      <a:gd name="connsiteX3" fmla="*/ 0 w 664368"/>
                      <a:gd name="connsiteY3" fmla="*/ 368300 h 368300"/>
                      <a:gd name="connsiteX4" fmla="*/ 0 w 664368"/>
                      <a:gd name="connsiteY4" fmla="*/ 0 h 368300"/>
                      <a:gd name="connsiteX0" fmla="*/ 0 w 671347"/>
                      <a:gd name="connsiteY0" fmla="*/ 0 h 368300"/>
                      <a:gd name="connsiteX1" fmla="*/ 664368 w 671347"/>
                      <a:gd name="connsiteY1" fmla="*/ 235744 h 368300"/>
                      <a:gd name="connsiteX2" fmla="*/ 571500 w 671347"/>
                      <a:gd name="connsiteY2" fmla="*/ 368300 h 368300"/>
                      <a:gd name="connsiteX3" fmla="*/ 0 w 671347"/>
                      <a:gd name="connsiteY3" fmla="*/ 368300 h 368300"/>
                      <a:gd name="connsiteX4" fmla="*/ 0 w 671347"/>
                      <a:gd name="connsiteY4" fmla="*/ 0 h 368300"/>
                      <a:gd name="connsiteX0" fmla="*/ 0 w 664610"/>
                      <a:gd name="connsiteY0" fmla="*/ 0 h 368300"/>
                      <a:gd name="connsiteX1" fmla="*/ 664368 w 664610"/>
                      <a:gd name="connsiteY1" fmla="*/ 235744 h 368300"/>
                      <a:gd name="connsiteX2" fmla="*/ 571500 w 664610"/>
                      <a:gd name="connsiteY2" fmla="*/ 368300 h 368300"/>
                      <a:gd name="connsiteX3" fmla="*/ 0 w 664610"/>
                      <a:gd name="connsiteY3" fmla="*/ 368300 h 368300"/>
                      <a:gd name="connsiteX4" fmla="*/ 0 w 664610"/>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490538 w 664748"/>
                      <a:gd name="connsiteY0" fmla="*/ 0 h 215900"/>
                      <a:gd name="connsiteX1" fmla="*/ 664368 w 664748"/>
                      <a:gd name="connsiteY1" fmla="*/ 83344 h 215900"/>
                      <a:gd name="connsiteX2" fmla="*/ 571500 w 664748"/>
                      <a:gd name="connsiteY2" fmla="*/ 215900 h 215900"/>
                      <a:gd name="connsiteX3" fmla="*/ 0 w 664748"/>
                      <a:gd name="connsiteY3" fmla="*/ 215900 h 215900"/>
                      <a:gd name="connsiteX4" fmla="*/ 490538 w 664748"/>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5251 w 271842"/>
                      <a:gd name="connsiteY0" fmla="*/ 0 h 225425"/>
                      <a:gd name="connsiteX1" fmla="*/ 271462 w 271842"/>
                      <a:gd name="connsiteY1" fmla="*/ 92869 h 225425"/>
                      <a:gd name="connsiteX2" fmla="*/ 178594 w 271842"/>
                      <a:gd name="connsiteY2" fmla="*/ 225425 h 225425"/>
                      <a:gd name="connsiteX3" fmla="*/ 0 w 271842"/>
                      <a:gd name="connsiteY3" fmla="*/ 139700 h 225425"/>
                      <a:gd name="connsiteX4" fmla="*/ 95251 w 271842"/>
                      <a:gd name="connsiteY4" fmla="*/ 0 h 225425"/>
                      <a:gd name="connsiteX0" fmla="*/ 92870 w 271842"/>
                      <a:gd name="connsiteY0" fmla="*/ 0 h 220662"/>
                      <a:gd name="connsiteX1" fmla="*/ 271462 w 271842"/>
                      <a:gd name="connsiteY1" fmla="*/ 88106 h 220662"/>
                      <a:gd name="connsiteX2" fmla="*/ 178594 w 271842"/>
                      <a:gd name="connsiteY2" fmla="*/ 220662 h 220662"/>
                      <a:gd name="connsiteX3" fmla="*/ 0 w 271842"/>
                      <a:gd name="connsiteY3" fmla="*/ 134937 h 220662"/>
                      <a:gd name="connsiteX4" fmla="*/ 92870 w 271842"/>
                      <a:gd name="connsiteY4" fmla="*/ 0 h 220662"/>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85726 w 271842"/>
                      <a:gd name="connsiteY0" fmla="*/ 0 h 230186"/>
                      <a:gd name="connsiteX1" fmla="*/ 271462 w 271842"/>
                      <a:gd name="connsiteY1" fmla="*/ 97630 h 230186"/>
                      <a:gd name="connsiteX2" fmla="*/ 178594 w 271842"/>
                      <a:gd name="connsiteY2" fmla="*/ 230186 h 230186"/>
                      <a:gd name="connsiteX3" fmla="*/ 0 w 271842"/>
                      <a:gd name="connsiteY3" fmla="*/ 144461 h 230186"/>
                      <a:gd name="connsiteX4" fmla="*/ 85726 w 271842"/>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2567"/>
                      <a:gd name="connsiteX1" fmla="*/ 285750 w 286111"/>
                      <a:gd name="connsiteY1" fmla="*/ 97630 h 232567"/>
                      <a:gd name="connsiteX2" fmla="*/ 190501 w 286111"/>
                      <a:gd name="connsiteY2" fmla="*/ 232567 h 232567"/>
                      <a:gd name="connsiteX3" fmla="*/ 0 w 286111"/>
                      <a:gd name="connsiteY3" fmla="*/ 153986 h 232567"/>
                      <a:gd name="connsiteX4" fmla="*/ 97633 w 286111"/>
                      <a:gd name="connsiteY4" fmla="*/ 0 h 232567"/>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200027 w 286111"/>
                      <a:gd name="connsiteY0" fmla="*/ 0 h 182561"/>
                      <a:gd name="connsiteX1" fmla="*/ 285750 w 286111"/>
                      <a:gd name="connsiteY1" fmla="*/ 47624 h 182561"/>
                      <a:gd name="connsiteX2" fmla="*/ 190501 w 286111"/>
                      <a:gd name="connsiteY2" fmla="*/ 182561 h 182561"/>
                      <a:gd name="connsiteX3" fmla="*/ 0 w 286111"/>
                      <a:gd name="connsiteY3" fmla="*/ 103980 h 182561"/>
                      <a:gd name="connsiteX4" fmla="*/ 200027 w 286111"/>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2080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66678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66678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6204 w 167050"/>
                      <a:gd name="connsiteY0" fmla="*/ 0 h 182561"/>
                      <a:gd name="connsiteX1" fmla="*/ 166689 w 167050"/>
                      <a:gd name="connsiteY1" fmla="*/ 47624 h 182561"/>
                      <a:gd name="connsiteX2" fmla="*/ 71440 w 167050"/>
                      <a:gd name="connsiteY2" fmla="*/ 182561 h 182561"/>
                      <a:gd name="connsiteX3" fmla="*/ 0 w 167050"/>
                      <a:gd name="connsiteY3" fmla="*/ 144462 h 182561"/>
                      <a:gd name="connsiteX4" fmla="*/ 76204 w 167050"/>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900"/>
                      <a:gd name="connsiteY0" fmla="*/ 0 h 189705"/>
                      <a:gd name="connsiteX1" fmla="*/ 164308 w 164900"/>
                      <a:gd name="connsiteY1" fmla="*/ 47624 h 189705"/>
                      <a:gd name="connsiteX2" fmla="*/ 88109 w 164900"/>
                      <a:gd name="connsiteY2" fmla="*/ 189705 h 189705"/>
                      <a:gd name="connsiteX3" fmla="*/ 0 w 164900"/>
                      <a:gd name="connsiteY3" fmla="*/ 139699 h 189705"/>
                      <a:gd name="connsiteX4" fmla="*/ 73823 w 164900"/>
                      <a:gd name="connsiteY4" fmla="*/ 0 h 189705"/>
                      <a:gd name="connsiteX0" fmla="*/ 73823 w 164711"/>
                      <a:gd name="connsiteY0" fmla="*/ 0 h 189705"/>
                      <a:gd name="connsiteX1" fmla="*/ 164308 w 164711"/>
                      <a:gd name="connsiteY1" fmla="*/ 47624 h 189705"/>
                      <a:gd name="connsiteX2" fmla="*/ 88109 w 164711"/>
                      <a:gd name="connsiteY2" fmla="*/ 189705 h 189705"/>
                      <a:gd name="connsiteX3" fmla="*/ 0 w 164711"/>
                      <a:gd name="connsiteY3" fmla="*/ 139699 h 189705"/>
                      <a:gd name="connsiteX4" fmla="*/ 73823 w 164711"/>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54773 w 164599"/>
                      <a:gd name="connsiteY0" fmla="*/ 0 h 201611"/>
                      <a:gd name="connsiteX1" fmla="*/ 164308 w 164599"/>
                      <a:gd name="connsiteY1" fmla="*/ 59530 h 201611"/>
                      <a:gd name="connsiteX2" fmla="*/ 88109 w 164599"/>
                      <a:gd name="connsiteY2" fmla="*/ 201611 h 201611"/>
                      <a:gd name="connsiteX3" fmla="*/ 0 w 164599"/>
                      <a:gd name="connsiteY3" fmla="*/ 151605 h 201611"/>
                      <a:gd name="connsiteX4" fmla="*/ 54773 w 164599"/>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8586 w 181268"/>
                      <a:gd name="connsiteY0" fmla="*/ 0 h 196848"/>
                      <a:gd name="connsiteX1" fmla="*/ 180977 w 181268"/>
                      <a:gd name="connsiteY1" fmla="*/ 54767 h 196848"/>
                      <a:gd name="connsiteX2" fmla="*/ 104778 w 181268"/>
                      <a:gd name="connsiteY2" fmla="*/ 196848 h 196848"/>
                      <a:gd name="connsiteX3" fmla="*/ 0 w 181268"/>
                      <a:gd name="connsiteY3" fmla="*/ 146842 h 196848"/>
                      <a:gd name="connsiteX4" fmla="*/ 78586 w 181268"/>
                      <a:gd name="connsiteY4" fmla="*/ 0 h 196848"/>
                      <a:gd name="connsiteX0" fmla="*/ 78586 w 181268"/>
                      <a:gd name="connsiteY0" fmla="*/ 0 h 196848"/>
                      <a:gd name="connsiteX1" fmla="*/ 180977 w 181268"/>
                      <a:gd name="connsiteY1" fmla="*/ 54767 h 196848"/>
                      <a:gd name="connsiteX2" fmla="*/ 104778 w 181268"/>
                      <a:gd name="connsiteY2" fmla="*/ 196848 h 196848"/>
                      <a:gd name="connsiteX3" fmla="*/ 0 w 181268"/>
                      <a:gd name="connsiteY3" fmla="*/ 146842 h 196848"/>
                      <a:gd name="connsiteX4" fmla="*/ 78586 w 181268"/>
                      <a:gd name="connsiteY4" fmla="*/ 0 h 196848"/>
                      <a:gd name="connsiteX0" fmla="*/ 78586 w 181268"/>
                      <a:gd name="connsiteY0" fmla="*/ 0 h 196848"/>
                      <a:gd name="connsiteX1" fmla="*/ 180977 w 181268"/>
                      <a:gd name="connsiteY1" fmla="*/ 54767 h 196848"/>
                      <a:gd name="connsiteX2" fmla="*/ 104778 w 181268"/>
                      <a:gd name="connsiteY2" fmla="*/ 196848 h 196848"/>
                      <a:gd name="connsiteX3" fmla="*/ 0 w 181268"/>
                      <a:gd name="connsiteY3" fmla="*/ 146842 h 196848"/>
                      <a:gd name="connsiteX4" fmla="*/ 78586 w 181268"/>
                      <a:gd name="connsiteY4" fmla="*/ 0 h 196848"/>
                      <a:gd name="connsiteX0" fmla="*/ 76205 w 178887"/>
                      <a:gd name="connsiteY0" fmla="*/ 0 h 196848"/>
                      <a:gd name="connsiteX1" fmla="*/ 178596 w 178887"/>
                      <a:gd name="connsiteY1" fmla="*/ 54767 h 196848"/>
                      <a:gd name="connsiteX2" fmla="*/ 102397 w 178887"/>
                      <a:gd name="connsiteY2" fmla="*/ 196848 h 196848"/>
                      <a:gd name="connsiteX3" fmla="*/ 0 w 178887"/>
                      <a:gd name="connsiteY3" fmla="*/ 149223 h 196848"/>
                      <a:gd name="connsiteX4" fmla="*/ 76205 w 178887"/>
                      <a:gd name="connsiteY4" fmla="*/ 0 h 196848"/>
                      <a:gd name="connsiteX0" fmla="*/ 76205 w 178887"/>
                      <a:gd name="connsiteY0" fmla="*/ 0 h 196848"/>
                      <a:gd name="connsiteX1" fmla="*/ 178596 w 178887"/>
                      <a:gd name="connsiteY1" fmla="*/ 54767 h 196848"/>
                      <a:gd name="connsiteX2" fmla="*/ 102397 w 178887"/>
                      <a:gd name="connsiteY2" fmla="*/ 196848 h 196848"/>
                      <a:gd name="connsiteX3" fmla="*/ 0 w 178887"/>
                      <a:gd name="connsiteY3" fmla="*/ 149223 h 196848"/>
                      <a:gd name="connsiteX4" fmla="*/ 76205 w 178887"/>
                      <a:gd name="connsiteY4" fmla="*/ 0 h 196848"/>
                      <a:gd name="connsiteX0" fmla="*/ 76205 w 178887"/>
                      <a:gd name="connsiteY0" fmla="*/ 0 h 196848"/>
                      <a:gd name="connsiteX1" fmla="*/ 178596 w 178887"/>
                      <a:gd name="connsiteY1" fmla="*/ 54767 h 196848"/>
                      <a:gd name="connsiteX2" fmla="*/ 102397 w 178887"/>
                      <a:gd name="connsiteY2" fmla="*/ 196848 h 196848"/>
                      <a:gd name="connsiteX3" fmla="*/ 0 w 178887"/>
                      <a:gd name="connsiteY3" fmla="*/ 149223 h 196848"/>
                      <a:gd name="connsiteX4" fmla="*/ 76205 w 178887"/>
                      <a:gd name="connsiteY4" fmla="*/ 0 h 196848"/>
                      <a:gd name="connsiteX0" fmla="*/ 76205 w 178887"/>
                      <a:gd name="connsiteY0" fmla="*/ 0 h 196848"/>
                      <a:gd name="connsiteX1" fmla="*/ 178596 w 178887"/>
                      <a:gd name="connsiteY1" fmla="*/ 54767 h 196848"/>
                      <a:gd name="connsiteX2" fmla="*/ 102397 w 178887"/>
                      <a:gd name="connsiteY2" fmla="*/ 196848 h 196848"/>
                      <a:gd name="connsiteX3" fmla="*/ 0 w 178887"/>
                      <a:gd name="connsiteY3" fmla="*/ 149223 h 196848"/>
                      <a:gd name="connsiteX4" fmla="*/ 76205 w 178887"/>
                      <a:gd name="connsiteY4" fmla="*/ 0 h 196848"/>
                      <a:gd name="connsiteX0" fmla="*/ 76205 w 178913"/>
                      <a:gd name="connsiteY0" fmla="*/ 0 h 196848"/>
                      <a:gd name="connsiteX1" fmla="*/ 178596 w 178913"/>
                      <a:gd name="connsiteY1" fmla="*/ 54767 h 196848"/>
                      <a:gd name="connsiteX2" fmla="*/ 102397 w 178913"/>
                      <a:gd name="connsiteY2" fmla="*/ 196848 h 196848"/>
                      <a:gd name="connsiteX3" fmla="*/ 0 w 178913"/>
                      <a:gd name="connsiteY3" fmla="*/ 149223 h 196848"/>
                      <a:gd name="connsiteX4" fmla="*/ 76205 w 178913"/>
                      <a:gd name="connsiteY4" fmla="*/ 0 h 196848"/>
                      <a:gd name="connsiteX0" fmla="*/ 76205 w 178887"/>
                      <a:gd name="connsiteY0" fmla="*/ 0 h 196848"/>
                      <a:gd name="connsiteX1" fmla="*/ 178596 w 178887"/>
                      <a:gd name="connsiteY1" fmla="*/ 54767 h 196848"/>
                      <a:gd name="connsiteX2" fmla="*/ 102397 w 178887"/>
                      <a:gd name="connsiteY2" fmla="*/ 196848 h 196848"/>
                      <a:gd name="connsiteX3" fmla="*/ 0 w 178887"/>
                      <a:gd name="connsiteY3" fmla="*/ 149223 h 196848"/>
                      <a:gd name="connsiteX4" fmla="*/ 76205 w 178887"/>
                      <a:gd name="connsiteY4" fmla="*/ 0 h 196848"/>
                      <a:gd name="connsiteX0" fmla="*/ 76205 w 178913"/>
                      <a:gd name="connsiteY0" fmla="*/ 0 h 196848"/>
                      <a:gd name="connsiteX1" fmla="*/ 178596 w 178913"/>
                      <a:gd name="connsiteY1" fmla="*/ 54767 h 196848"/>
                      <a:gd name="connsiteX2" fmla="*/ 102397 w 178913"/>
                      <a:gd name="connsiteY2" fmla="*/ 196848 h 196848"/>
                      <a:gd name="connsiteX3" fmla="*/ 0 w 178913"/>
                      <a:gd name="connsiteY3" fmla="*/ 149223 h 196848"/>
                      <a:gd name="connsiteX4" fmla="*/ 76205 w 178913"/>
                      <a:gd name="connsiteY4" fmla="*/ 0 h 196848"/>
                      <a:gd name="connsiteX0" fmla="*/ 76205 w 178913"/>
                      <a:gd name="connsiteY0" fmla="*/ 0 h 199230"/>
                      <a:gd name="connsiteX1" fmla="*/ 178596 w 178913"/>
                      <a:gd name="connsiteY1" fmla="*/ 54767 h 199230"/>
                      <a:gd name="connsiteX2" fmla="*/ 102397 w 178913"/>
                      <a:gd name="connsiteY2" fmla="*/ 199230 h 199230"/>
                      <a:gd name="connsiteX3" fmla="*/ 0 w 178913"/>
                      <a:gd name="connsiteY3" fmla="*/ 149223 h 199230"/>
                      <a:gd name="connsiteX4" fmla="*/ 76205 w 178913"/>
                      <a:gd name="connsiteY4" fmla="*/ 0 h 199230"/>
                      <a:gd name="connsiteX0" fmla="*/ 78587 w 181295"/>
                      <a:gd name="connsiteY0" fmla="*/ 0 h 199230"/>
                      <a:gd name="connsiteX1" fmla="*/ 180978 w 181295"/>
                      <a:gd name="connsiteY1" fmla="*/ 54767 h 199230"/>
                      <a:gd name="connsiteX2" fmla="*/ 104779 w 181295"/>
                      <a:gd name="connsiteY2" fmla="*/ 199230 h 199230"/>
                      <a:gd name="connsiteX3" fmla="*/ 0 w 181295"/>
                      <a:gd name="connsiteY3" fmla="*/ 151605 h 199230"/>
                      <a:gd name="connsiteX4" fmla="*/ 78587 w 181295"/>
                      <a:gd name="connsiteY4" fmla="*/ 0 h 199230"/>
                      <a:gd name="connsiteX0" fmla="*/ 78587 w 181309"/>
                      <a:gd name="connsiteY0" fmla="*/ 0 h 203993"/>
                      <a:gd name="connsiteX1" fmla="*/ 180978 w 181309"/>
                      <a:gd name="connsiteY1" fmla="*/ 54767 h 203993"/>
                      <a:gd name="connsiteX2" fmla="*/ 107160 w 181309"/>
                      <a:gd name="connsiteY2" fmla="*/ 203993 h 203993"/>
                      <a:gd name="connsiteX3" fmla="*/ 0 w 181309"/>
                      <a:gd name="connsiteY3" fmla="*/ 151605 h 203993"/>
                      <a:gd name="connsiteX4" fmla="*/ 78587 w 181309"/>
                      <a:gd name="connsiteY4" fmla="*/ 0 h 203993"/>
                      <a:gd name="connsiteX0" fmla="*/ 78587 w 181309"/>
                      <a:gd name="connsiteY0" fmla="*/ 0 h 203993"/>
                      <a:gd name="connsiteX1" fmla="*/ 180978 w 181309"/>
                      <a:gd name="connsiteY1" fmla="*/ 54767 h 203993"/>
                      <a:gd name="connsiteX2" fmla="*/ 107160 w 181309"/>
                      <a:gd name="connsiteY2" fmla="*/ 203993 h 203993"/>
                      <a:gd name="connsiteX3" fmla="*/ 0 w 181309"/>
                      <a:gd name="connsiteY3" fmla="*/ 151605 h 203993"/>
                      <a:gd name="connsiteX4" fmla="*/ 78587 w 181309"/>
                      <a:gd name="connsiteY4" fmla="*/ 0 h 203993"/>
                      <a:gd name="connsiteX0" fmla="*/ 78587 w 183676"/>
                      <a:gd name="connsiteY0" fmla="*/ 0 h 203993"/>
                      <a:gd name="connsiteX1" fmla="*/ 183359 w 183676"/>
                      <a:gd name="connsiteY1" fmla="*/ 54767 h 203993"/>
                      <a:gd name="connsiteX2" fmla="*/ 107160 w 183676"/>
                      <a:gd name="connsiteY2" fmla="*/ 203993 h 203993"/>
                      <a:gd name="connsiteX3" fmla="*/ 0 w 183676"/>
                      <a:gd name="connsiteY3" fmla="*/ 151605 h 203993"/>
                      <a:gd name="connsiteX4" fmla="*/ 78587 w 183676"/>
                      <a:gd name="connsiteY4" fmla="*/ 0 h 203993"/>
                      <a:gd name="connsiteX0" fmla="*/ 78587 w 183676"/>
                      <a:gd name="connsiteY0" fmla="*/ 0 h 203993"/>
                      <a:gd name="connsiteX1" fmla="*/ 183359 w 183676"/>
                      <a:gd name="connsiteY1" fmla="*/ 54767 h 203993"/>
                      <a:gd name="connsiteX2" fmla="*/ 107160 w 183676"/>
                      <a:gd name="connsiteY2" fmla="*/ 203993 h 203993"/>
                      <a:gd name="connsiteX3" fmla="*/ 0 w 183676"/>
                      <a:gd name="connsiteY3" fmla="*/ 151605 h 203993"/>
                      <a:gd name="connsiteX4" fmla="*/ 78587 w 183676"/>
                      <a:gd name="connsiteY4" fmla="*/ 0 h 203993"/>
                      <a:gd name="connsiteX0" fmla="*/ 78587 w 183676"/>
                      <a:gd name="connsiteY0" fmla="*/ 0 h 203993"/>
                      <a:gd name="connsiteX1" fmla="*/ 183359 w 183676"/>
                      <a:gd name="connsiteY1" fmla="*/ 54767 h 203993"/>
                      <a:gd name="connsiteX2" fmla="*/ 107160 w 183676"/>
                      <a:gd name="connsiteY2" fmla="*/ 203993 h 203993"/>
                      <a:gd name="connsiteX3" fmla="*/ 0 w 183676"/>
                      <a:gd name="connsiteY3" fmla="*/ 151605 h 203993"/>
                      <a:gd name="connsiteX4" fmla="*/ 78587 w 183676"/>
                      <a:gd name="connsiteY4" fmla="*/ 0 h 203993"/>
                      <a:gd name="connsiteX0" fmla="*/ 78587 w 184965"/>
                      <a:gd name="connsiteY0" fmla="*/ 0 h 203993"/>
                      <a:gd name="connsiteX1" fmla="*/ 183359 w 184965"/>
                      <a:gd name="connsiteY1" fmla="*/ 54767 h 203993"/>
                      <a:gd name="connsiteX2" fmla="*/ 107160 w 184965"/>
                      <a:gd name="connsiteY2" fmla="*/ 203993 h 203993"/>
                      <a:gd name="connsiteX3" fmla="*/ 0 w 184965"/>
                      <a:gd name="connsiteY3" fmla="*/ 151605 h 203993"/>
                      <a:gd name="connsiteX4" fmla="*/ 78587 w 184965"/>
                      <a:gd name="connsiteY4" fmla="*/ 0 h 203993"/>
                      <a:gd name="connsiteX0" fmla="*/ 78587 w 185083"/>
                      <a:gd name="connsiteY0" fmla="*/ 0 h 203993"/>
                      <a:gd name="connsiteX1" fmla="*/ 183359 w 185083"/>
                      <a:gd name="connsiteY1" fmla="*/ 54767 h 203993"/>
                      <a:gd name="connsiteX2" fmla="*/ 107160 w 185083"/>
                      <a:gd name="connsiteY2" fmla="*/ 203993 h 203993"/>
                      <a:gd name="connsiteX3" fmla="*/ 0 w 185083"/>
                      <a:gd name="connsiteY3" fmla="*/ 151605 h 203993"/>
                      <a:gd name="connsiteX4" fmla="*/ 78587 w 185083"/>
                      <a:gd name="connsiteY4" fmla="*/ 0 h 203993"/>
                      <a:gd name="connsiteX0" fmla="*/ 78587 w 185083"/>
                      <a:gd name="connsiteY0" fmla="*/ 0 h 204007"/>
                      <a:gd name="connsiteX1" fmla="*/ 183359 w 185083"/>
                      <a:gd name="connsiteY1" fmla="*/ 54767 h 204007"/>
                      <a:gd name="connsiteX2" fmla="*/ 107160 w 185083"/>
                      <a:gd name="connsiteY2" fmla="*/ 203993 h 204007"/>
                      <a:gd name="connsiteX3" fmla="*/ 0 w 185083"/>
                      <a:gd name="connsiteY3" fmla="*/ 151605 h 204007"/>
                      <a:gd name="connsiteX4" fmla="*/ 78587 w 185083"/>
                      <a:gd name="connsiteY4" fmla="*/ 0 h 204007"/>
                      <a:gd name="connsiteX0" fmla="*/ 78587 w 185373"/>
                      <a:gd name="connsiteY0" fmla="*/ 0 h 204364"/>
                      <a:gd name="connsiteX1" fmla="*/ 183359 w 185373"/>
                      <a:gd name="connsiteY1" fmla="*/ 54767 h 204364"/>
                      <a:gd name="connsiteX2" fmla="*/ 107160 w 185373"/>
                      <a:gd name="connsiteY2" fmla="*/ 203993 h 204364"/>
                      <a:gd name="connsiteX3" fmla="*/ 0 w 185373"/>
                      <a:gd name="connsiteY3" fmla="*/ 151605 h 204364"/>
                      <a:gd name="connsiteX4" fmla="*/ 78587 w 185373"/>
                      <a:gd name="connsiteY4" fmla="*/ 0 h 204364"/>
                      <a:gd name="connsiteX0" fmla="*/ 78587 w 188308"/>
                      <a:gd name="connsiteY0" fmla="*/ 0 h 204263"/>
                      <a:gd name="connsiteX1" fmla="*/ 183359 w 188308"/>
                      <a:gd name="connsiteY1" fmla="*/ 54767 h 204263"/>
                      <a:gd name="connsiteX2" fmla="*/ 107160 w 188308"/>
                      <a:gd name="connsiteY2" fmla="*/ 203993 h 204263"/>
                      <a:gd name="connsiteX3" fmla="*/ 0 w 188308"/>
                      <a:gd name="connsiteY3" fmla="*/ 151605 h 204263"/>
                      <a:gd name="connsiteX4" fmla="*/ 78587 w 188308"/>
                      <a:gd name="connsiteY4" fmla="*/ 0 h 204263"/>
                      <a:gd name="connsiteX0" fmla="*/ 78587 w 188308"/>
                      <a:gd name="connsiteY0" fmla="*/ 0 h 204263"/>
                      <a:gd name="connsiteX1" fmla="*/ 183359 w 188308"/>
                      <a:gd name="connsiteY1" fmla="*/ 54767 h 204263"/>
                      <a:gd name="connsiteX2" fmla="*/ 107160 w 188308"/>
                      <a:gd name="connsiteY2" fmla="*/ 203993 h 204263"/>
                      <a:gd name="connsiteX3" fmla="*/ 0 w 188308"/>
                      <a:gd name="connsiteY3" fmla="*/ 151605 h 204263"/>
                      <a:gd name="connsiteX4" fmla="*/ 78587 w 188308"/>
                      <a:gd name="connsiteY4" fmla="*/ 0 h 204263"/>
                      <a:gd name="connsiteX0" fmla="*/ 78587 w 188308"/>
                      <a:gd name="connsiteY0" fmla="*/ 0 h 204263"/>
                      <a:gd name="connsiteX1" fmla="*/ 183359 w 188308"/>
                      <a:gd name="connsiteY1" fmla="*/ 54767 h 204263"/>
                      <a:gd name="connsiteX2" fmla="*/ 107160 w 188308"/>
                      <a:gd name="connsiteY2" fmla="*/ 203993 h 204263"/>
                      <a:gd name="connsiteX3" fmla="*/ 0 w 188308"/>
                      <a:gd name="connsiteY3" fmla="*/ 151605 h 204263"/>
                      <a:gd name="connsiteX4" fmla="*/ 78587 w 188308"/>
                      <a:gd name="connsiteY4" fmla="*/ 0 h 204263"/>
                      <a:gd name="connsiteX0" fmla="*/ 78587 w 188308"/>
                      <a:gd name="connsiteY0" fmla="*/ 0 h 204263"/>
                      <a:gd name="connsiteX1" fmla="*/ 183359 w 188308"/>
                      <a:gd name="connsiteY1" fmla="*/ 54767 h 204263"/>
                      <a:gd name="connsiteX2" fmla="*/ 107160 w 188308"/>
                      <a:gd name="connsiteY2" fmla="*/ 203993 h 204263"/>
                      <a:gd name="connsiteX3" fmla="*/ 0 w 188308"/>
                      <a:gd name="connsiteY3" fmla="*/ 151605 h 204263"/>
                      <a:gd name="connsiteX4" fmla="*/ 78587 w 188308"/>
                      <a:gd name="connsiteY4" fmla="*/ 0 h 204263"/>
                      <a:gd name="connsiteX0" fmla="*/ 78587 w 188308"/>
                      <a:gd name="connsiteY0" fmla="*/ 0 h 204263"/>
                      <a:gd name="connsiteX1" fmla="*/ 183359 w 188308"/>
                      <a:gd name="connsiteY1" fmla="*/ 54767 h 204263"/>
                      <a:gd name="connsiteX2" fmla="*/ 107160 w 188308"/>
                      <a:gd name="connsiteY2" fmla="*/ 203993 h 204263"/>
                      <a:gd name="connsiteX3" fmla="*/ 0 w 188308"/>
                      <a:gd name="connsiteY3" fmla="*/ 151605 h 204263"/>
                      <a:gd name="connsiteX4" fmla="*/ 78587 w 188308"/>
                      <a:gd name="connsiteY4" fmla="*/ 0 h 204263"/>
                      <a:gd name="connsiteX0" fmla="*/ 78587 w 186094"/>
                      <a:gd name="connsiteY0" fmla="*/ 0 h 204256"/>
                      <a:gd name="connsiteX1" fmla="*/ 180978 w 186094"/>
                      <a:gd name="connsiteY1" fmla="*/ 52386 h 204256"/>
                      <a:gd name="connsiteX2" fmla="*/ 107160 w 186094"/>
                      <a:gd name="connsiteY2" fmla="*/ 203993 h 204256"/>
                      <a:gd name="connsiteX3" fmla="*/ 0 w 186094"/>
                      <a:gd name="connsiteY3" fmla="*/ 151605 h 204256"/>
                      <a:gd name="connsiteX4" fmla="*/ 78587 w 186094"/>
                      <a:gd name="connsiteY4" fmla="*/ 0 h 204256"/>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1605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1605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1605 h 204270"/>
                      <a:gd name="connsiteX4" fmla="*/ 80451 w 194631"/>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49740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49740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49740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3 h 204270"/>
                      <a:gd name="connsiteX4" fmla="*/ 78587 w 192767"/>
                      <a:gd name="connsiteY4" fmla="*/ 0 h 204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7" h="204270">
                        <a:moveTo>
                          <a:pt x="78587" y="0"/>
                        </a:moveTo>
                        <a:cubicBezTo>
                          <a:pt x="127006" y="24607"/>
                          <a:pt x="151922" y="38135"/>
                          <a:pt x="188122" y="57149"/>
                        </a:cubicBezTo>
                        <a:cubicBezTo>
                          <a:pt x="209554" y="122766"/>
                          <a:pt x="152403" y="209814"/>
                          <a:pt x="107160" y="203993"/>
                        </a:cubicBezTo>
                        <a:cubicBezTo>
                          <a:pt x="72683" y="187152"/>
                          <a:pt x="40069" y="168444"/>
                          <a:pt x="0" y="151603"/>
                        </a:cubicBezTo>
                        <a:cubicBezTo>
                          <a:pt x="64537" y="155117"/>
                          <a:pt x="96048" y="43391"/>
                          <a:pt x="78587" y="0"/>
                        </a:cubicBezTo>
                        <a:close/>
                      </a:path>
                    </a:pathLst>
                  </a:custGeom>
                  <a:solidFill>
                    <a:srgbClr val="669E40"/>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91" name="Rectangle 16"/>
                  <p:cNvSpPr/>
                  <p:nvPr/>
                </p:nvSpPr>
                <p:spPr>
                  <a:xfrm rot="1545906" flipH="1">
                    <a:off x="5838213" y="3102726"/>
                    <a:ext cx="276663" cy="234238"/>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4368"/>
                      <a:gd name="connsiteY0" fmla="*/ 0 h 368300"/>
                      <a:gd name="connsiteX1" fmla="*/ 664368 w 664368"/>
                      <a:gd name="connsiteY1" fmla="*/ 235744 h 368300"/>
                      <a:gd name="connsiteX2" fmla="*/ 571500 w 664368"/>
                      <a:gd name="connsiteY2" fmla="*/ 368300 h 368300"/>
                      <a:gd name="connsiteX3" fmla="*/ 0 w 664368"/>
                      <a:gd name="connsiteY3" fmla="*/ 368300 h 368300"/>
                      <a:gd name="connsiteX4" fmla="*/ 0 w 664368"/>
                      <a:gd name="connsiteY4" fmla="*/ 0 h 368300"/>
                      <a:gd name="connsiteX0" fmla="*/ 0 w 671347"/>
                      <a:gd name="connsiteY0" fmla="*/ 0 h 368300"/>
                      <a:gd name="connsiteX1" fmla="*/ 664368 w 671347"/>
                      <a:gd name="connsiteY1" fmla="*/ 235744 h 368300"/>
                      <a:gd name="connsiteX2" fmla="*/ 571500 w 671347"/>
                      <a:gd name="connsiteY2" fmla="*/ 368300 h 368300"/>
                      <a:gd name="connsiteX3" fmla="*/ 0 w 671347"/>
                      <a:gd name="connsiteY3" fmla="*/ 368300 h 368300"/>
                      <a:gd name="connsiteX4" fmla="*/ 0 w 671347"/>
                      <a:gd name="connsiteY4" fmla="*/ 0 h 368300"/>
                      <a:gd name="connsiteX0" fmla="*/ 0 w 664610"/>
                      <a:gd name="connsiteY0" fmla="*/ 0 h 368300"/>
                      <a:gd name="connsiteX1" fmla="*/ 664368 w 664610"/>
                      <a:gd name="connsiteY1" fmla="*/ 235744 h 368300"/>
                      <a:gd name="connsiteX2" fmla="*/ 571500 w 664610"/>
                      <a:gd name="connsiteY2" fmla="*/ 368300 h 368300"/>
                      <a:gd name="connsiteX3" fmla="*/ 0 w 664610"/>
                      <a:gd name="connsiteY3" fmla="*/ 368300 h 368300"/>
                      <a:gd name="connsiteX4" fmla="*/ 0 w 664610"/>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490538 w 664748"/>
                      <a:gd name="connsiteY0" fmla="*/ 0 h 215900"/>
                      <a:gd name="connsiteX1" fmla="*/ 664368 w 664748"/>
                      <a:gd name="connsiteY1" fmla="*/ 83344 h 215900"/>
                      <a:gd name="connsiteX2" fmla="*/ 571500 w 664748"/>
                      <a:gd name="connsiteY2" fmla="*/ 215900 h 215900"/>
                      <a:gd name="connsiteX3" fmla="*/ 0 w 664748"/>
                      <a:gd name="connsiteY3" fmla="*/ 215900 h 215900"/>
                      <a:gd name="connsiteX4" fmla="*/ 490538 w 664748"/>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5251 w 271842"/>
                      <a:gd name="connsiteY0" fmla="*/ 0 h 225425"/>
                      <a:gd name="connsiteX1" fmla="*/ 271462 w 271842"/>
                      <a:gd name="connsiteY1" fmla="*/ 92869 h 225425"/>
                      <a:gd name="connsiteX2" fmla="*/ 178594 w 271842"/>
                      <a:gd name="connsiteY2" fmla="*/ 225425 h 225425"/>
                      <a:gd name="connsiteX3" fmla="*/ 0 w 271842"/>
                      <a:gd name="connsiteY3" fmla="*/ 139700 h 225425"/>
                      <a:gd name="connsiteX4" fmla="*/ 95251 w 271842"/>
                      <a:gd name="connsiteY4" fmla="*/ 0 h 225425"/>
                      <a:gd name="connsiteX0" fmla="*/ 92870 w 271842"/>
                      <a:gd name="connsiteY0" fmla="*/ 0 h 220662"/>
                      <a:gd name="connsiteX1" fmla="*/ 271462 w 271842"/>
                      <a:gd name="connsiteY1" fmla="*/ 88106 h 220662"/>
                      <a:gd name="connsiteX2" fmla="*/ 178594 w 271842"/>
                      <a:gd name="connsiteY2" fmla="*/ 220662 h 220662"/>
                      <a:gd name="connsiteX3" fmla="*/ 0 w 271842"/>
                      <a:gd name="connsiteY3" fmla="*/ 134937 h 220662"/>
                      <a:gd name="connsiteX4" fmla="*/ 92870 w 271842"/>
                      <a:gd name="connsiteY4" fmla="*/ 0 h 220662"/>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85726 w 271842"/>
                      <a:gd name="connsiteY0" fmla="*/ 0 h 230186"/>
                      <a:gd name="connsiteX1" fmla="*/ 271462 w 271842"/>
                      <a:gd name="connsiteY1" fmla="*/ 97630 h 230186"/>
                      <a:gd name="connsiteX2" fmla="*/ 178594 w 271842"/>
                      <a:gd name="connsiteY2" fmla="*/ 230186 h 230186"/>
                      <a:gd name="connsiteX3" fmla="*/ 0 w 271842"/>
                      <a:gd name="connsiteY3" fmla="*/ 144461 h 230186"/>
                      <a:gd name="connsiteX4" fmla="*/ 85726 w 271842"/>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2567"/>
                      <a:gd name="connsiteX1" fmla="*/ 285750 w 286111"/>
                      <a:gd name="connsiteY1" fmla="*/ 97630 h 232567"/>
                      <a:gd name="connsiteX2" fmla="*/ 190501 w 286111"/>
                      <a:gd name="connsiteY2" fmla="*/ 232567 h 232567"/>
                      <a:gd name="connsiteX3" fmla="*/ 0 w 286111"/>
                      <a:gd name="connsiteY3" fmla="*/ 153986 h 232567"/>
                      <a:gd name="connsiteX4" fmla="*/ 97633 w 286111"/>
                      <a:gd name="connsiteY4" fmla="*/ 0 h 232567"/>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200027 w 286111"/>
                      <a:gd name="connsiteY0" fmla="*/ 0 h 182561"/>
                      <a:gd name="connsiteX1" fmla="*/ 285750 w 286111"/>
                      <a:gd name="connsiteY1" fmla="*/ 47624 h 182561"/>
                      <a:gd name="connsiteX2" fmla="*/ 190501 w 286111"/>
                      <a:gd name="connsiteY2" fmla="*/ 182561 h 182561"/>
                      <a:gd name="connsiteX3" fmla="*/ 0 w 286111"/>
                      <a:gd name="connsiteY3" fmla="*/ 103980 h 182561"/>
                      <a:gd name="connsiteX4" fmla="*/ 200027 w 286111"/>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2080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66678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66678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6204 w 167050"/>
                      <a:gd name="connsiteY0" fmla="*/ 0 h 182561"/>
                      <a:gd name="connsiteX1" fmla="*/ 166689 w 167050"/>
                      <a:gd name="connsiteY1" fmla="*/ 47624 h 182561"/>
                      <a:gd name="connsiteX2" fmla="*/ 71440 w 167050"/>
                      <a:gd name="connsiteY2" fmla="*/ 182561 h 182561"/>
                      <a:gd name="connsiteX3" fmla="*/ 0 w 167050"/>
                      <a:gd name="connsiteY3" fmla="*/ 144462 h 182561"/>
                      <a:gd name="connsiteX4" fmla="*/ 76204 w 167050"/>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900"/>
                      <a:gd name="connsiteY0" fmla="*/ 0 h 189705"/>
                      <a:gd name="connsiteX1" fmla="*/ 164308 w 164900"/>
                      <a:gd name="connsiteY1" fmla="*/ 47624 h 189705"/>
                      <a:gd name="connsiteX2" fmla="*/ 88109 w 164900"/>
                      <a:gd name="connsiteY2" fmla="*/ 189705 h 189705"/>
                      <a:gd name="connsiteX3" fmla="*/ 0 w 164900"/>
                      <a:gd name="connsiteY3" fmla="*/ 139699 h 189705"/>
                      <a:gd name="connsiteX4" fmla="*/ 73823 w 164900"/>
                      <a:gd name="connsiteY4" fmla="*/ 0 h 189705"/>
                      <a:gd name="connsiteX0" fmla="*/ 73823 w 164711"/>
                      <a:gd name="connsiteY0" fmla="*/ 0 h 189705"/>
                      <a:gd name="connsiteX1" fmla="*/ 164308 w 164711"/>
                      <a:gd name="connsiteY1" fmla="*/ 47624 h 189705"/>
                      <a:gd name="connsiteX2" fmla="*/ 88109 w 164711"/>
                      <a:gd name="connsiteY2" fmla="*/ 189705 h 189705"/>
                      <a:gd name="connsiteX3" fmla="*/ 0 w 164711"/>
                      <a:gd name="connsiteY3" fmla="*/ 139699 h 189705"/>
                      <a:gd name="connsiteX4" fmla="*/ 73823 w 164711"/>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54773 w 164599"/>
                      <a:gd name="connsiteY0" fmla="*/ 0 h 201611"/>
                      <a:gd name="connsiteX1" fmla="*/ 164308 w 164599"/>
                      <a:gd name="connsiteY1" fmla="*/ 59530 h 201611"/>
                      <a:gd name="connsiteX2" fmla="*/ 88109 w 164599"/>
                      <a:gd name="connsiteY2" fmla="*/ 201611 h 201611"/>
                      <a:gd name="connsiteX3" fmla="*/ 0 w 164599"/>
                      <a:gd name="connsiteY3" fmla="*/ 151605 h 201611"/>
                      <a:gd name="connsiteX4" fmla="*/ 54773 w 164599"/>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725"/>
                      <a:gd name="connsiteY0" fmla="*/ 0 h 201611"/>
                      <a:gd name="connsiteX1" fmla="*/ 180977 w 181725"/>
                      <a:gd name="connsiteY1" fmla="*/ 59530 h 201611"/>
                      <a:gd name="connsiteX2" fmla="*/ 104778 w 181725"/>
                      <a:gd name="connsiteY2" fmla="*/ 201611 h 201611"/>
                      <a:gd name="connsiteX3" fmla="*/ 0 w 181725"/>
                      <a:gd name="connsiteY3" fmla="*/ 151605 h 201611"/>
                      <a:gd name="connsiteX4" fmla="*/ 71442 w 181725"/>
                      <a:gd name="connsiteY4" fmla="*/ 0 h 201611"/>
                      <a:gd name="connsiteX0" fmla="*/ 71442 w 183091"/>
                      <a:gd name="connsiteY0" fmla="*/ 0 h 201611"/>
                      <a:gd name="connsiteX1" fmla="*/ 180977 w 183091"/>
                      <a:gd name="connsiteY1" fmla="*/ 59530 h 201611"/>
                      <a:gd name="connsiteX2" fmla="*/ 104778 w 183091"/>
                      <a:gd name="connsiteY2" fmla="*/ 201611 h 201611"/>
                      <a:gd name="connsiteX3" fmla="*/ 0 w 183091"/>
                      <a:gd name="connsiteY3" fmla="*/ 151605 h 201611"/>
                      <a:gd name="connsiteX4" fmla="*/ 71442 w 183091"/>
                      <a:gd name="connsiteY4" fmla="*/ 0 h 201611"/>
                      <a:gd name="connsiteX0" fmla="*/ 0 w 224645"/>
                      <a:gd name="connsiteY0" fmla="*/ 0 h 254016"/>
                      <a:gd name="connsiteX1" fmla="*/ 222531 w 224645"/>
                      <a:gd name="connsiteY1" fmla="*/ 111935 h 254016"/>
                      <a:gd name="connsiteX2" fmla="*/ 146332 w 224645"/>
                      <a:gd name="connsiteY2" fmla="*/ 254016 h 254016"/>
                      <a:gd name="connsiteX3" fmla="*/ 41554 w 224645"/>
                      <a:gd name="connsiteY3" fmla="*/ 204010 h 254016"/>
                      <a:gd name="connsiteX4" fmla="*/ 0 w 224645"/>
                      <a:gd name="connsiteY4" fmla="*/ 0 h 254016"/>
                      <a:gd name="connsiteX0" fmla="*/ 94983 w 319628"/>
                      <a:gd name="connsiteY0" fmla="*/ 0 h 254016"/>
                      <a:gd name="connsiteX1" fmla="*/ 317514 w 319628"/>
                      <a:gd name="connsiteY1" fmla="*/ 111935 h 254016"/>
                      <a:gd name="connsiteX2" fmla="*/ 241315 w 319628"/>
                      <a:gd name="connsiteY2" fmla="*/ 254016 h 254016"/>
                      <a:gd name="connsiteX3" fmla="*/ 0 w 319628"/>
                      <a:gd name="connsiteY3" fmla="*/ 160339 h 254016"/>
                      <a:gd name="connsiteX4" fmla="*/ 94983 w 319628"/>
                      <a:gd name="connsiteY4" fmla="*/ 0 h 254016"/>
                      <a:gd name="connsiteX0" fmla="*/ 97337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97337 w 321982"/>
                      <a:gd name="connsiteY4" fmla="*/ 0 h 254016"/>
                      <a:gd name="connsiteX0" fmla="*/ 97337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97337 w 321982"/>
                      <a:gd name="connsiteY4" fmla="*/ 0 h 254016"/>
                      <a:gd name="connsiteX0" fmla="*/ 97337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97337 w 321982"/>
                      <a:gd name="connsiteY4" fmla="*/ 0 h 254016"/>
                      <a:gd name="connsiteX0" fmla="*/ 85565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85565 w 321982"/>
                      <a:gd name="connsiteY4" fmla="*/ 0 h 254016"/>
                      <a:gd name="connsiteX0" fmla="*/ 85565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85565 w 321982"/>
                      <a:gd name="connsiteY4" fmla="*/ 0 h 254016"/>
                      <a:gd name="connsiteX0" fmla="*/ 85565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85565 w 321982"/>
                      <a:gd name="connsiteY4" fmla="*/ 0 h 254016"/>
                      <a:gd name="connsiteX0" fmla="*/ 85565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85565 w 321982"/>
                      <a:gd name="connsiteY4" fmla="*/ 0 h 254016"/>
                      <a:gd name="connsiteX0" fmla="*/ 78504 w 321982"/>
                      <a:gd name="connsiteY0" fmla="*/ 0 h 251833"/>
                      <a:gd name="connsiteX1" fmla="*/ 319868 w 321982"/>
                      <a:gd name="connsiteY1" fmla="*/ 109752 h 251833"/>
                      <a:gd name="connsiteX2" fmla="*/ 243669 w 321982"/>
                      <a:gd name="connsiteY2" fmla="*/ 251833 h 251833"/>
                      <a:gd name="connsiteX3" fmla="*/ 0 w 321982"/>
                      <a:gd name="connsiteY3" fmla="*/ 158156 h 251833"/>
                      <a:gd name="connsiteX4" fmla="*/ 78504 w 321982"/>
                      <a:gd name="connsiteY4" fmla="*/ 0 h 251833"/>
                      <a:gd name="connsiteX0" fmla="*/ 83212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83212 w 321982"/>
                      <a:gd name="connsiteY4" fmla="*/ 0 h 254016"/>
                      <a:gd name="connsiteX0" fmla="*/ 78504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78504 w 321982"/>
                      <a:gd name="connsiteY4" fmla="*/ 0 h 254016"/>
                      <a:gd name="connsiteX0" fmla="*/ 78504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78504 w 321982"/>
                      <a:gd name="connsiteY4" fmla="*/ 0 h 254016"/>
                      <a:gd name="connsiteX0" fmla="*/ 78504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78504 w 321982"/>
                      <a:gd name="connsiteY4" fmla="*/ 0 h 254016"/>
                      <a:gd name="connsiteX0" fmla="*/ 78504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78504 w 321982"/>
                      <a:gd name="connsiteY4" fmla="*/ 0 h 254016"/>
                      <a:gd name="connsiteX0" fmla="*/ 78504 w 321982"/>
                      <a:gd name="connsiteY0" fmla="*/ 0 h 256200"/>
                      <a:gd name="connsiteX1" fmla="*/ 319868 w 321982"/>
                      <a:gd name="connsiteY1" fmla="*/ 114119 h 256200"/>
                      <a:gd name="connsiteX2" fmla="*/ 243669 w 321982"/>
                      <a:gd name="connsiteY2" fmla="*/ 256200 h 256200"/>
                      <a:gd name="connsiteX3" fmla="*/ 0 w 321982"/>
                      <a:gd name="connsiteY3" fmla="*/ 162523 h 256200"/>
                      <a:gd name="connsiteX4" fmla="*/ 78504 w 321982"/>
                      <a:gd name="connsiteY4" fmla="*/ 0 h 256200"/>
                      <a:gd name="connsiteX0" fmla="*/ 78504 w 321982"/>
                      <a:gd name="connsiteY0" fmla="*/ 0 h 256200"/>
                      <a:gd name="connsiteX1" fmla="*/ 319868 w 321982"/>
                      <a:gd name="connsiteY1" fmla="*/ 114119 h 256200"/>
                      <a:gd name="connsiteX2" fmla="*/ 243669 w 321982"/>
                      <a:gd name="connsiteY2" fmla="*/ 256200 h 256200"/>
                      <a:gd name="connsiteX3" fmla="*/ 0 w 321982"/>
                      <a:gd name="connsiteY3" fmla="*/ 162523 h 256200"/>
                      <a:gd name="connsiteX4" fmla="*/ 78504 w 321982"/>
                      <a:gd name="connsiteY4" fmla="*/ 0 h 256200"/>
                      <a:gd name="connsiteX0" fmla="*/ 78504 w 321982"/>
                      <a:gd name="connsiteY0" fmla="*/ 0 h 258383"/>
                      <a:gd name="connsiteX1" fmla="*/ 319868 w 321982"/>
                      <a:gd name="connsiteY1" fmla="*/ 114119 h 258383"/>
                      <a:gd name="connsiteX2" fmla="*/ 243669 w 321982"/>
                      <a:gd name="connsiteY2" fmla="*/ 258383 h 258383"/>
                      <a:gd name="connsiteX3" fmla="*/ 0 w 321982"/>
                      <a:gd name="connsiteY3" fmla="*/ 162523 h 258383"/>
                      <a:gd name="connsiteX4" fmla="*/ 78504 w 321982"/>
                      <a:gd name="connsiteY4" fmla="*/ 0 h 258383"/>
                      <a:gd name="connsiteX0" fmla="*/ 78504 w 321982"/>
                      <a:gd name="connsiteY0" fmla="*/ 0 h 258383"/>
                      <a:gd name="connsiteX1" fmla="*/ 319868 w 321982"/>
                      <a:gd name="connsiteY1" fmla="*/ 114119 h 258383"/>
                      <a:gd name="connsiteX2" fmla="*/ 243669 w 321982"/>
                      <a:gd name="connsiteY2" fmla="*/ 258383 h 258383"/>
                      <a:gd name="connsiteX3" fmla="*/ 0 w 321982"/>
                      <a:gd name="connsiteY3" fmla="*/ 162523 h 258383"/>
                      <a:gd name="connsiteX4" fmla="*/ 78504 w 321982"/>
                      <a:gd name="connsiteY4" fmla="*/ 0 h 258383"/>
                      <a:gd name="connsiteX0" fmla="*/ 78504 w 321982"/>
                      <a:gd name="connsiteY0" fmla="*/ 0 h 258383"/>
                      <a:gd name="connsiteX1" fmla="*/ 319868 w 321982"/>
                      <a:gd name="connsiteY1" fmla="*/ 114119 h 258383"/>
                      <a:gd name="connsiteX2" fmla="*/ 243669 w 321982"/>
                      <a:gd name="connsiteY2" fmla="*/ 258383 h 258383"/>
                      <a:gd name="connsiteX3" fmla="*/ 0 w 321982"/>
                      <a:gd name="connsiteY3" fmla="*/ 160339 h 258383"/>
                      <a:gd name="connsiteX4" fmla="*/ 78504 w 321982"/>
                      <a:gd name="connsiteY4" fmla="*/ 0 h 258383"/>
                      <a:gd name="connsiteX0" fmla="*/ 76150 w 319628"/>
                      <a:gd name="connsiteY0" fmla="*/ 0 h 258383"/>
                      <a:gd name="connsiteX1" fmla="*/ 317514 w 319628"/>
                      <a:gd name="connsiteY1" fmla="*/ 114119 h 258383"/>
                      <a:gd name="connsiteX2" fmla="*/ 241315 w 319628"/>
                      <a:gd name="connsiteY2" fmla="*/ 258383 h 258383"/>
                      <a:gd name="connsiteX3" fmla="*/ 0 w 319628"/>
                      <a:gd name="connsiteY3" fmla="*/ 158155 h 258383"/>
                      <a:gd name="connsiteX4" fmla="*/ 76150 w 319628"/>
                      <a:gd name="connsiteY4" fmla="*/ 0 h 258383"/>
                      <a:gd name="connsiteX0" fmla="*/ 76150 w 319628"/>
                      <a:gd name="connsiteY0" fmla="*/ 0 h 258383"/>
                      <a:gd name="connsiteX1" fmla="*/ 317514 w 319628"/>
                      <a:gd name="connsiteY1" fmla="*/ 114119 h 258383"/>
                      <a:gd name="connsiteX2" fmla="*/ 241315 w 319628"/>
                      <a:gd name="connsiteY2" fmla="*/ 258383 h 258383"/>
                      <a:gd name="connsiteX3" fmla="*/ 0 w 319628"/>
                      <a:gd name="connsiteY3" fmla="*/ 158155 h 258383"/>
                      <a:gd name="connsiteX4" fmla="*/ 76150 w 319628"/>
                      <a:gd name="connsiteY4" fmla="*/ 0 h 258383"/>
                      <a:gd name="connsiteX0" fmla="*/ 76150 w 319628"/>
                      <a:gd name="connsiteY0" fmla="*/ 0 h 258383"/>
                      <a:gd name="connsiteX1" fmla="*/ 317514 w 319628"/>
                      <a:gd name="connsiteY1" fmla="*/ 114119 h 258383"/>
                      <a:gd name="connsiteX2" fmla="*/ 241315 w 319628"/>
                      <a:gd name="connsiteY2" fmla="*/ 258383 h 258383"/>
                      <a:gd name="connsiteX3" fmla="*/ 0 w 319628"/>
                      <a:gd name="connsiteY3" fmla="*/ 158155 h 258383"/>
                      <a:gd name="connsiteX4" fmla="*/ 76150 w 319628"/>
                      <a:gd name="connsiteY4" fmla="*/ 0 h 258383"/>
                      <a:gd name="connsiteX0" fmla="*/ 78504 w 321982"/>
                      <a:gd name="connsiteY0" fmla="*/ 0 h 258383"/>
                      <a:gd name="connsiteX1" fmla="*/ 319868 w 321982"/>
                      <a:gd name="connsiteY1" fmla="*/ 114119 h 258383"/>
                      <a:gd name="connsiteX2" fmla="*/ 243669 w 321982"/>
                      <a:gd name="connsiteY2" fmla="*/ 258383 h 258383"/>
                      <a:gd name="connsiteX3" fmla="*/ 0 w 321982"/>
                      <a:gd name="connsiteY3" fmla="*/ 158155 h 258383"/>
                      <a:gd name="connsiteX4" fmla="*/ 78504 w 321982"/>
                      <a:gd name="connsiteY4" fmla="*/ 0 h 258383"/>
                      <a:gd name="connsiteX0" fmla="*/ 78504 w 322129"/>
                      <a:gd name="connsiteY0" fmla="*/ 0 h 260566"/>
                      <a:gd name="connsiteX1" fmla="*/ 319868 w 322129"/>
                      <a:gd name="connsiteY1" fmla="*/ 114119 h 260566"/>
                      <a:gd name="connsiteX2" fmla="*/ 246023 w 322129"/>
                      <a:gd name="connsiteY2" fmla="*/ 260566 h 260566"/>
                      <a:gd name="connsiteX3" fmla="*/ 0 w 322129"/>
                      <a:gd name="connsiteY3" fmla="*/ 158155 h 260566"/>
                      <a:gd name="connsiteX4" fmla="*/ 78504 w 322129"/>
                      <a:gd name="connsiteY4" fmla="*/ 0 h 260566"/>
                      <a:gd name="connsiteX0" fmla="*/ 78504 w 322129"/>
                      <a:gd name="connsiteY0" fmla="*/ 0 h 260566"/>
                      <a:gd name="connsiteX1" fmla="*/ 319868 w 322129"/>
                      <a:gd name="connsiteY1" fmla="*/ 114119 h 260566"/>
                      <a:gd name="connsiteX2" fmla="*/ 246023 w 322129"/>
                      <a:gd name="connsiteY2" fmla="*/ 260566 h 260566"/>
                      <a:gd name="connsiteX3" fmla="*/ 0 w 322129"/>
                      <a:gd name="connsiteY3" fmla="*/ 158155 h 260566"/>
                      <a:gd name="connsiteX4" fmla="*/ 78504 w 322129"/>
                      <a:gd name="connsiteY4" fmla="*/ 0 h 260566"/>
                      <a:gd name="connsiteX0" fmla="*/ 78504 w 322129"/>
                      <a:gd name="connsiteY0" fmla="*/ 0 h 260566"/>
                      <a:gd name="connsiteX1" fmla="*/ 319868 w 322129"/>
                      <a:gd name="connsiteY1" fmla="*/ 114119 h 260566"/>
                      <a:gd name="connsiteX2" fmla="*/ 246023 w 322129"/>
                      <a:gd name="connsiteY2" fmla="*/ 260566 h 260566"/>
                      <a:gd name="connsiteX3" fmla="*/ 0 w 322129"/>
                      <a:gd name="connsiteY3" fmla="*/ 158155 h 260566"/>
                      <a:gd name="connsiteX4" fmla="*/ 78504 w 322129"/>
                      <a:gd name="connsiteY4" fmla="*/ 0 h 260566"/>
                      <a:gd name="connsiteX0" fmla="*/ 78504 w 321553"/>
                      <a:gd name="connsiteY0" fmla="*/ 0 h 260566"/>
                      <a:gd name="connsiteX1" fmla="*/ 319868 w 321553"/>
                      <a:gd name="connsiteY1" fmla="*/ 114119 h 260566"/>
                      <a:gd name="connsiteX2" fmla="*/ 246023 w 321553"/>
                      <a:gd name="connsiteY2" fmla="*/ 260566 h 260566"/>
                      <a:gd name="connsiteX3" fmla="*/ 0 w 321553"/>
                      <a:gd name="connsiteY3" fmla="*/ 158155 h 260566"/>
                      <a:gd name="connsiteX4" fmla="*/ 78504 w 321553"/>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1553"/>
                      <a:gd name="connsiteY0" fmla="*/ 0 h 260566"/>
                      <a:gd name="connsiteX1" fmla="*/ 319868 w 321553"/>
                      <a:gd name="connsiteY1" fmla="*/ 114119 h 260566"/>
                      <a:gd name="connsiteX2" fmla="*/ 246023 w 321553"/>
                      <a:gd name="connsiteY2" fmla="*/ 260566 h 260566"/>
                      <a:gd name="connsiteX3" fmla="*/ 0 w 321553"/>
                      <a:gd name="connsiteY3" fmla="*/ 158155 h 260566"/>
                      <a:gd name="connsiteX4" fmla="*/ 78504 w 321553"/>
                      <a:gd name="connsiteY4" fmla="*/ 0 h 260566"/>
                      <a:gd name="connsiteX0" fmla="*/ 78504 w 321553"/>
                      <a:gd name="connsiteY0" fmla="*/ 0 h 260566"/>
                      <a:gd name="connsiteX1" fmla="*/ 319868 w 321553"/>
                      <a:gd name="connsiteY1" fmla="*/ 114119 h 260566"/>
                      <a:gd name="connsiteX2" fmla="*/ 246023 w 321553"/>
                      <a:gd name="connsiteY2" fmla="*/ 260566 h 260566"/>
                      <a:gd name="connsiteX3" fmla="*/ 0 w 321553"/>
                      <a:gd name="connsiteY3" fmla="*/ 158155 h 260566"/>
                      <a:gd name="connsiteX4" fmla="*/ 78504 w 321553"/>
                      <a:gd name="connsiteY4" fmla="*/ 0 h 260566"/>
                      <a:gd name="connsiteX0" fmla="*/ 78504 w 321553"/>
                      <a:gd name="connsiteY0" fmla="*/ 0 h 260566"/>
                      <a:gd name="connsiteX1" fmla="*/ 319868 w 321553"/>
                      <a:gd name="connsiteY1" fmla="*/ 114119 h 260566"/>
                      <a:gd name="connsiteX2" fmla="*/ 246023 w 321553"/>
                      <a:gd name="connsiteY2" fmla="*/ 260566 h 260566"/>
                      <a:gd name="connsiteX3" fmla="*/ 0 w 321553"/>
                      <a:gd name="connsiteY3" fmla="*/ 158155 h 260566"/>
                      <a:gd name="connsiteX4" fmla="*/ 78504 w 321553"/>
                      <a:gd name="connsiteY4" fmla="*/ 0 h 260566"/>
                      <a:gd name="connsiteX0" fmla="*/ 78504 w 322980"/>
                      <a:gd name="connsiteY0" fmla="*/ 0 h 260566"/>
                      <a:gd name="connsiteX1" fmla="*/ 319868 w 322980"/>
                      <a:gd name="connsiteY1" fmla="*/ 114119 h 260566"/>
                      <a:gd name="connsiteX2" fmla="*/ 246023 w 322980"/>
                      <a:gd name="connsiteY2" fmla="*/ 260566 h 260566"/>
                      <a:gd name="connsiteX3" fmla="*/ 0 w 322980"/>
                      <a:gd name="connsiteY3" fmla="*/ 158155 h 260566"/>
                      <a:gd name="connsiteX4" fmla="*/ 78504 w 322980"/>
                      <a:gd name="connsiteY4" fmla="*/ 0 h 260566"/>
                      <a:gd name="connsiteX0" fmla="*/ 78504 w 322980"/>
                      <a:gd name="connsiteY0" fmla="*/ 0 h 260566"/>
                      <a:gd name="connsiteX1" fmla="*/ 319868 w 322980"/>
                      <a:gd name="connsiteY1" fmla="*/ 114119 h 260566"/>
                      <a:gd name="connsiteX2" fmla="*/ 246023 w 322980"/>
                      <a:gd name="connsiteY2" fmla="*/ 260566 h 260566"/>
                      <a:gd name="connsiteX3" fmla="*/ 0 w 322980"/>
                      <a:gd name="connsiteY3" fmla="*/ 158155 h 260566"/>
                      <a:gd name="connsiteX4" fmla="*/ 78504 w 322980"/>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58857"/>
                      <a:gd name="connsiteX1" fmla="*/ 319868 w 323761"/>
                      <a:gd name="connsiteY1" fmla="*/ 112410 h 258857"/>
                      <a:gd name="connsiteX2" fmla="*/ 246023 w 323761"/>
                      <a:gd name="connsiteY2" fmla="*/ 258857 h 258857"/>
                      <a:gd name="connsiteX3" fmla="*/ 0 w 323761"/>
                      <a:gd name="connsiteY3" fmla="*/ 156446 h 258857"/>
                      <a:gd name="connsiteX4" fmla="*/ 78504 w 323761"/>
                      <a:gd name="connsiteY4" fmla="*/ 0 h 258857"/>
                      <a:gd name="connsiteX0" fmla="*/ 78504 w 323761"/>
                      <a:gd name="connsiteY0" fmla="*/ 0 h 258857"/>
                      <a:gd name="connsiteX1" fmla="*/ 319868 w 323761"/>
                      <a:gd name="connsiteY1" fmla="*/ 112410 h 258857"/>
                      <a:gd name="connsiteX2" fmla="*/ 246023 w 323761"/>
                      <a:gd name="connsiteY2" fmla="*/ 258857 h 258857"/>
                      <a:gd name="connsiteX3" fmla="*/ 0 w 323761"/>
                      <a:gd name="connsiteY3" fmla="*/ 156446 h 258857"/>
                      <a:gd name="connsiteX4" fmla="*/ 78504 w 323761"/>
                      <a:gd name="connsiteY4" fmla="*/ 0 h 258857"/>
                      <a:gd name="connsiteX0" fmla="*/ 78504 w 323761"/>
                      <a:gd name="connsiteY0" fmla="*/ 0 h 258857"/>
                      <a:gd name="connsiteX1" fmla="*/ 319868 w 323761"/>
                      <a:gd name="connsiteY1" fmla="*/ 112410 h 258857"/>
                      <a:gd name="connsiteX2" fmla="*/ 246023 w 323761"/>
                      <a:gd name="connsiteY2" fmla="*/ 258857 h 258857"/>
                      <a:gd name="connsiteX3" fmla="*/ 0 w 323761"/>
                      <a:gd name="connsiteY3" fmla="*/ 156446 h 258857"/>
                      <a:gd name="connsiteX4" fmla="*/ 78504 w 323761"/>
                      <a:gd name="connsiteY4" fmla="*/ 0 h 258857"/>
                      <a:gd name="connsiteX0" fmla="*/ 78504 w 323761"/>
                      <a:gd name="connsiteY0" fmla="*/ 0 h 258857"/>
                      <a:gd name="connsiteX1" fmla="*/ 319868 w 323761"/>
                      <a:gd name="connsiteY1" fmla="*/ 112410 h 258857"/>
                      <a:gd name="connsiteX2" fmla="*/ 246023 w 323761"/>
                      <a:gd name="connsiteY2" fmla="*/ 258857 h 258857"/>
                      <a:gd name="connsiteX3" fmla="*/ 0 w 323761"/>
                      <a:gd name="connsiteY3" fmla="*/ 156446 h 258857"/>
                      <a:gd name="connsiteX4" fmla="*/ 78504 w 323761"/>
                      <a:gd name="connsiteY4" fmla="*/ 0 h 258857"/>
                      <a:gd name="connsiteX0" fmla="*/ 78504 w 323761"/>
                      <a:gd name="connsiteY0" fmla="*/ 0 h 257148"/>
                      <a:gd name="connsiteX1" fmla="*/ 319868 w 323761"/>
                      <a:gd name="connsiteY1" fmla="*/ 110701 h 257148"/>
                      <a:gd name="connsiteX2" fmla="*/ 246023 w 323761"/>
                      <a:gd name="connsiteY2" fmla="*/ 257148 h 257148"/>
                      <a:gd name="connsiteX3" fmla="*/ 0 w 323761"/>
                      <a:gd name="connsiteY3" fmla="*/ 154737 h 257148"/>
                      <a:gd name="connsiteX4" fmla="*/ 78504 w 323761"/>
                      <a:gd name="connsiteY4" fmla="*/ 0 h 257148"/>
                      <a:gd name="connsiteX0" fmla="*/ 78504 w 323761"/>
                      <a:gd name="connsiteY0" fmla="*/ 0 h 257148"/>
                      <a:gd name="connsiteX1" fmla="*/ 319868 w 323761"/>
                      <a:gd name="connsiteY1" fmla="*/ 110701 h 257148"/>
                      <a:gd name="connsiteX2" fmla="*/ 246023 w 323761"/>
                      <a:gd name="connsiteY2" fmla="*/ 257148 h 257148"/>
                      <a:gd name="connsiteX3" fmla="*/ 0 w 323761"/>
                      <a:gd name="connsiteY3" fmla="*/ 154737 h 257148"/>
                      <a:gd name="connsiteX4" fmla="*/ 78504 w 323761"/>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446" h="257148">
                        <a:moveTo>
                          <a:pt x="82189" y="0"/>
                        </a:moveTo>
                        <a:cubicBezTo>
                          <a:pt x="149658" y="30436"/>
                          <a:pt x="260847" y="78951"/>
                          <a:pt x="323553" y="110701"/>
                        </a:cubicBezTo>
                        <a:cubicBezTo>
                          <a:pt x="340086" y="165391"/>
                          <a:pt x="301797" y="246903"/>
                          <a:pt x="249708" y="257148"/>
                        </a:cubicBezTo>
                        <a:lnTo>
                          <a:pt x="0" y="151318"/>
                        </a:lnTo>
                        <a:cubicBezTo>
                          <a:pt x="59038" y="130554"/>
                          <a:pt x="105578" y="55930"/>
                          <a:pt x="82189" y="0"/>
                        </a:cubicBezTo>
                        <a:close/>
                      </a:path>
                    </a:pathLst>
                  </a:custGeom>
                  <a:solidFill>
                    <a:srgbClr val="669E40"/>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grpSp>
            <p:grpSp>
              <p:nvGrpSpPr>
                <p:cNvPr id="33" name="Group 32"/>
                <p:cNvGrpSpPr/>
                <p:nvPr/>
              </p:nvGrpSpPr>
              <p:grpSpPr>
                <a:xfrm rot="20937690" flipH="1">
                  <a:off x="565335" y="2359816"/>
                  <a:ext cx="1179901" cy="418558"/>
                  <a:chOff x="4824756" y="2527524"/>
                  <a:chExt cx="3663419" cy="1298140"/>
                </a:xfrm>
              </p:grpSpPr>
              <p:sp>
                <p:nvSpPr>
                  <p:cNvPr id="56" name="Rectangle 14"/>
                  <p:cNvSpPr/>
                  <p:nvPr/>
                </p:nvSpPr>
                <p:spPr>
                  <a:xfrm rot="1545906" flipH="1">
                    <a:off x="5377672" y="3108738"/>
                    <a:ext cx="307886" cy="228553"/>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9131"/>
                      <a:gd name="connsiteY0" fmla="*/ 0 h 368300"/>
                      <a:gd name="connsiteX1" fmla="*/ 669131 w 669131"/>
                      <a:gd name="connsiteY1" fmla="*/ 223837 h 368300"/>
                      <a:gd name="connsiteX2" fmla="*/ 571500 w 669131"/>
                      <a:gd name="connsiteY2" fmla="*/ 368300 h 368300"/>
                      <a:gd name="connsiteX3" fmla="*/ 0 w 669131"/>
                      <a:gd name="connsiteY3" fmla="*/ 368300 h 368300"/>
                      <a:gd name="connsiteX4" fmla="*/ 0 w 669131"/>
                      <a:gd name="connsiteY4" fmla="*/ 0 h 368300"/>
                      <a:gd name="connsiteX0" fmla="*/ 0 w 683551"/>
                      <a:gd name="connsiteY0" fmla="*/ 0 h 368300"/>
                      <a:gd name="connsiteX1" fmla="*/ 669131 w 683551"/>
                      <a:gd name="connsiteY1" fmla="*/ 223837 h 368300"/>
                      <a:gd name="connsiteX2" fmla="*/ 571500 w 683551"/>
                      <a:gd name="connsiteY2" fmla="*/ 368300 h 368300"/>
                      <a:gd name="connsiteX3" fmla="*/ 0 w 683551"/>
                      <a:gd name="connsiteY3" fmla="*/ 368300 h 368300"/>
                      <a:gd name="connsiteX4" fmla="*/ 0 w 683551"/>
                      <a:gd name="connsiteY4" fmla="*/ 0 h 368300"/>
                      <a:gd name="connsiteX0" fmla="*/ 0 w 672707"/>
                      <a:gd name="connsiteY0" fmla="*/ 0 h 368300"/>
                      <a:gd name="connsiteX1" fmla="*/ 669131 w 672707"/>
                      <a:gd name="connsiteY1" fmla="*/ 223837 h 368300"/>
                      <a:gd name="connsiteX2" fmla="*/ 571500 w 672707"/>
                      <a:gd name="connsiteY2" fmla="*/ 368300 h 368300"/>
                      <a:gd name="connsiteX3" fmla="*/ 0 w 672707"/>
                      <a:gd name="connsiteY3" fmla="*/ 368300 h 368300"/>
                      <a:gd name="connsiteX4" fmla="*/ 0 w 672707"/>
                      <a:gd name="connsiteY4" fmla="*/ 0 h 368300"/>
                      <a:gd name="connsiteX0" fmla="*/ 0 w 673449"/>
                      <a:gd name="connsiteY0" fmla="*/ 0 h 370698"/>
                      <a:gd name="connsiteX1" fmla="*/ 669131 w 673449"/>
                      <a:gd name="connsiteY1" fmla="*/ 223837 h 370698"/>
                      <a:gd name="connsiteX2" fmla="*/ 571500 w 673449"/>
                      <a:gd name="connsiteY2" fmla="*/ 368300 h 370698"/>
                      <a:gd name="connsiteX3" fmla="*/ 0 w 673449"/>
                      <a:gd name="connsiteY3" fmla="*/ 368300 h 370698"/>
                      <a:gd name="connsiteX4" fmla="*/ 0 w 673449"/>
                      <a:gd name="connsiteY4" fmla="*/ 0 h 370698"/>
                      <a:gd name="connsiteX0" fmla="*/ 0 w 672956"/>
                      <a:gd name="connsiteY0" fmla="*/ 0 h 371937"/>
                      <a:gd name="connsiteX1" fmla="*/ 669131 w 672956"/>
                      <a:gd name="connsiteY1" fmla="*/ 223837 h 371937"/>
                      <a:gd name="connsiteX2" fmla="*/ 571500 w 672956"/>
                      <a:gd name="connsiteY2" fmla="*/ 368300 h 371937"/>
                      <a:gd name="connsiteX3" fmla="*/ 0 w 672956"/>
                      <a:gd name="connsiteY3" fmla="*/ 368300 h 371937"/>
                      <a:gd name="connsiteX4" fmla="*/ 0 w 672956"/>
                      <a:gd name="connsiteY4" fmla="*/ 0 h 371937"/>
                      <a:gd name="connsiteX0" fmla="*/ 0 w 671150"/>
                      <a:gd name="connsiteY0" fmla="*/ 0 h 371937"/>
                      <a:gd name="connsiteX1" fmla="*/ 669131 w 671150"/>
                      <a:gd name="connsiteY1" fmla="*/ 223837 h 371937"/>
                      <a:gd name="connsiteX2" fmla="*/ 571500 w 671150"/>
                      <a:gd name="connsiteY2" fmla="*/ 368300 h 371937"/>
                      <a:gd name="connsiteX3" fmla="*/ 0 w 671150"/>
                      <a:gd name="connsiteY3" fmla="*/ 368300 h 371937"/>
                      <a:gd name="connsiteX4" fmla="*/ 0 w 671150"/>
                      <a:gd name="connsiteY4" fmla="*/ 0 h 371937"/>
                      <a:gd name="connsiteX0" fmla="*/ 0 w 671778"/>
                      <a:gd name="connsiteY0" fmla="*/ 0 h 369189"/>
                      <a:gd name="connsiteX1" fmla="*/ 669131 w 671778"/>
                      <a:gd name="connsiteY1" fmla="*/ 223837 h 369189"/>
                      <a:gd name="connsiteX2" fmla="*/ 571500 w 671778"/>
                      <a:gd name="connsiteY2" fmla="*/ 368300 h 369189"/>
                      <a:gd name="connsiteX3" fmla="*/ 0 w 671778"/>
                      <a:gd name="connsiteY3" fmla="*/ 368300 h 369189"/>
                      <a:gd name="connsiteX4" fmla="*/ 0 w 671778"/>
                      <a:gd name="connsiteY4" fmla="*/ 0 h 369189"/>
                      <a:gd name="connsiteX0" fmla="*/ 0 w 671391"/>
                      <a:gd name="connsiteY0" fmla="*/ 0 h 369635"/>
                      <a:gd name="connsiteX1" fmla="*/ 669131 w 671391"/>
                      <a:gd name="connsiteY1" fmla="*/ 223837 h 369635"/>
                      <a:gd name="connsiteX2" fmla="*/ 571500 w 671391"/>
                      <a:gd name="connsiteY2" fmla="*/ 368300 h 369635"/>
                      <a:gd name="connsiteX3" fmla="*/ 0 w 671391"/>
                      <a:gd name="connsiteY3" fmla="*/ 368300 h 369635"/>
                      <a:gd name="connsiteX4" fmla="*/ 0 w 671391"/>
                      <a:gd name="connsiteY4" fmla="*/ 0 h 369635"/>
                      <a:gd name="connsiteX0" fmla="*/ 390525 w 671391"/>
                      <a:gd name="connsiteY0" fmla="*/ 0 h 276766"/>
                      <a:gd name="connsiteX1" fmla="*/ 669131 w 671391"/>
                      <a:gd name="connsiteY1" fmla="*/ 130968 h 276766"/>
                      <a:gd name="connsiteX2" fmla="*/ 571500 w 671391"/>
                      <a:gd name="connsiteY2" fmla="*/ 275431 h 276766"/>
                      <a:gd name="connsiteX3" fmla="*/ 0 w 671391"/>
                      <a:gd name="connsiteY3" fmla="*/ 275431 h 276766"/>
                      <a:gd name="connsiteX4" fmla="*/ 390525 w 671391"/>
                      <a:gd name="connsiteY4" fmla="*/ 0 h 276766"/>
                      <a:gd name="connsiteX0" fmla="*/ 92869 w 373735"/>
                      <a:gd name="connsiteY0" fmla="*/ 0 h 276766"/>
                      <a:gd name="connsiteX1" fmla="*/ 371475 w 373735"/>
                      <a:gd name="connsiteY1" fmla="*/ 130968 h 276766"/>
                      <a:gd name="connsiteX2" fmla="*/ 273844 w 373735"/>
                      <a:gd name="connsiteY2" fmla="*/ 275431 h 276766"/>
                      <a:gd name="connsiteX3" fmla="*/ 0 w 373735"/>
                      <a:gd name="connsiteY3" fmla="*/ 132556 h 276766"/>
                      <a:gd name="connsiteX4" fmla="*/ 92869 w 373735"/>
                      <a:gd name="connsiteY4" fmla="*/ 0 h 276766"/>
                      <a:gd name="connsiteX0" fmla="*/ 100013 w 380879"/>
                      <a:gd name="connsiteY0" fmla="*/ 0 h 276766"/>
                      <a:gd name="connsiteX1" fmla="*/ 378619 w 380879"/>
                      <a:gd name="connsiteY1" fmla="*/ 130968 h 276766"/>
                      <a:gd name="connsiteX2" fmla="*/ 280988 w 380879"/>
                      <a:gd name="connsiteY2" fmla="*/ 275431 h 276766"/>
                      <a:gd name="connsiteX3" fmla="*/ 0 w 380879"/>
                      <a:gd name="connsiteY3" fmla="*/ 134938 h 276766"/>
                      <a:gd name="connsiteX4" fmla="*/ 100013 w 380879"/>
                      <a:gd name="connsiteY4" fmla="*/ 0 h 276766"/>
                      <a:gd name="connsiteX0" fmla="*/ 80963 w 361829"/>
                      <a:gd name="connsiteY0" fmla="*/ 0 h 276766"/>
                      <a:gd name="connsiteX1" fmla="*/ 359569 w 361829"/>
                      <a:gd name="connsiteY1" fmla="*/ 130968 h 276766"/>
                      <a:gd name="connsiteX2" fmla="*/ 261938 w 361829"/>
                      <a:gd name="connsiteY2" fmla="*/ 275431 h 276766"/>
                      <a:gd name="connsiteX3" fmla="*/ 0 w 361829"/>
                      <a:gd name="connsiteY3" fmla="*/ 142081 h 276766"/>
                      <a:gd name="connsiteX4" fmla="*/ 80963 w 361829"/>
                      <a:gd name="connsiteY4" fmla="*/ 0 h 276766"/>
                      <a:gd name="connsiteX0" fmla="*/ 80963 w 361829"/>
                      <a:gd name="connsiteY0" fmla="*/ 0 h 276766"/>
                      <a:gd name="connsiteX1" fmla="*/ 359569 w 361829"/>
                      <a:gd name="connsiteY1" fmla="*/ 130968 h 276766"/>
                      <a:gd name="connsiteX2" fmla="*/ 261938 w 361829"/>
                      <a:gd name="connsiteY2" fmla="*/ 275431 h 276766"/>
                      <a:gd name="connsiteX3" fmla="*/ 0 w 361829"/>
                      <a:gd name="connsiteY3" fmla="*/ 142081 h 276766"/>
                      <a:gd name="connsiteX4" fmla="*/ 80963 w 361829"/>
                      <a:gd name="connsiteY4" fmla="*/ 0 h 276766"/>
                      <a:gd name="connsiteX0" fmla="*/ 83344 w 364210"/>
                      <a:gd name="connsiteY0" fmla="*/ 0 h 276766"/>
                      <a:gd name="connsiteX1" fmla="*/ 361950 w 364210"/>
                      <a:gd name="connsiteY1" fmla="*/ 130968 h 276766"/>
                      <a:gd name="connsiteX2" fmla="*/ 264319 w 364210"/>
                      <a:gd name="connsiteY2" fmla="*/ 275431 h 276766"/>
                      <a:gd name="connsiteX3" fmla="*/ 0 w 364210"/>
                      <a:gd name="connsiteY3" fmla="*/ 144463 h 276766"/>
                      <a:gd name="connsiteX4" fmla="*/ 83344 w 364210"/>
                      <a:gd name="connsiteY4" fmla="*/ 0 h 276766"/>
                      <a:gd name="connsiteX0" fmla="*/ 83344 w 364210"/>
                      <a:gd name="connsiteY0" fmla="*/ 0 h 276766"/>
                      <a:gd name="connsiteX1" fmla="*/ 361950 w 364210"/>
                      <a:gd name="connsiteY1" fmla="*/ 130968 h 276766"/>
                      <a:gd name="connsiteX2" fmla="*/ 264319 w 364210"/>
                      <a:gd name="connsiteY2" fmla="*/ 275431 h 276766"/>
                      <a:gd name="connsiteX3" fmla="*/ 0 w 364210"/>
                      <a:gd name="connsiteY3" fmla="*/ 144463 h 276766"/>
                      <a:gd name="connsiteX4" fmla="*/ 83344 w 364210"/>
                      <a:gd name="connsiteY4" fmla="*/ 0 h 276766"/>
                      <a:gd name="connsiteX0" fmla="*/ 76200 w 357066"/>
                      <a:gd name="connsiteY0" fmla="*/ 0 h 276766"/>
                      <a:gd name="connsiteX1" fmla="*/ 354806 w 357066"/>
                      <a:gd name="connsiteY1" fmla="*/ 130968 h 276766"/>
                      <a:gd name="connsiteX2" fmla="*/ 257175 w 357066"/>
                      <a:gd name="connsiteY2" fmla="*/ 275431 h 276766"/>
                      <a:gd name="connsiteX3" fmla="*/ 0 w 357066"/>
                      <a:gd name="connsiteY3" fmla="*/ 123032 h 276766"/>
                      <a:gd name="connsiteX4" fmla="*/ 76200 w 357066"/>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8306"/>
                      <a:gd name="connsiteY0" fmla="*/ 0 h 276766"/>
                      <a:gd name="connsiteX1" fmla="*/ 376237 w 378306"/>
                      <a:gd name="connsiteY1" fmla="*/ 130968 h 276766"/>
                      <a:gd name="connsiteX2" fmla="*/ 271462 w 378306"/>
                      <a:gd name="connsiteY2" fmla="*/ 275431 h 276766"/>
                      <a:gd name="connsiteX3" fmla="*/ 0 w 378306"/>
                      <a:gd name="connsiteY3" fmla="*/ 134938 h 276766"/>
                      <a:gd name="connsiteX4" fmla="*/ 90487 w 378306"/>
                      <a:gd name="connsiteY4" fmla="*/ 0 h 276766"/>
                      <a:gd name="connsiteX0" fmla="*/ 90487 w 376245"/>
                      <a:gd name="connsiteY0" fmla="*/ 0 h 277332"/>
                      <a:gd name="connsiteX1" fmla="*/ 376237 w 376245"/>
                      <a:gd name="connsiteY1" fmla="*/ 130968 h 277332"/>
                      <a:gd name="connsiteX2" fmla="*/ 271462 w 376245"/>
                      <a:gd name="connsiteY2" fmla="*/ 275431 h 277332"/>
                      <a:gd name="connsiteX3" fmla="*/ 0 w 376245"/>
                      <a:gd name="connsiteY3" fmla="*/ 134938 h 277332"/>
                      <a:gd name="connsiteX4" fmla="*/ 90487 w 376245"/>
                      <a:gd name="connsiteY4" fmla="*/ 0 h 277332"/>
                      <a:gd name="connsiteX0" fmla="*/ 90487 w 376245"/>
                      <a:gd name="connsiteY0" fmla="*/ 0 h 277257"/>
                      <a:gd name="connsiteX1" fmla="*/ 376237 w 376245"/>
                      <a:gd name="connsiteY1" fmla="*/ 130968 h 277257"/>
                      <a:gd name="connsiteX2" fmla="*/ 271462 w 376245"/>
                      <a:gd name="connsiteY2" fmla="*/ 275431 h 277257"/>
                      <a:gd name="connsiteX3" fmla="*/ 0 w 376245"/>
                      <a:gd name="connsiteY3" fmla="*/ 134938 h 277257"/>
                      <a:gd name="connsiteX4" fmla="*/ 90487 w 376245"/>
                      <a:gd name="connsiteY4" fmla="*/ 0 h 277257"/>
                      <a:gd name="connsiteX0" fmla="*/ 90487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0487 w 376244"/>
                      <a:gd name="connsiteY4" fmla="*/ 0 h 277257"/>
                      <a:gd name="connsiteX0" fmla="*/ 95249 w 376244"/>
                      <a:gd name="connsiteY0" fmla="*/ 0 h 279638"/>
                      <a:gd name="connsiteX1" fmla="*/ 376237 w 376244"/>
                      <a:gd name="connsiteY1" fmla="*/ 133349 h 279638"/>
                      <a:gd name="connsiteX2" fmla="*/ 271462 w 376244"/>
                      <a:gd name="connsiteY2" fmla="*/ 277812 h 279638"/>
                      <a:gd name="connsiteX3" fmla="*/ 0 w 376244"/>
                      <a:gd name="connsiteY3" fmla="*/ 137319 h 279638"/>
                      <a:gd name="connsiteX4" fmla="*/ 95249 w 376244"/>
                      <a:gd name="connsiteY4" fmla="*/ 0 h 279638"/>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8625"/>
                      <a:gd name="connsiteY0" fmla="*/ 0 h 277335"/>
                      <a:gd name="connsiteX1" fmla="*/ 378618 w 378625"/>
                      <a:gd name="connsiteY1" fmla="*/ 133349 h 277335"/>
                      <a:gd name="connsiteX2" fmla="*/ 271462 w 378625"/>
                      <a:gd name="connsiteY2" fmla="*/ 275431 h 277335"/>
                      <a:gd name="connsiteX3" fmla="*/ 0 w 378625"/>
                      <a:gd name="connsiteY3" fmla="*/ 134938 h 277335"/>
                      <a:gd name="connsiteX4" fmla="*/ 97630 w 378625"/>
                      <a:gd name="connsiteY4" fmla="*/ 0 h 277335"/>
                      <a:gd name="connsiteX0" fmla="*/ 97630 w 378625"/>
                      <a:gd name="connsiteY0" fmla="*/ 0 h 277335"/>
                      <a:gd name="connsiteX1" fmla="*/ 378618 w 378625"/>
                      <a:gd name="connsiteY1" fmla="*/ 133349 h 277335"/>
                      <a:gd name="connsiteX2" fmla="*/ 271462 w 378625"/>
                      <a:gd name="connsiteY2" fmla="*/ 275431 h 277335"/>
                      <a:gd name="connsiteX3" fmla="*/ 0 w 378625"/>
                      <a:gd name="connsiteY3" fmla="*/ 134938 h 277335"/>
                      <a:gd name="connsiteX4" fmla="*/ 97630 w 378625"/>
                      <a:gd name="connsiteY4" fmla="*/ 0 h 277335"/>
                      <a:gd name="connsiteX0" fmla="*/ 97630 w 378618"/>
                      <a:gd name="connsiteY0" fmla="*/ 0 h 279249"/>
                      <a:gd name="connsiteX1" fmla="*/ 378618 w 378618"/>
                      <a:gd name="connsiteY1" fmla="*/ 133349 h 279249"/>
                      <a:gd name="connsiteX2" fmla="*/ 271462 w 378618"/>
                      <a:gd name="connsiteY2" fmla="*/ 275431 h 279249"/>
                      <a:gd name="connsiteX3" fmla="*/ 0 w 378618"/>
                      <a:gd name="connsiteY3" fmla="*/ 134938 h 279249"/>
                      <a:gd name="connsiteX4" fmla="*/ 97630 w 378618"/>
                      <a:gd name="connsiteY4" fmla="*/ 0 h 279249"/>
                      <a:gd name="connsiteX0" fmla="*/ 97630 w 378618"/>
                      <a:gd name="connsiteY0" fmla="*/ 0 h 278045"/>
                      <a:gd name="connsiteX1" fmla="*/ 378618 w 378618"/>
                      <a:gd name="connsiteY1" fmla="*/ 133349 h 278045"/>
                      <a:gd name="connsiteX2" fmla="*/ 271462 w 378618"/>
                      <a:gd name="connsiteY2" fmla="*/ 275431 h 278045"/>
                      <a:gd name="connsiteX3" fmla="*/ 0 w 378618"/>
                      <a:gd name="connsiteY3" fmla="*/ 134938 h 278045"/>
                      <a:gd name="connsiteX4" fmla="*/ 97630 w 378618"/>
                      <a:gd name="connsiteY4" fmla="*/ 0 h 278045"/>
                      <a:gd name="connsiteX0" fmla="*/ 97630 w 378618"/>
                      <a:gd name="connsiteY0" fmla="*/ 0 h 278045"/>
                      <a:gd name="connsiteX1" fmla="*/ 378618 w 378618"/>
                      <a:gd name="connsiteY1" fmla="*/ 133349 h 278045"/>
                      <a:gd name="connsiteX2" fmla="*/ 271462 w 378618"/>
                      <a:gd name="connsiteY2" fmla="*/ 275431 h 278045"/>
                      <a:gd name="connsiteX3" fmla="*/ 0 w 378618"/>
                      <a:gd name="connsiteY3" fmla="*/ 134938 h 278045"/>
                      <a:gd name="connsiteX4" fmla="*/ 97630 w 378618"/>
                      <a:gd name="connsiteY4" fmla="*/ 0 h 278045"/>
                      <a:gd name="connsiteX0" fmla="*/ 97630 w 378618"/>
                      <a:gd name="connsiteY0" fmla="*/ 0 h 278045"/>
                      <a:gd name="connsiteX1" fmla="*/ 378618 w 378618"/>
                      <a:gd name="connsiteY1" fmla="*/ 133349 h 278045"/>
                      <a:gd name="connsiteX2" fmla="*/ 271462 w 378618"/>
                      <a:gd name="connsiteY2" fmla="*/ 275431 h 278045"/>
                      <a:gd name="connsiteX3" fmla="*/ 0 w 378618"/>
                      <a:gd name="connsiteY3" fmla="*/ 134938 h 278045"/>
                      <a:gd name="connsiteX4" fmla="*/ 97630 w 378618"/>
                      <a:gd name="connsiteY4" fmla="*/ 0 h 278045"/>
                      <a:gd name="connsiteX0" fmla="*/ 97630 w 378618"/>
                      <a:gd name="connsiteY0" fmla="*/ 0 h 278045"/>
                      <a:gd name="connsiteX1" fmla="*/ 378618 w 378618"/>
                      <a:gd name="connsiteY1" fmla="*/ 133349 h 278045"/>
                      <a:gd name="connsiteX2" fmla="*/ 271462 w 378618"/>
                      <a:gd name="connsiteY2" fmla="*/ 275431 h 278045"/>
                      <a:gd name="connsiteX3" fmla="*/ 0 w 378618"/>
                      <a:gd name="connsiteY3" fmla="*/ 134938 h 278045"/>
                      <a:gd name="connsiteX4" fmla="*/ 97630 w 378618"/>
                      <a:gd name="connsiteY4" fmla="*/ 0 h 278045"/>
                      <a:gd name="connsiteX0" fmla="*/ 97630 w 378618"/>
                      <a:gd name="connsiteY0" fmla="*/ 0 h 278045"/>
                      <a:gd name="connsiteX1" fmla="*/ 378618 w 378618"/>
                      <a:gd name="connsiteY1" fmla="*/ 133349 h 278045"/>
                      <a:gd name="connsiteX2" fmla="*/ 271462 w 378618"/>
                      <a:gd name="connsiteY2" fmla="*/ 275431 h 278045"/>
                      <a:gd name="connsiteX3" fmla="*/ 0 w 378618"/>
                      <a:gd name="connsiteY3" fmla="*/ 134938 h 278045"/>
                      <a:gd name="connsiteX4" fmla="*/ 97630 w 378618"/>
                      <a:gd name="connsiteY4" fmla="*/ 0 h 278045"/>
                      <a:gd name="connsiteX0" fmla="*/ 97630 w 380999"/>
                      <a:gd name="connsiteY0" fmla="*/ 0 h 278189"/>
                      <a:gd name="connsiteX1" fmla="*/ 380999 w 380999"/>
                      <a:gd name="connsiteY1" fmla="*/ 135730 h 278189"/>
                      <a:gd name="connsiteX2" fmla="*/ 271462 w 380999"/>
                      <a:gd name="connsiteY2" fmla="*/ 275431 h 278189"/>
                      <a:gd name="connsiteX3" fmla="*/ 0 w 380999"/>
                      <a:gd name="connsiteY3" fmla="*/ 134938 h 278189"/>
                      <a:gd name="connsiteX4" fmla="*/ 97630 w 380999"/>
                      <a:gd name="connsiteY4" fmla="*/ 0 h 278189"/>
                      <a:gd name="connsiteX0" fmla="*/ 97630 w 380999"/>
                      <a:gd name="connsiteY0" fmla="*/ 0 h 278667"/>
                      <a:gd name="connsiteX1" fmla="*/ 380999 w 380999"/>
                      <a:gd name="connsiteY1" fmla="*/ 135730 h 278667"/>
                      <a:gd name="connsiteX2" fmla="*/ 271462 w 380999"/>
                      <a:gd name="connsiteY2" fmla="*/ 275431 h 278667"/>
                      <a:gd name="connsiteX3" fmla="*/ 0 w 380999"/>
                      <a:gd name="connsiteY3" fmla="*/ 134938 h 278667"/>
                      <a:gd name="connsiteX4" fmla="*/ 97630 w 380999"/>
                      <a:gd name="connsiteY4" fmla="*/ 0 h 278667"/>
                      <a:gd name="connsiteX0" fmla="*/ 97630 w 380999"/>
                      <a:gd name="connsiteY0" fmla="*/ 0 h 277506"/>
                      <a:gd name="connsiteX1" fmla="*/ 380999 w 380999"/>
                      <a:gd name="connsiteY1" fmla="*/ 135730 h 277506"/>
                      <a:gd name="connsiteX2" fmla="*/ 271462 w 380999"/>
                      <a:gd name="connsiteY2" fmla="*/ 275431 h 277506"/>
                      <a:gd name="connsiteX3" fmla="*/ 0 w 380999"/>
                      <a:gd name="connsiteY3" fmla="*/ 134938 h 277506"/>
                      <a:gd name="connsiteX4" fmla="*/ 97630 w 380999"/>
                      <a:gd name="connsiteY4" fmla="*/ 0 h 277506"/>
                      <a:gd name="connsiteX0" fmla="*/ 97630 w 380999"/>
                      <a:gd name="connsiteY0" fmla="*/ 0 h 277506"/>
                      <a:gd name="connsiteX1" fmla="*/ 380999 w 380999"/>
                      <a:gd name="connsiteY1" fmla="*/ 135730 h 277506"/>
                      <a:gd name="connsiteX2" fmla="*/ 271462 w 380999"/>
                      <a:gd name="connsiteY2" fmla="*/ 275431 h 277506"/>
                      <a:gd name="connsiteX3" fmla="*/ 0 w 380999"/>
                      <a:gd name="connsiteY3" fmla="*/ 134938 h 277506"/>
                      <a:gd name="connsiteX4" fmla="*/ 97630 w 380999"/>
                      <a:gd name="connsiteY4" fmla="*/ 0 h 277506"/>
                      <a:gd name="connsiteX0" fmla="*/ 97630 w 380999"/>
                      <a:gd name="connsiteY0" fmla="*/ 0 h 278925"/>
                      <a:gd name="connsiteX1" fmla="*/ 380999 w 380999"/>
                      <a:gd name="connsiteY1" fmla="*/ 135730 h 278925"/>
                      <a:gd name="connsiteX2" fmla="*/ 271462 w 380999"/>
                      <a:gd name="connsiteY2" fmla="*/ 275431 h 278925"/>
                      <a:gd name="connsiteX3" fmla="*/ 0 w 380999"/>
                      <a:gd name="connsiteY3" fmla="*/ 134938 h 278925"/>
                      <a:gd name="connsiteX4" fmla="*/ 97630 w 380999"/>
                      <a:gd name="connsiteY4" fmla="*/ 0 h 278925"/>
                      <a:gd name="connsiteX0" fmla="*/ 97630 w 376236"/>
                      <a:gd name="connsiteY0" fmla="*/ 0 h 278797"/>
                      <a:gd name="connsiteX1" fmla="*/ 376236 w 376236"/>
                      <a:gd name="connsiteY1" fmla="*/ 133349 h 278797"/>
                      <a:gd name="connsiteX2" fmla="*/ 271462 w 376236"/>
                      <a:gd name="connsiteY2" fmla="*/ 275431 h 278797"/>
                      <a:gd name="connsiteX3" fmla="*/ 0 w 376236"/>
                      <a:gd name="connsiteY3" fmla="*/ 134938 h 278797"/>
                      <a:gd name="connsiteX4" fmla="*/ 97630 w 376236"/>
                      <a:gd name="connsiteY4" fmla="*/ 0 h 278797"/>
                      <a:gd name="connsiteX0" fmla="*/ 97630 w 376241"/>
                      <a:gd name="connsiteY0" fmla="*/ 0 h 278918"/>
                      <a:gd name="connsiteX1" fmla="*/ 376236 w 376241"/>
                      <a:gd name="connsiteY1" fmla="*/ 133349 h 278918"/>
                      <a:gd name="connsiteX2" fmla="*/ 271462 w 376241"/>
                      <a:gd name="connsiteY2" fmla="*/ 275431 h 278918"/>
                      <a:gd name="connsiteX3" fmla="*/ 0 w 376241"/>
                      <a:gd name="connsiteY3" fmla="*/ 134938 h 278918"/>
                      <a:gd name="connsiteX4" fmla="*/ 97630 w 376241"/>
                      <a:gd name="connsiteY4" fmla="*/ 0 h 278918"/>
                      <a:gd name="connsiteX0" fmla="*/ 97630 w 376236"/>
                      <a:gd name="connsiteY0" fmla="*/ 0 h 279326"/>
                      <a:gd name="connsiteX1" fmla="*/ 376236 w 376236"/>
                      <a:gd name="connsiteY1" fmla="*/ 133349 h 279326"/>
                      <a:gd name="connsiteX2" fmla="*/ 271462 w 376236"/>
                      <a:gd name="connsiteY2" fmla="*/ 275431 h 279326"/>
                      <a:gd name="connsiteX3" fmla="*/ 0 w 376236"/>
                      <a:gd name="connsiteY3" fmla="*/ 134938 h 279326"/>
                      <a:gd name="connsiteX4" fmla="*/ 97630 w 376236"/>
                      <a:gd name="connsiteY4" fmla="*/ 0 h 279326"/>
                      <a:gd name="connsiteX0" fmla="*/ 97630 w 376236"/>
                      <a:gd name="connsiteY0" fmla="*/ 0 h 277109"/>
                      <a:gd name="connsiteX1" fmla="*/ 376236 w 376236"/>
                      <a:gd name="connsiteY1" fmla="*/ 133349 h 277109"/>
                      <a:gd name="connsiteX2" fmla="*/ 271462 w 376236"/>
                      <a:gd name="connsiteY2" fmla="*/ 275431 h 277109"/>
                      <a:gd name="connsiteX3" fmla="*/ 0 w 376236"/>
                      <a:gd name="connsiteY3" fmla="*/ 134938 h 277109"/>
                      <a:gd name="connsiteX4" fmla="*/ 97630 w 376236"/>
                      <a:gd name="connsiteY4" fmla="*/ 0 h 277109"/>
                      <a:gd name="connsiteX0" fmla="*/ 97630 w 376236"/>
                      <a:gd name="connsiteY0" fmla="*/ 0 h 277109"/>
                      <a:gd name="connsiteX1" fmla="*/ 376236 w 376236"/>
                      <a:gd name="connsiteY1" fmla="*/ 133349 h 277109"/>
                      <a:gd name="connsiteX2" fmla="*/ 271462 w 376236"/>
                      <a:gd name="connsiteY2" fmla="*/ 275431 h 277109"/>
                      <a:gd name="connsiteX3" fmla="*/ 0 w 376236"/>
                      <a:gd name="connsiteY3" fmla="*/ 134938 h 277109"/>
                      <a:gd name="connsiteX4" fmla="*/ 97630 w 376236"/>
                      <a:gd name="connsiteY4" fmla="*/ 0 h 277109"/>
                      <a:gd name="connsiteX0" fmla="*/ 97630 w 376236"/>
                      <a:gd name="connsiteY0" fmla="*/ 0 h 277803"/>
                      <a:gd name="connsiteX1" fmla="*/ 376236 w 376236"/>
                      <a:gd name="connsiteY1" fmla="*/ 133349 h 277803"/>
                      <a:gd name="connsiteX2" fmla="*/ 271462 w 376236"/>
                      <a:gd name="connsiteY2" fmla="*/ 275431 h 277803"/>
                      <a:gd name="connsiteX3" fmla="*/ 0 w 376236"/>
                      <a:gd name="connsiteY3" fmla="*/ 134938 h 277803"/>
                      <a:gd name="connsiteX4" fmla="*/ 97630 w 376236"/>
                      <a:gd name="connsiteY4" fmla="*/ 0 h 277803"/>
                      <a:gd name="connsiteX0" fmla="*/ 97630 w 376236"/>
                      <a:gd name="connsiteY0" fmla="*/ 0 h 277803"/>
                      <a:gd name="connsiteX1" fmla="*/ 376236 w 376236"/>
                      <a:gd name="connsiteY1" fmla="*/ 133349 h 277803"/>
                      <a:gd name="connsiteX2" fmla="*/ 276225 w 376236"/>
                      <a:gd name="connsiteY2" fmla="*/ 275431 h 277803"/>
                      <a:gd name="connsiteX3" fmla="*/ 0 w 376236"/>
                      <a:gd name="connsiteY3" fmla="*/ 134938 h 277803"/>
                      <a:gd name="connsiteX4" fmla="*/ 97630 w 376236"/>
                      <a:gd name="connsiteY4" fmla="*/ 0 h 277803"/>
                      <a:gd name="connsiteX0" fmla="*/ 97630 w 376236"/>
                      <a:gd name="connsiteY0" fmla="*/ 0 h 277803"/>
                      <a:gd name="connsiteX1" fmla="*/ 376236 w 376236"/>
                      <a:gd name="connsiteY1" fmla="*/ 133349 h 277803"/>
                      <a:gd name="connsiteX2" fmla="*/ 276225 w 376236"/>
                      <a:gd name="connsiteY2" fmla="*/ 275431 h 277803"/>
                      <a:gd name="connsiteX3" fmla="*/ 0 w 376236"/>
                      <a:gd name="connsiteY3" fmla="*/ 134938 h 277803"/>
                      <a:gd name="connsiteX4" fmla="*/ 97630 w 376236"/>
                      <a:gd name="connsiteY4" fmla="*/ 0 h 277803"/>
                      <a:gd name="connsiteX0" fmla="*/ 97630 w 376236"/>
                      <a:gd name="connsiteY0" fmla="*/ 0 h 275947"/>
                      <a:gd name="connsiteX1" fmla="*/ 376236 w 376236"/>
                      <a:gd name="connsiteY1" fmla="*/ 133349 h 275947"/>
                      <a:gd name="connsiteX2" fmla="*/ 276225 w 376236"/>
                      <a:gd name="connsiteY2" fmla="*/ 275431 h 275947"/>
                      <a:gd name="connsiteX3" fmla="*/ 0 w 376236"/>
                      <a:gd name="connsiteY3" fmla="*/ 134938 h 275947"/>
                      <a:gd name="connsiteX4" fmla="*/ 97630 w 376236"/>
                      <a:gd name="connsiteY4" fmla="*/ 0 h 275947"/>
                      <a:gd name="connsiteX0" fmla="*/ 97630 w 376236"/>
                      <a:gd name="connsiteY0" fmla="*/ 0 h 275947"/>
                      <a:gd name="connsiteX1" fmla="*/ 376236 w 376236"/>
                      <a:gd name="connsiteY1" fmla="*/ 133349 h 275947"/>
                      <a:gd name="connsiteX2" fmla="*/ 280987 w 376236"/>
                      <a:gd name="connsiteY2" fmla="*/ 275431 h 275947"/>
                      <a:gd name="connsiteX3" fmla="*/ 0 w 376236"/>
                      <a:gd name="connsiteY3" fmla="*/ 134938 h 275947"/>
                      <a:gd name="connsiteX4" fmla="*/ 97630 w 376236"/>
                      <a:gd name="connsiteY4" fmla="*/ 0 h 275947"/>
                      <a:gd name="connsiteX0" fmla="*/ 97630 w 376236"/>
                      <a:gd name="connsiteY0" fmla="*/ 0 h 248851"/>
                      <a:gd name="connsiteX1" fmla="*/ 376236 w 376236"/>
                      <a:gd name="connsiteY1" fmla="*/ 133349 h 248851"/>
                      <a:gd name="connsiteX2" fmla="*/ 300037 w 376236"/>
                      <a:gd name="connsiteY2" fmla="*/ 246856 h 248851"/>
                      <a:gd name="connsiteX3" fmla="*/ 0 w 376236"/>
                      <a:gd name="connsiteY3" fmla="*/ 134938 h 248851"/>
                      <a:gd name="connsiteX4" fmla="*/ 97630 w 376236"/>
                      <a:gd name="connsiteY4" fmla="*/ 0 h 248851"/>
                      <a:gd name="connsiteX0" fmla="*/ 97630 w 376236"/>
                      <a:gd name="connsiteY0" fmla="*/ 0 h 271281"/>
                      <a:gd name="connsiteX1" fmla="*/ 376236 w 376236"/>
                      <a:gd name="connsiteY1" fmla="*/ 133349 h 271281"/>
                      <a:gd name="connsiteX2" fmla="*/ 283368 w 376236"/>
                      <a:gd name="connsiteY2" fmla="*/ 270669 h 271281"/>
                      <a:gd name="connsiteX3" fmla="*/ 0 w 376236"/>
                      <a:gd name="connsiteY3" fmla="*/ 134938 h 271281"/>
                      <a:gd name="connsiteX4" fmla="*/ 97630 w 376236"/>
                      <a:gd name="connsiteY4" fmla="*/ 0 h 271281"/>
                      <a:gd name="connsiteX0" fmla="*/ 97630 w 376236"/>
                      <a:gd name="connsiteY0" fmla="*/ 0 h 271281"/>
                      <a:gd name="connsiteX1" fmla="*/ 376236 w 376236"/>
                      <a:gd name="connsiteY1" fmla="*/ 133349 h 271281"/>
                      <a:gd name="connsiteX2" fmla="*/ 283368 w 376236"/>
                      <a:gd name="connsiteY2" fmla="*/ 270669 h 271281"/>
                      <a:gd name="connsiteX3" fmla="*/ 0 w 376236"/>
                      <a:gd name="connsiteY3" fmla="*/ 134938 h 271281"/>
                      <a:gd name="connsiteX4" fmla="*/ 97630 w 376236"/>
                      <a:gd name="connsiteY4" fmla="*/ 0 h 271281"/>
                      <a:gd name="connsiteX0" fmla="*/ 97630 w 376236"/>
                      <a:gd name="connsiteY0" fmla="*/ 0 h 271339"/>
                      <a:gd name="connsiteX1" fmla="*/ 376236 w 376236"/>
                      <a:gd name="connsiteY1" fmla="*/ 133349 h 271339"/>
                      <a:gd name="connsiteX2" fmla="*/ 283368 w 376236"/>
                      <a:gd name="connsiteY2" fmla="*/ 270669 h 271339"/>
                      <a:gd name="connsiteX3" fmla="*/ 0 w 376236"/>
                      <a:gd name="connsiteY3" fmla="*/ 134938 h 271339"/>
                      <a:gd name="connsiteX4" fmla="*/ 97630 w 376236"/>
                      <a:gd name="connsiteY4" fmla="*/ 0 h 271339"/>
                      <a:gd name="connsiteX0" fmla="*/ 97630 w 376236"/>
                      <a:gd name="connsiteY0" fmla="*/ 0 h 271231"/>
                      <a:gd name="connsiteX1" fmla="*/ 376236 w 376236"/>
                      <a:gd name="connsiteY1" fmla="*/ 133349 h 271231"/>
                      <a:gd name="connsiteX2" fmla="*/ 283368 w 376236"/>
                      <a:gd name="connsiteY2" fmla="*/ 270669 h 271231"/>
                      <a:gd name="connsiteX3" fmla="*/ 0 w 376236"/>
                      <a:gd name="connsiteY3" fmla="*/ 134938 h 271231"/>
                      <a:gd name="connsiteX4" fmla="*/ 97630 w 376236"/>
                      <a:gd name="connsiteY4" fmla="*/ 0 h 271231"/>
                      <a:gd name="connsiteX0" fmla="*/ 97630 w 376236"/>
                      <a:gd name="connsiteY0" fmla="*/ 0 h 271187"/>
                      <a:gd name="connsiteX1" fmla="*/ 376236 w 376236"/>
                      <a:gd name="connsiteY1" fmla="*/ 133349 h 271187"/>
                      <a:gd name="connsiteX2" fmla="*/ 283368 w 376236"/>
                      <a:gd name="connsiteY2" fmla="*/ 270669 h 271187"/>
                      <a:gd name="connsiteX3" fmla="*/ 0 w 376236"/>
                      <a:gd name="connsiteY3" fmla="*/ 134938 h 271187"/>
                      <a:gd name="connsiteX4" fmla="*/ 97630 w 376236"/>
                      <a:gd name="connsiteY4" fmla="*/ 0 h 271187"/>
                      <a:gd name="connsiteX0" fmla="*/ 97630 w 376236"/>
                      <a:gd name="connsiteY0" fmla="*/ 0 h 271187"/>
                      <a:gd name="connsiteX1" fmla="*/ 376236 w 376236"/>
                      <a:gd name="connsiteY1" fmla="*/ 133349 h 271187"/>
                      <a:gd name="connsiteX2" fmla="*/ 283368 w 376236"/>
                      <a:gd name="connsiteY2" fmla="*/ 270669 h 271187"/>
                      <a:gd name="connsiteX3" fmla="*/ 0 w 376236"/>
                      <a:gd name="connsiteY3" fmla="*/ 134938 h 271187"/>
                      <a:gd name="connsiteX4" fmla="*/ 97630 w 376236"/>
                      <a:gd name="connsiteY4" fmla="*/ 0 h 271187"/>
                      <a:gd name="connsiteX0" fmla="*/ 97630 w 373855"/>
                      <a:gd name="connsiteY0" fmla="*/ 0 h 271148"/>
                      <a:gd name="connsiteX1" fmla="*/ 373855 w 373855"/>
                      <a:gd name="connsiteY1" fmla="*/ 130968 h 271148"/>
                      <a:gd name="connsiteX2" fmla="*/ 283368 w 373855"/>
                      <a:gd name="connsiteY2" fmla="*/ 270669 h 271148"/>
                      <a:gd name="connsiteX3" fmla="*/ 0 w 373855"/>
                      <a:gd name="connsiteY3" fmla="*/ 134938 h 271148"/>
                      <a:gd name="connsiteX4" fmla="*/ 97630 w 373855"/>
                      <a:gd name="connsiteY4" fmla="*/ 0 h 271148"/>
                      <a:gd name="connsiteX0" fmla="*/ 97630 w 373855"/>
                      <a:gd name="connsiteY0" fmla="*/ 0 h 273495"/>
                      <a:gd name="connsiteX1" fmla="*/ 373855 w 373855"/>
                      <a:gd name="connsiteY1" fmla="*/ 130968 h 273495"/>
                      <a:gd name="connsiteX2" fmla="*/ 285750 w 373855"/>
                      <a:gd name="connsiteY2" fmla="*/ 273050 h 273495"/>
                      <a:gd name="connsiteX3" fmla="*/ 0 w 373855"/>
                      <a:gd name="connsiteY3" fmla="*/ 134938 h 273495"/>
                      <a:gd name="connsiteX4" fmla="*/ 97630 w 373855"/>
                      <a:gd name="connsiteY4" fmla="*/ 0 h 273495"/>
                      <a:gd name="connsiteX0" fmla="*/ 97630 w 373862"/>
                      <a:gd name="connsiteY0" fmla="*/ 0 h 273268"/>
                      <a:gd name="connsiteX1" fmla="*/ 373855 w 373862"/>
                      <a:gd name="connsiteY1" fmla="*/ 130968 h 273268"/>
                      <a:gd name="connsiteX2" fmla="*/ 285750 w 373862"/>
                      <a:gd name="connsiteY2" fmla="*/ 273050 h 273268"/>
                      <a:gd name="connsiteX3" fmla="*/ 0 w 373862"/>
                      <a:gd name="connsiteY3" fmla="*/ 134938 h 273268"/>
                      <a:gd name="connsiteX4" fmla="*/ 97630 w 373862"/>
                      <a:gd name="connsiteY4" fmla="*/ 0 h 273268"/>
                      <a:gd name="connsiteX0" fmla="*/ 97630 w 373855"/>
                      <a:gd name="connsiteY0" fmla="*/ 0 h 273331"/>
                      <a:gd name="connsiteX1" fmla="*/ 373855 w 373855"/>
                      <a:gd name="connsiteY1" fmla="*/ 130968 h 273331"/>
                      <a:gd name="connsiteX2" fmla="*/ 285750 w 373855"/>
                      <a:gd name="connsiteY2" fmla="*/ 273050 h 273331"/>
                      <a:gd name="connsiteX3" fmla="*/ 0 w 373855"/>
                      <a:gd name="connsiteY3" fmla="*/ 134938 h 273331"/>
                      <a:gd name="connsiteX4" fmla="*/ 97630 w 373855"/>
                      <a:gd name="connsiteY4" fmla="*/ 0 h 273331"/>
                      <a:gd name="connsiteX0" fmla="*/ 97630 w 373855"/>
                      <a:gd name="connsiteY0" fmla="*/ 0 h 273675"/>
                      <a:gd name="connsiteX1" fmla="*/ 373855 w 373855"/>
                      <a:gd name="connsiteY1" fmla="*/ 130968 h 273675"/>
                      <a:gd name="connsiteX2" fmla="*/ 285750 w 373855"/>
                      <a:gd name="connsiteY2" fmla="*/ 273050 h 273675"/>
                      <a:gd name="connsiteX3" fmla="*/ 0 w 373855"/>
                      <a:gd name="connsiteY3" fmla="*/ 134938 h 273675"/>
                      <a:gd name="connsiteX4" fmla="*/ 97630 w 373855"/>
                      <a:gd name="connsiteY4" fmla="*/ 0 h 273675"/>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88310 w 364877"/>
                      <a:gd name="connsiteY0" fmla="*/ 0 h 273626"/>
                      <a:gd name="connsiteX1" fmla="*/ 364535 w 364877"/>
                      <a:gd name="connsiteY1" fmla="*/ 130968 h 273626"/>
                      <a:gd name="connsiteX2" fmla="*/ 276430 w 364877"/>
                      <a:gd name="connsiteY2" fmla="*/ 273050 h 273626"/>
                      <a:gd name="connsiteX3" fmla="*/ 0 w 364877"/>
                      <a:gd name="connsiteY3" fmla="*/ 140530 h 273626"/>
                      <a:gd name="connsiteX4" fmla="*/ 88310 w 364877"/>
                      <a:gd name="connsiteY4" fmla="*/ 0 h 273626"/>
                      <a:gd name="connsiteX0" fmla="*/ 92038 w 368605"/>
                      <a:gd name="connsiteY0" fmla="*/ 0 h 273626"/>
                      <a:gd name="connsiteX1" fmla="*/ 368263 w 368605"/>
                      <a:gd name="connsiteY1" fmla="*/ 130968 h 273626"/>
                      <a:gd name="connsiteX2" fmla="*/ 280158 w 368605"/>
                      <a:gd name="connsiteY2" fmla="*/ 273050 h 273626"/>
                      <a:gd name="connsiteX3" fmla="*/ 0 w 368605"/>
                      <a:gd name="connsiteY3" fmla="*/ 140530 h 273626"/>
                      <a:gd name="connsiteX4" fmla="*/ 92038 w 368605"/>
                      <a:gd name="connsiteY4" fmla="*/ 0 h 273626"/>
                      <a:gd name="connsiteX0" fmla="*/ 92038 w 368605"/>
                      <a:gd name="connsiteY0" fmla="*/ 0 h 273626"/>
                      <a:gd name="connsiteX1" fmla="*/ 368263 w 368605"/>
                      <a:gd name="connsiteY1" fmla="*/ 130968 h 273626"/>
                      <a:gd name="connsiteX2" fmla="*/ 280158 w 368605"/>
                      <a:gd name="connsiteY2" fmla="*/ 273050 h 273626"/>
                      <a:gd name="connsiteX3" fmla="*/ 0 w 368605"/>
                      <a:gd name="connsiteY3" fmla="*/ 140530 h 273626"/>
                      <a:gd name="connsiteX4" fmla="*/ 92038 w 368605"/>
                      <a:gd name="connsiteY4" fmla="*/ 0 h 273626"/>
                      <a:gd name="connsiteX0" fmla="*/ 92038 w 368605"/>
                      <a:gd name="connsiteY0" fmla="*/ 0 h 273626"/>
                      <a:gd name="connsiteX1" fmla="*/ 368263 w 368605"/>
                      <a:gd name="connsiteY1" fmla="*/ 130968 h 273626"/>
                      <a:gd name="connsiteX2" fmla="*/ 280158 w 368605"/>
                      <a:gd name="connsiteY2" fmla="*/ 273050 h 273626"/>
                      <a:gd name="connsiteX3" fmla="*/ 0 w 368605"/>
                      <a:gd name="connsiteY3" fmla="*/ 140530 h 273626"/>
                      <a:gd name="connsiteX4" fmla="*/ 92038 w 368605"/>
                      <a:gd name="connsiteY4" fmla="*/ 0 h 273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605" h="273626">
                        <a:moveTo>
                          <a:pt x="92038" y="0"/>
                        </a:moveTo>
                        <a:lnTo>
                          <a:pt x="368263" y="130968"/>
                        </a:lnTo>
                        <a:cubicBezTo>
                          <a:pt x="373818" y="229125"/>
                          <a:pt x="310317" y="279666"/>
                          <a:pt x="280158" y="273050"/>
                        </a:cubicBezTo>
                        <a:lnTo>
                          <a:pt x="0" y="140530"/>
                        </a:lnTo>
                        <a:cubicBezTo>
                          <a:pt x="68057" y="136997"/>
                          <a:pt x="97594" y="48359"/>
                          <a:pt x="92038" y="0"/>
                        </a:cubicBezTo>
                        <a:close/>
                      </a:path>
                    </a:pathLst>
                  </a:custGeom>
                  <a:solidFill>
                    <a:srgbClr val="3186D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57" name="Rectangle 26"/>
                  <p:cNvSpPr/>
                  <p:nvPr/>
                </p:nvSpPr>
                <p:spPr>
                  <a:xfrm rot="6059" flipH="1">
                    <a:off x="7019342" y="3150478"/>
                    <a:ext cx="183351" cy="129383"/>
                  </a:xfrm>
                  <a:custGeom>
                    <a:avLst/>
                    <a:gdLst>
                      <a:gd name="connsiteX0" fmla="*/ 0 w 178006"/>
                      <a:gd name="connsiteY0" fmla="*/ 0 h 154899"/>
                      <a:gd name="connsiteX1" fmla="*/ 178006 w 178006"/>
                      <a:gd name="connsiteY1" fmla="*/ 0 h 154899"/>
                      <a:gd name="connsiteX2" fmla="*/ 178006 w 178006"/>
                      <a:gd name="connsiteY2" fmla="*/ 154899 h 154899"/>
                      <a:gd name="connsiteX3" fmla="*/ 0 w 178006"/>
                      <a:gd name="connsiteY3" fmla="*/ 154899 h 154899"/>
                      <a:gd name="connsiteX4" fmla="*/ 0 w 178006"/>
                      <a:gd name="connsiteY4" fmla="*/ 0 h 154899"/>
                      <a:gd name="connsiteX0" fmla="*/ 0 w 189837"/>
                      <a:gd name="connsiteY0" fmla="*/ 0 h 154899"/>
                      <a:gd name="connsiteX1" fmla="*/ 178006 w 189837"/>
                      <a:gd name="connsiteY1" fmla="*/ 0 h 154899"/>
                      <a:gd name="connsiteX2" fmla="*/ 178006 w 189837"/>
                      <a:gd name="connsiteY2" fmla="*/ 154899 h 154899"/>
                      <a:gd name="connsiteX3" fmla="*/ 0 w 189837"/>
                      <a:gd name="connsiteY3" fmla="*/ 154899 h 154899"/>
                      <a:gd name="connsiteX4" fmla="*/ 0 w 189837"/>
                      <a:gd name="connsiteY4" fmla="*/ 0 h 154899"/>
                      <a:gd name="connsiteX0" fmla="*/ 0 w 200791"/>
                      <a:gd name="connsiteY0" fmla="*/ 0 h 154899"/>
                      <a:gd name="connsiteX1" fmla="*/ 178006 w 200791"/>
                      <a:gd name="connsiteY1" fmla="*/ 0 h 154899"/>
                      <a:gd name="connsiteX2" fmla="*/ 178006 w 200791"/>
                      <a:gd name="connsiteY2" fmla="*/ 154899 h 154899"/>
                      <a:gd name="connsiteX3" fmla="*/ 0 w 200791"/>
                      <a:gd name="connsiteY3" fmla="*/ 154899 h 154899"/>
                      <a:gd name="connsiteX4" fmla="*/ 0 w 200791"/>
                      <a:gd name="connsiteY4" fmla="*/ 0 h 154899"/>
                      <a:gd name="connsiteX0" fmla="*/ 0 w 198296"/>
                      <a:gd name="connsiteY0" fmla="*/ 0 h 154899"/>
                      <a:gd name="connsiteX1" fmla="*/ 178006 w 198296"/>
                      <a:gd name="connsiteY1" fmla="*/ 0 h 154899"/>
                      <a:gd name="connsiteX2" fmla="*/ 178006 w 198296"/>
                      <a:gd name="connsiteY2" fmla="*/ 154899 h 154899"/>
                      <a:gd name="connsiteX3" fmla="*/ 0 w 198296"/>
                      <a:gd name="connsiteY3" fmla="*/ 154899 h 154899"/>
                      <a:gd name="connsiteX4" fmla="*/ 0 w 198296"/>
                      <a:gd name="connsiteY4" fmla="*/ 0 h 154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296" h="154899">
                        <a:moveTo>
                          <a:pt x="0" y="0"/>
                        </a:moveTo>
                        <a:lnTo>
                          <a:pt x="178006" y="0"/>
                        </a:lnTo>
                        <a:cubicBezTo>
                          <a:pt x="205490" y="64847"/>
                          <a:pt x="204626" y="103685"/>
                          <a:pt x="178006" y="154899"/>
                        </a:cubicBezTo>
                        <a:lnTo>
                          <a:pt x="0" y="154899"/>
                        </a:lnTo>
                        <a:lnTo>
                          <a:pt x="0" y="0"/>
                        </a:lnTo>
                        <a:close/>
                      </a:path>
                    </a:pathLst>
                  </a:custGeom>
                  <a:solidFill>
                    <a:srgbClr val="BFBFB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grpSp>
                <p:nvGrpSpPr>
                  <p:cNvPr id="58" name="Group 57"/>
                  <p:cNvGrpSpPr/>
                  <p:nvPr/>
                </p:nvGrpSpPr>
                <p:grpSpPr>
                  <a:xfrm rot="2700000">
                    <a:off x="7272998" y="2610486"/>
                    <a:ext cx="1298140" cy="1132215"/>
                    <a:chOff x="4084525" y="737296"/>
                    <a:chExt cx="1640544" cy="1430854"/>
                  </a:xfrm>
                </p:grpSpPr>
                <p:grpSp>
                  <p:nvGrpSpPr>
                    <p:cNvPr id="71" name="Group 70"/>
                    <p:cNvGrpSpPr/>
                    <p:nvPr/>
                  </p:nvGrpSpPr>
                  <p:grpSpPr>
                    <a:xfrm rot="18913881">
                      <a:off x="4402009" y="737296"/>
                      <a:ext cx="1323060" cy="1019404"/>
                      <a:chOff x="5687211" y="3859429"/>
                      <a:chExt cx="1323060" cy="1019404"/>
                    </a:xfrm>
                  </p:grpSpPr>
                  <p:sp>
                    <p:nvSpPr>
                      <p:cNvPr id="75" name="Rounded Rectangle 31"/>
                      <p:cNvSpPr/>
                      <p:nvPr/>
                    </p:nvSpPr>
                    <p:spPr>
                      <a:xfrm rot="21431920" flipH="1">
                        <a:off x="5698900" y="3867410"/>
                        <a:ext cx="1311371" cy="1011423"/>
                      </a:xfrm>
                      <a:custGeom>
                        <a:avLst/>
                        <a:gdLst>
                          <a:gd name="connsiteX0" fmla="*/ 0 w 1234463"/>
                          <a:gd name="connsiteY0" fmla="*/ 56234 h 958157"/>
                          <a:gd name="connsiteX1" fmla="*/ 56234 w 1234463"/>
                          <a:gd name="connsiteY1" fmla="*/ 0 h 958157"/>
                          <a:gd name="connsiteX2" fmla="*/ 1178229 w 1234463"/>
                          <a:gd name="connsiteY2" fmla="*/ 0 h 958157"/>
                          <a:gd name="connsiteX3" fmla="*/ 1234463 w 1234463"/>
                          <a:gd name="connsiteY3" fmla="*/ 56234 h 958157"/>
                          <a:gd name="connsiteX4" fmla="*/ 1234463 w 1234463"/>
                          <a:gd name="connsiteY4" fmla="*/ 901923 h 958157"/>
                          <a:gd name="connsiteX5" fmla="*/ 1178229 w 1234463"/>
                          <a:gd name="connsiteY5" fmla="*/ 958157 h 958157"/>
                          <a:gd name="connsiteX6" fmla="*/ 56234 w 1234463"/>
                          <a:gd name="connsiteY6" fmla="*/ 958157 h 958157"/>
                          <a:gd name="connsiteX7" fmla="*/ 0 w 1234463"/>
                          <a:gd name="connsiteY7" fmla="*/ 901923 h 958157"/>
                          <a:gd name="connsiteX8" fmla="*/ 0 w 1234463"/>
                          <a:gd name="connsiteY8" fmla="*/ 56234 h 958157"/>
                          <a:gd name="connsiteX0" fmla="*/ 0 w 1234463"/>
                          <a:gd name="connsiteY0" fmla="*/ 56234 h 958157"/>
                          <a:gd name="connsiteX1" fmla="*/ 56234 w 1234463"/>
                          <a:gd name="connsiteY1" fmla="*/ 0 h 958157"/>
                          <a:gd name="connsiteX2" fmla="*/ 1178229 w 1234463"/>
                          <a:gd name="connsiteY2" fmla="*/ 0 h 958157"/>
                          <a:gd name="connsiteX3" fmla="*/ 1234463 w 1234463"/>
                          <a:gd name="connsiteY3" fmla="*/ 56234 h 958157"/>
                          <a:gd name="connsiteX4" fmla="*/ 1234463 w 1234463"/>
                          <a:gd name="connsiteY4" fmla="*/ 901923 h 958157"/>
                          <a:gd name="connsiteX5" fmla="*/ 1178229 w 1234463"/>
                          <a:gd name="connsiteY5" fmla="*/ 958157 h 958157"/>
                          <a:gd name="connsiteX6" fmla="*/ 56234 w 1234463"/>
                          <a:gd name="connsiteY6" fmla="*/ 958157 h 958157"/>
                          <a:gd name="connsiteX7" fmla="*/ 0 w 1234463"/>
                          <a:gd name="connsiteY7" fmla="*/ 901923 h 958157"/>
                          <a:gd name="connsiteX8" fmla="*/ 10778 w 1234463"/>
                          <a:gd name="connsiteY8" fmla="*/ 506039 h 958157"/>
                          <a:gd name="connsiteX9" fmla="*/ 0 w 1234463"/>
                          <a:gd name="connsiteY9" fmla="*/ 56234 h 958157"/>
                          <a:gd name="connsiteX0" fmla="*/ 0 w 1234463"/>
                          <a:gd name="connsiteY0" fmla="*/ 56234 h 958157"/>
                          <a:gd name="connsiteX1" fmla="*/ 56234 w 1234463"/>
                          <a:gd name="connsiteY1" fmla="*/ 0 h 958157"/>
                          <a:gd name="connsiteX2" fmla="*/ 1178229 w 1234463"/>
                          <a:gd name="connsiteY2" fmla="*/ 0 h 958157"/>
                          <a:gd name="connsiteX3" fmla="*/ 1234463 w 1234463"/>
                          <a:gd name="connsiteY3" fmla="*/ 56234 h 958157"/>
                          <a:gd name="connsiteX4" fmla="*/ 1234463 w 1234463"/>
                          <a:gd name="connsiteY4" fmla="*/ 901923 h 958157"/>
                          <a:gd name="connsiteX5" fmla="*/ 1178229 w 1234463"/>
                          <a:gd name="connsiteY5" fmla="*/ 958157 h 958157"/>
                          <a:gd name="connsiteX6" fmla="*/ 56234 w 1234463"/>
                          <a:gd name="connsiteY6" fmla="*/ 958157 h 958157"/>
                          <a:gd name="connsiteX7" fmla="*/ 0 w 1234463"/>
                          <a:gd name="connsiteY7" fmla="*/ 901923 h 958157"/>
                          <a:gd name="connsiteX8" fmla="*/ 207561 w 1234463"/>
                          <a:gd name="connsiteY8" fmla="*/ 562599 h 958157"/>
                          <a:gd name="connsiteX9" fmla="*/ 0 w 1234463"/>
                          <a:gd name="connsiteY9" fmla="*/ 56234 h 958157"/>
                          <a:gd name="connsiteX0" fmla="*/ 0 w 1234463"/>
                          <a:gd name="connsiteY0" fmla="*/ 56234 h 958157"/>
                          <a:gd name="connsiteX1" fmla="*/ 56234 w 1234463"/>
                          <a:gd name="connsiteY1" fmla="*/ 0 h 958157"/>
                          <a:gd name="connsiteX2" fmla="*/ 1178229 w 1234463"/>
                          <a:gd name="connsiteY2" fmla="*/ 0 h 958157"/>
                          <a:gd name="connsiteX3" fmla="*/ 1234463 w 1234463"/>
                          <a:gd name="connsiteY3" fmla="*/ 56234 h 958157"/>
                          <a:gd name="connsiteX4" fmla="*/ 1234463 w 1234463"/>
                          <a:gd name="connsiteY4" fmla="*/ 901923 h 958157"/>
                          <a:gd name="connsiteX5" fmla="*/ 1178229 w 1234463"/>
                          <a:gd name="connsiteY5" fmla="*/ 958157 h 958157"/>
                          <a:gd name="connsiteX6" fmla="*/ 56234 w 1234463"/>
                          <a:gd name="connsiteY6" fmla="*/ 958157 h 958157"/>
                          <a:gd name="connsiteX7" fmla="*/ 0 w 1234463"/>
                          <a:gd name="connsiteY7" fmla="*/ 901923 h 958157"/>
                          <a:gd name="connsiteX8" fmla="*/ 207561 w 1234463"/>
                          <a:gd name="connsiteY8" fmla="*/ 562599 h 958157"/>
                          <a:gd name="connsiteX9" fmla="*/ 0 w 1234463"/>
                          <a:gd name="connsiteY9" fmla="*/ 56234 h 958157"/>
                          <a:gd name="connsiteX0" fmla="*/ 0 w 1235642"/>
                          <a:gd name="connsiteY0" fmla="*/ 56234 h 958157"/>
                          <a:gd name="connsiteX1" fmla="*/ 56234 w 1235642"/>
                          <a:gd name="connsiteY1" fmla="*/ 0 h 958157"/>
                          <a:gd name="connsiteX2" fmla="*/ 1178229 w 1235642"/>
                          <a:gd name="connsiteY2" fmla="*/ 0 h 958157"/>
                          <a:gd name="connsiteX3" fmla="*/ 1235642 w 1235642"/>
                          <a:gd name="connsiteY3" fmla="*/ 247187 h 958157"/>
                          <a:gd name="connsiteX4" fmla="*/ 1234463 w 1235642"/>
                          <a:gd name="connsiteY4" fmla="*/ 901923 h 958157"/>
                          <a:gd name="connsiteX5" fmla="*/ 1178229 w 1235642"/>
                          <a:gd name="connsiteY5" fmla="*/ 958157 h 958157"/>
                          <a:gd name="connsiteX6" fmla="*/ 56234 w 1235642"/>
                          <a:gd name="connsiteY6" fmla="*/ 958157 h 958157"/>
                          <a:gd name="connsiteX7" fmla="*/ 0 w 1235642"/>
                          <a:gd name="connsiteY7" fmla="*/ 901923 h 958157"/>
                          <a:gd name="connsiteX8" fmla="*/ 207561 w 1235642"/>
                          <a:gd name="connsiteY8" fmla="*/ 562599 h 958157"/>
                          <a:gd name="connsiteX9" fmla="*/ 0 w 1235642"/>
                          <a:gd name="connsiteY9" fmla="*/ 56234 h 958157"/>
                          <a:gd name="connsiteX0" fmla="*/ 0 w 1235642"/>
                          <a:gd name="connsiteY0" fmla="*/ 56234 h 958157"/>
                          <a:gd name="connsiteX1" fmla="*/ 56234 w 1235642"/>
                          <a:gd name="connsiteY1" fmla="*/ 0 h 958157"/>
                          <a:gd name="connsiteX2" fmla="*/ 1001323 w 1235642"/>
                          <a:gd name="connsiteY2" fmla="*/ 10823 h 958157"/>
                          <a:gd name="connsiteX3" fmla="*/ 1235642 w 1235642"/>
                          <a:gd name="connsiteY3" fmla="*/ 247187 h 958157"/>
                          <a:gd name="connsiteX4" fmla="*/ 1234463 w 1235642"/>
                          <a:gd name="connsiteY4" fmla="*/ 901923 h 958157"/>
                          <a:gd name="connsiteX5" fmla="*/ 1178229 w 1235642"/>
                          <a:gd name="connsiteY5" fmla="*/ 958157 h 958157"/>
                          <a:gd name="connsiteX6" fmla="*/ 56234 w 1235642"/>
                          <a:gd name="connsiteY6" fmla="*/ 958157 h 958157"/>
                          <a:gd name="connsiteX7" fmla="*/ 0 w 1235642"/>
                          <a:gd name="connsiteY7" fmla="*/ 901923 h 958157"/>
                          <a:gd name="connsiteX8" fmla="*/ 207561 w 1235642"/>
                          <a:gd name="connsiteY8" fmla="*/ 562599 h 958157"/>
                          <a:gd name="connsiteX9" fmla="*/ 0 w 1235642"/>
                          <a:gd name="connsiteY9" fmla="*/ 56234 h 958157"/>
                          <a:gd name="connsiteX0" fmla="*/ 0 w 1235642"/>
                          <a:gd name="connsiteY0" fmla="*/ 56234 h 958157"/>
                          <a:gd name="connsiteX1" fmla="*/ 56234 w 1235642"/>
                          <a:gd name="connsiteY1" fmla="*/ 0 h 958157"/>
                          <a:gd name="connsiteX2" fmla="*/ 997633 w 1235642"/>
                          <a:gd name="connsiteY2" fmla="*/ 4156 h 958157"/>
                          <a:gd name="connsiteX3" fmla="*/ 1235642 w 1235642"/>
                          <a:gd name="connsiteY3" fmla="*/ 247187 h 958157"/>
                          <a:gd name="connsiteX4" fmla="*/ 1234463 w 1235642"/>
                          <a:gd name="connsiteY4" fmla="*/ 901923 h 958157"/>
                          <a:gd name="connsiteX5" fmla="*/ 1178229 w 1235642"/>
                          <a:gd name="connsiteY5" fmla="*/ 958157 h 958157"/>
                          <a:gd name="connsiteX6" fmla="*/ 56234 w 1235642"/>
                          <a:gd name="connsiteY6" fmla="*/ 958157 h 958157"/>
                          <a:gd name="connsiteX7" fmla="*/ 0 w 1235642"/>
                          <a:gd name="connsiteY7" fmla="*/ 901923 h 958157"/>
                          <a:gd name="connsiteX8" fmla="*/ 207561 w 1235642"/>
                          <a:gd name="connsiteY8" fmla="*/ 562599 h 958157"/>
                          <a:gd name="connsiteX9" fmla="*/ 0 w 1235642"/>
                          <a:gd name="connsiteY9" fmla="*/ 56234 h 958157"/>
                          <a:gd name="connsiteX0" fmla="*/ 0 w 1235642"/>
                          <a:gd name="connsiteY0" fmla="*/ 56234 h 958157"/>
                          <a:gd name="connsiteX1" fmla="*/ 56234 w 1235642"/>
                          <a:gd name="connsiteY1" fmla="*/ 0 h 958157"/>
                          <a:gd name="connsiteX2" fmla="*/ 980609 w 1235642"/>
                          <a:gd name="connsiteY2" fmla="*/ 4869 h 958157"/>
                          <a:gd name="connsiteX3" fmla="*/ 1235642 w 1235642"/>
                          <a:gd name="connsiteY3" fmla="*/ 247187 h 958157"/>
                          <a:gd name="connsiteX4" fmla="*/ 1234463 w 1235642"/>
                          <a:gd name="connsiteY4" fmla="*/ 901923 h 958157"/>
                          <a:gd name="connsiteX5" fmla="*/ 1178229 w 1235642"/>
                          <a:gd name="connsiteY5" fmla="*/ 958157 h 958157"/>
                          <a:gd name="connsiteX6" fmla="*/ 56234 w 1235642"/>
                          <a:gd name="connsiteY6" fmla="*/ 958157 h 958157"/>
                          <a:gd name="connsiteX7" fmla="*/ 0 w 1235642"/>
                          <a:gd name="connsiteY7" fmla="*/ 901923 h 958157"/>
                          <a:gd name="connsiteX8" fmla="*/ 207561 w 1235642"/>
                          <a:gd name="connsiteY8" fmla="*/ 562599 h 958157"/>
                          <a:gd name="connsiteX9" fmla="*/ 0 w 1235642"/>
                          <a:gd name="connsiteY9" fmla="*/ 56234 h 958157"/>
                          <a:gd name="connsiteX0" fmla="*/ 0 w 1235642"/>
                          <a:gd name="connsiteY0" fmla="*/ 56234 h 958157"/>
                          <a:gd name="connsiteX1" fmla="*/ 56234 w 1235642"/>
                          <a:gd name="connsiteY1" fmla="*/ 0 h 958157"/>
                          <a:gd name="connsiteX2" fmla="*/ 980609 w 1235642"/>
                          <a:gd name="connsiteY2" fmla="*/ 4869 h 958157"/>
                          <a:gd name="connsiteX3" fmla="*/ 1235642 w 1235642"/>
                          <a:gd name="connsiteY3" fmla="*/ 247187 h 958157"/>
                          <a:gd name="connsiteX4" fmla="*/ 1234463 w 1235642"/>
                          <a:gd name="connsiteY4" fmla="*/ 901923 h 958157"/>
                          <a:gd name="connsiteX5" fmla="*/ 1178229 w 1235642"/>
                          <a:gd name="connsiteY5" fmla="*/ 958157 h 958157"/>
                          <a:gd name="connsiteX6" fmla="*/ 56234 w 1235642"/>
                          <a:gd name="connsiteY6" fmla="*/ 958157 h 958157"/>
                          <a:gd name="connsiteX7" fmla="*/ 0 w 1235642"/>
                          <a:gd name="connsiteY7" fmla="*/ 901923 h 958157"/>
                          <a:gd name="connsiteX8" fmla="*/ 207561 w 1235642"/>
                          <a:gd name="connsiteY8" fmla="*/ 562599 h 958157"/>
                          <a:gd name="connsiteX9" fmla="*/ 0 w 1235642"/>
                          <a:gd name="connsiteY9" fmla="*/ 56234 h 958157"/>
                          <a:gd name="connsiteX0" fmla="*/ 0 w 1235642"/>
                          <a:gd name="connsiteY0" fmla="*/ 56234 h 958157"/>
                          <a:gd name="connsiteX1" fmla="*/ 56234 w 1235642"/>
                          <a:gd name="connsiteY1" fmla="*/ 0 h 958157"/>
                          <a:gd name="connsiteX2" fmla="*/ 980609 w 1235642"/>
                          <a:gd name="connsiteY2" fmla="*/ 4869 h 958157"/>
                          <a:gd name="connsiteX3" fmla="*/ 1235642 w 1235642"/>
                          <a:gd name="connsiteY3" fmla="*/ 247187 h 958157"/>
                          <a:gd name="connsiteX4" fmla="*/ 1234463 w 1235642"/>
                          <a:gd name="connsiteY4" fmla="*/ 901923 h 958157"/>
                          <a:gd name="connsiteX5" fmla="*/ 1178229 w 1235642"/>
                          <a:gd name="connsiteY5" fmla="*/ 958157 h 958157"/>
                          <a:gd name="connsiteX6" fmla="*/ 56234 w 1235642"/>
                          <a:gd name="connsiteY6" fmla="*/ 958157 h 958157"/>
                          <a:gd name="connsiteX7" fmla="*/ 0 w 1235642"/>
                          <a:gd name="connsiteY7" fmla="*/ 901923 h 958157"/>
                          <a:gd name="connsiteX8" fmla="*/ 207561 w 1235642"/>
                          <a:gd name="connsiteY8" fmla="*/ 562599 h 958157"/>
                          <a:gd name="connsiteX9" fmla="*/ 0 w 1235642"/>
                          <a:gd name="connsiteY9" fmla="*/ 56234 h 958157"/>
                          <a:gd name="connsiteX0" fmla="*/ 0 w 1235642"/>
                          <a:gd name="connsiteY0" fmla="*/ 56234 h 958157"/>
                          <a:gd name="connsiteX1" fmla="*/ 56234 w 1235642"/>
                          <a:gd name="connsiteY1" fmla="*/ 0 h 958157"/>
                          <a:gd name="connsiteX2" fmla="*/ 980609 w 1235642"/>
                          <a:gd name="connsiteY2" fmla="*/ 4869 h 958157"/>
                          <a:gd name="connsiteX3" fmla="*/ 1235642 w 1235642"/>
                          <a:gd name="connsiteY3" fmla="*/ 247187 h 958157"/>
                          <a:gd name="connsiteX4" fmla="*/ 1234463 w 1235642"/>
                          <a:gd name="connsiteY4" fmla="*/ 901923 h 958157"/>
                          <a:gd name="connsiteX5" fmla="*/ 1178229 w 1235642"/>
                          <a:gd name="connsiteY5" fmla="*/ 958157 h 958157"/>
                          <a:gd name="connsiteX6" fmla="*/ 56234 w 1235642"/>
                          <a:gd name="connsiteY6" fmla="*/ 958157 h 958157"/>
                          <a:gd name="connsiteX7" fmla="*/ 0 w 1235642"/>
                          <a:gd name="connsiteY7" fmla="*/ 901923 h 958157"/>
                          <a:gd name="connsiteX8" fmla="*/ 207561 w 1235642"/>
                          <a:gd name="connsiteY8" fmla="*/ 562599 h 958157"/>
                          <a:gd name="connsiteX9" fmla="*/ 0 w 1235642"/>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53228 w 1242309"/>
                          <a:gd name="connsiteY2" fmla="*/ 2606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30538 w 1242309"/>
                          <a:gd name="connsiteY8" fmla="*/ 541172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193514 w 1242309"/>
                          <a:gd name="connsiteY8" fmla="*/ 552956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6848 w 1242309"/>
                          <a:gd name="connsiteY8" fmla="*/ 545577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2961 w 1242309"/>
                          <a:gd name="connsiteY8" fmla="*/ 5276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2814 w 1242309"/>
                          <a:gd name="connsiteY8" fmla="*/ 524695 h 958157"/>
                          <a:gd name="connsiteX9" fmla="*/ 0 w 1242309"/>
                          <a:gd name="connsiteY9" fmla="*/ 56234 h 958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2309" h="958157">
                            <a:moveTo>
                              <a:pt x="0" y="56234"/>
                            </a:moveTo>
                            <a:cubicBezTo>
                              <a:pt x="0" y="25177"/>
                              <a:pt x="25177" y="0"/>
                              <a:pt x="56234" y="0"/>
                            </a:cubicBezTo>
                            <a:lnTo>
                              <a:pt x="939895" y="9987"/>
                            </a:lnTo>
                            <a:cubicBezTo>
                              <a:pt x="1075235" y="56777"/>
                              <a:pt x="1179580" y="99105"/>
                              <a:pt x="1242309" y="243497"/>
                            </a:cubicBezTo>
                            <a:cubicBezTo>
                              <a:pt x="1239694" y="462972"/>
                              <a:pt x="1237078" y="682448"/>
                              <a:pt x="1234463" y="901923"/>
                            </a:cubicBezTo>
                            <a:cubicBezTo>
                              <a:pt x="1234463" y="932980"/>
                              <a:pt x="1209286" y="958157"/>
                              <a:pt x="1178229" y="958157"/>
                            </a:cubicBezTo>
                            <a:lnTo>
                              <a:pt x="56234" y="958157"/>
                            </a:lnTo>
                            <a:cubicBezTo>
                              <a:pt x="25177" y="958157"/>
                              <a:pt x="0" y="932980"/>
                              <a:pt x="0" y="901923"/>
                            </a:cubicBezTo>
                            <a:lnTo>
                              <a:pt x="202814" y="524695"/>
                            </a:lnTo>
                            <a:cubicBezTo>
                              <a:pt x="133865" y="361581"/>
                              <a:pt x="68949" y="219348"/>
                              <a:pt x="0" y="56234"/>
                            </a:cubicBezTo>
                            <a:close/>
                          </a:path>
                        </a:pathLst>
                      </a:custGeom>
                      <a:solidFill>
                        <a:srgbClr val="2A72B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76" name="Freeform 75"/>
                      <p:cNvSpPr/>
                      <p:nvPr/>
                    </p:nvSpPr>
                    <p:spPr>
                      <a:xfrm rot="-120000">
                        <a:off x="5687211" y="3859429"/>
                        <a:ext cx="1308478" cy="553611"/>
                      </a:xfrm>
                      <a:custGeom>
                        <a:avLst/>
                        <a:gdLst>
                          <a:gd name="connsiteX0" fmla="*/ 1248294 w 1308478"/>
                          <a:gd name="connsiteY0" fmla="*/ 5 h 553611"/>
                          <a:gd name="connsiteX1" fmla="*/ 1308478 w 1308478"/>
                          <a:gd name="connsiteY1" fmla="*/ 58529 h 553611"/>
                          <a:gd name="connsiteX2" fmla="*/ 1153485 w 1308478"/>
                          <a:gd name="connsiteY2" fmla="*/ 429545 h 553611"/>
                          <a:gd name="connsiteX3" fmla="*/ 1102303 w 1308478"/>
                          <a:gd name="connsiteY3" fmla="*/ 553611 h 553611"/>
                          <a:gd name="connsiteX4" fmla="*/ 7230 w 1308478"/>
                          <a:gd name="connsiteY4" fmla="*/ 553611 h 553611"/>
                          <a:gd name="connsiteX5" fmla="*/ 0 w 1308478"/>
                          <a:gd name="connsiteY5" fmla="*/ 274524 h 553611"/>
                          <a:gd name="connsiteX6" fmla="*/ 315748 w 1308478"/>
                          <a:gd name="connsiteY6" fmla="*/ 23592 h 553611"/>
                          <a:gd name="connsiteX7" fmla="*/ 1248294 w 1308478"/>
                          <a:gd name="connsiteY7" fmla="*/ 5 h 553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8478" h="553611">
                            <a:moveTo>
                              <a:pt x="1248294" y="5"/>
                            </a:moveTo>
                            <a:cubicBezTo>
                              <a:pt x="1281074" y="-453"/>
                              <a:pt x="1308020" y="25749"/>
                              <a:pt x="1308478" y="58529"/>
                            </a:cubicBezTo>
                            <a:cubicBezTo>
                              <a:pt x="1255703" y="188417"/>
                              <a:pt x="1205149" y="305873"/>
                              <a:pt x="1153485" y="429545"/>
                            </a:cubicBezTo>
                            <a:lnTo>
                              <a:pt x="1102303" y="553611"/>
                            </a:lnTo>
                            <a:lnTo>
                              <a:pt x="7230" y="553611"/>
                            </a:lnTo>
                            <a:lnTo>
                              <a:pt x="0" y="274524"/>
                            </a:lnTo>
                            <a:cubicBezTo>
                              <a:pt x="64078" y="121194"/>
                              <a:pt x="173588" y="74976"/>
                              <a:pt x="315748" y="23592"/>
                            </a:cubicBezTo>
                            <a:lnTo>
                              <a:pt x="1248294" y="5"/>
                            </a:lnTo>
                            <a:close/>
                          </a:path>
                        </a:pathLst>
                      </a:custGeom>
                      <a:solidFill>
                        <a:srgbClr val="3186D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grpSp>
                <p:grpSp>
                  <p:nvGrpSpPr>
                    <p:cNvPr id="72" name="Group 71"/>
                    <p:cNvGrpSpPr/>
                    <p:nvPr/>
                  </p:nvGrpSpPr>
                  <p:grpSpPr>
                    <a:xfrm rot="18913881">
                      <a:off x="4084525" y="1096826"/>
                      <a:ext cx="1617772" cy="1071324"/>
                      <a:chOff x="5147593" y="3987338"/>
                      <a:chExt cx="1617772" cy="1071324"/>
                    </a:xfrm>
                  </p:grpSpPr>
                  <p:sp>
                    <p:nvSpPr>
                      <p:cNvPr id="73" name="Freeform 72"/>
                      <p:cNvSpPr/>
                      <p:nvPr/>
                    </p:nvSpPr>
                    <p:spPr>
                      <a:xfrm>
                        <a:off x="5155242" y="3987338"/>
                        <a:ext cx="1610123" cy="1071324"/>
                      </a:xfrm>
                      <a:custGeom>
                        <a:avLst/>
                        <a:gdLst>
                          <a:gd name="connsiteX0" fmla="*/ 1335822 w 1610123"/>
                          <a:gd name="connsiteY0" fmla="*/ 345 h 1071324"/>
                          <a:gd name="connsiteX1" fmla="*/ 1478916 w 1610123"/>
                          <a:gd name="connsiteY1" fmla="*/ 126227 h 1071324"/>
                          <a:gd name="connsiteX2" fmla="*/ 1531164 w 1610123"/>
                          <a:gd name="connsiteY2" fmla="*/ 942708 h 1071324"/>
                          <a:gd name="connsiteX3" fmla="*/ 1384173 w 1610123"/>
                          <a:gd name="connsiteY3" fmla="*/ 1067963 h 1071324"/>
                          <a:gd name="connsiteX4" fmla="*/ 449052 w 1610123"/>
                          <a:gd name="connsiteY4" fmla="*/ 1065336 h 1071324"/>
                          <a:gd name="connsiteX5" fmla="*/ 3462 w 1610123"/>
                          <a:gd name="connsiteY5" fmla="*/ 551873 h 1071324"/>
                          <a:gd name="connsiteX6" fmla="*/ 3815 w 1610123"/>
                          <a:gd name="connsiteY6" fmla="*/ 396027 h 1071324"/>
                          <a:gd name="connsiteX7" fmla="*/ 383072 w 1610123"/>
                          <a:gd name="connsiteY7" fmla="*/ 48804 h 1071324"/>
                          <a:gd name="connsiteX8" fmla="*/ 1335822 w 1610123"/>
                          <a:gd name="connsiteY8" fmla="*/ 345 h 1071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0123" h="1071324">
                            <a:moveTo>
                              <a:pt x="1335822" y="345"/>
                            </a:moveTo>
                            <a:cubicBezTo>
                              <a:pt x="1410097" y="-4408"/>
                              <a:pt x="1450098" y="40128"/>
                              <a:pt x="1478916" y="126227"/>
                            </a:cubicBezTo>
                            <a:cubicBezTo>
                              <a:pt x="1591959" y="355747"/>
                              <a:pt x="1680625" y="528483"/>
                              <a:pt x="1531164" y="942708"/>
                            </a:cubicBezTo>
                            <a:cubicBezTo>
                              <a:pt x="1535917" y="1016983"/>
                              <a:pt x="1458449" y="1063210"/>
                              <a:pt x="1384173" y="1067963"/>
                            </a:cubicBezTo>
                            <a:cubicBezTo>
                              <a:pt x="1069510" y="1073104"/>
                              <a:pt x="727828" y="1072439"/>
                              <a:pt x="449052" y="1065336"/>
                            </a:cubicBezTo>
                            <a:cubicBezTo>
                              <a:pt x="389555" y="1040009"/>
                              <a:pt x="89492" y="660575"/>
                              <a:pt x="3462" y="551873"/>
                            </a:cubicBezTo>
                            <a:cubicBezTo>
                              <a:pt x="-1246" y="479598"/>
                              <a:pt x="-1175" y="465498"/>
                              <a:pt x="3815" y="396027"/>
                            </a:cubicBezTo>
                            <a:cubicBezTo>
                              <a:pt x="88884" y="306131"/>
                              <a:pt x="308797" y="53557"/>
                              <a:pt x="383072" y="48804"/>
                            </a:cubicBezTo>
                            <a:lnTo>
                              <a:pt x="1335822" y="345"/>
                            </a:lnTo>
                            <a:close/>
                          </a:path>
                        </a:pathLst>
                      </a:custGeom>
                      <a:solidFill>
                        <a:srgbClr val="3186D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74" name="Freeform 73"/>
                      <p:cNvSpPr/>
                      <p:nvPr/>
                    </p:nvSpPr>
                    <p:spPr>
                      <a:xfrm rot="21480000">
                        <a:off x="5147593" y="4006841"/>
                        <a:ext cx="1592891" cy="420116"/>
                      </a:xfrm>
                      <a:custGeom>
                        <a:avLst/>
                        <a:gdLst>
                          <a:gd name="connsiteX0" fmla="*/ 1351136 w 1592890"/>
                          <a:gd name="connsiteY0" fmla="*/ 72 h 420116"/>
                          <a:gd name="connsiteX1" fmla="*/ 1489750 w 1592890"/>
                          <a:gd name="connsiteY1" fmla="*/ 130871 h 420116"/>
                          <a:gd name="connsiteX2" fmla="*/ 1586578 w 1592890"/>
                          <a:gd name="connsiteY2" fmla="*/ 384388 h 420116"/>
                          <a:gd name="connsiteX3" fmla="*/ 1592890 w 1592890"/>
                          <a:gd name="connsiteY3" fmla="*/ 420116 h 420116"/>
                          <a:gd name="connsiteX4" fmla="*/ 0 w 1592890"/>
                          <a:gd name="connsiteY4" fmla="*/ 420116 h 420116"/>
                          <a:gd name="connsiteX5" fmla="*/ 1793 w 1592890"/>
                          <a:gd name="connsiteY5" fmla="*/ 392396 h 420116"/>
                          <a:gd name="connsiteX6" fmla="*/ 6131 w 1592890"/>
                          <a:gd name="connsiteY6" fmla="*/ 349026 h 420116"/>
                          <a:gd name="connsiteX7" fmla="*/ 397275 w 1592890"/>
                          <a:gd name="connsiteY7" fmla="*/ 15251 h 420116"/>
                          <a:gd name="connsiteX8" fmla="*/ 1351136 w 1592890"/>
                          <a:gd name="connsiteY8" fmla="*/ 72 h 420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2890" h="420116">
                            <a:moveTo>
                              <a:pt x="1351136" y="72"/>
                            </a:moveTo>
                            <a:cubicBezTo>
                              <a:pt x="1425532" y="-2086"/>
                              <a:pt x="1463954" y="43819"/>
                              <a:pt x="1489750" y="130871"/>
                            </a:cubicBezTo>
                            <a:cubicBezTo>
                              <a:pt x="1529111" y="218368"/>
                              <a:pt x="1565325" y="297765"/>
                              <a:pt x="1586578" y="384388"/>
                            </a:cubicBezTo>
                            <a:lnTo>
                              <a:pt x="1592890" y="420116"/>
                            </a:lnTo>
                            <a:lnTo>
                              <a:pt x="0" y="420116"/>
                            </a:lnTo>
                            <a:lnTo>
                              <a:pt x="1793" y="392396"/>
                            </a:lnTo>
                            <a:cubicBezTo>
                              <a:pt x="2854" y="380206"/>
                              <a:pt x="4279" y="366340"/>
                              <a:pt x="6131" y="349026"/>
                            </a:cubicBezTo>
                            <a:cubicBezTo>
                              <a:pt x="94286" y="262154"/>
                              <a:pt x="322880" y="17409"/>
                              <a:pt x="397275" y="15251"/>
                            </a:cubicBezTo>
                            <a:lnTo>
                              <a:pt x="1351136" y="72"/>
                            </a:lnTo>
                            <a:close/>
                          </a:path>
                        </a:pathLst>
                      </a:custGeom>
                      <a:solidFill>
                        <a:srgbClr val="2A72B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grpSp>
              </p:grpSp>
              <p:sp>
                <p:nvSpPr>
                  <p:cNvPr id="59" name="Rectangle 13"/>
                  <p:cNvSpPr/>
                  <p:nvPr/>
                </p:nvSpPr>
                <p:spPr>
                  <a:xfrm rot="1545906" flipH="1">
                    <a:off x="4824756" y="3122888"/>
                    <a:ext cx="318241" cy="179673"/>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578644"/>
                      <a:gd name="connsiteY0" fmla="*/ 0 h 368300"/>
                      <a:gd name="connsiteX1" fmla="*/ 571500 w 578644"/>
                      <a:gd name="connsiteY1" fmla="*/ 0 h 368300"/>
                      <a:gd name="connsiteX2" fmla="*/ 578644 w 578644"/>
                      <a:gd name="connsiteY2" fmla="*/ 356394 h 368300"/>
                      <a:gd name="connsiteX3" fmla="*/ 0 w 578644"/>
                      <a:gd name="connsiteY3" fmla="*/ 368300 h 368300"/>
                      <a:gd name="connsiteX4" fmla="*/ 0 w 578644"/>
                      <a:gd name="connsiteY4" fmla="*/ 0 h 368300"/>
                      <a:gd name="connsiteX0" fmla="*/ 0 w 578644"/>
                      <a:gd name="connsiteY0" fmla="*/ 0 h 368300"/>
                      <a:gd name="connsiteX1" fmla="*/ 571500 w 578644"/>
                      <a:gd name="connsiteY1" fmla="*/ 0 h 368300"/>
                      <a:gd name="connsiteX2" fmla="*/ 578644 w 578644"/>
                      <a:gd name="connsiteY2" fmla="*/ 361156 h 368300"/>
                      <a:gd name="connsiteX3" fmla="*/ 0 w 578644"/>
                      <a:gd name="connsiteY3" fmla="*/ 368300 h 368300"/>
                      <a:gd name="connsiteX4" fmla="*/ 0 w 578644"/>
                      <a:gd name="connsiteY4" fmla="*/ 0 h 368300"/>
                      <a:gd name="connsiteX0" fmla="*/ 0 w 578644"/>
                      <a:gd name="connsiteY0" fmla="*/ 0 h 368300"/>
                      <a:gd name="connsiteX1" fmla="*/ 240506 w 578644"/>
                      <a:gd name="connsiteY1" fmla="*/ 159544 h 368300"/>
                      <a:gd name="connsiteX2" fmla="*/ 578644 w 578644"/>
                      <a:gd name="connsiteY2" fmla="*/ 361156 h 368300"/>
                      <a:gd name="connsiteX3" fmla="*/ 0 w 578644"/>
                      <a:gd name="connsiteY3" fmla="*/ 368300 h 368300"/>
                      <a:gd name="connsiteX4" fmla="*/ 0 w 578644"/>
                      <a:gd name="connsiteY4" fmla="*/ 0 h 368300"/>
                      <a:gd name="connsiteX0" fmla="*/ 0 w 578644"/>
                      <a:gd name="connsiteY0" fmla="*/ 0 h 361156"/>
                      <a:gd name="connsiteX1" fmla="*/ 240506 w 578644"/>
                      <a:gd name="connsiteY1" fmla="*/ 159544 h 361156"/>
                      <a:gd name="connsiteX2" fmla="*/ 578644 w 578644"/>
                      <a:gd name="connsiteY2" fmla="*/ 361156 h 361156"/>
                      <a:gd name="connsiteX3" fmla="*/ 195262 w 578644"/>
                      <a:gd name="connsiteY3" fmla="*/ 215900 h 361156"/>
                      <a:gd name="connsiteX4" fmla="*/ 0 w 578644"/>
                      <a:gd name="connsiteY4" fmla="*/ 0 h 361156"/>
                      <a:gd name="connsiteX0" fmla="*/ 0 w 578644"/>
                      <a:gd name="connsiteY0" fmla="*/ 0 h 361156"/>
                      <a:gd name="connsiteX1" fmla="*/ 240506 w 578644"/>
                      <a:gd name="connsiteY1" fmla="*/ 159544 h 361156"/>
                      <a:gd name="connsiteX2" fmla="*/ 578644 w 578644"/>
                      <a:gd name="connsiteY2" fmla="*/ 361156 h 361156"/>
                      <a:gd name="connsiteX3" fmla="*/ 195262 w 578644"/>
                      <a:gd name="connsiteY3" fmla="*/ 215900 h 361156"/>
                      <a:gd name="connsiteX4" fmla="*/ 0 w 578644"/>
                      <a:gd name="connsiteY4" fmla="*/ 0 h 361156"/>
                      <a:gd name="connsiteX0" fmla="*/ 0 w 578644"/>
                      <a:gd name="connsiteY0" fmla="*/ 0 h 361156"/>
                      <a:gd name="connsiteX1" fmla="*/ 240506 w 578644"/>
                      <a:gd name="connsiteY1" fmla="*/ 159544 h 361156"/>
                      <a:gd name="connsiteX2" fmla="*/ 578644 w 578644"/>
                      <a:gd name="connsiteY2" fmla="*/ 361156 h 361156"/>
                      <a:gd name="connsiteX3" fmla="*/ 195262 w 578644"/>
                      <a:gd name="connsiteY3" fmla="*/ 215900 h 361156"/>
                      <a:gd name="connsiteX4" fmla="*/ 0 w 578644"/>
                      <a:gd name="connsiteY4" fmla="*/ 0 h 361156"/>
                      <a:gd name="connsiteX0" fmla="*/ 0 w 578644"/>
                      <a:gd name="connsiteY0" fmla="*/ 0 h 361156"/>
                      <a:gd name="connsiteX1" fmla="*/ 240506 w 578644"/>
                      <a:gd name="connsiteY1" fmla="*/ 159544 h 361156"/>
                      <a:gd name="connsiteX2" fmla="*/ 578644 w 578644"/>
                      <a:gd name="connsiteY2" fmla="*/ 361156 h 361156"/>
                      <a:gd name="connsiteX3" fmla="*/ 195262 w 578644"/>
                      <a:gd name="connsiteY3" fmla="*/ 215900 h 361156"/>
                      <a:gd name="connsiteX4" fmla="*/ 0 w 578644"/>
                      <a:gd name="connsiteY4" fmla="*/ 0 h 361156"/>
                      <a:gd name="connsiteX0" fmla="*/ 0 w 578644"/>
                      <a:gd name="connsiteY0" fmla="*/ 0 h 361156"/>
                      <a:gd name="connsiteX1" fmla="*/ 240506 w 578644"/>
                      <a:gd name="connsiteY1" fmla="*/ 159544 h 361156"/>
                      <a:gd name="connsiteX2" fmla="*/ 578644 w 578644"/>
                      <a:gd name="connsiteY2" fmla="*/ 361156 h 361156"/>
                      <a:gd name="connsiteX3" fmla="*/ 195262 w 578644"/>
                      <a:gd name="connsiteY3" fmla="*/ 215900 h 361156"/>
                      <a:gd name="connsiteX4" fmla="*/ 0 w 578644"/>
                      <a:gd name="connsiteY4" fmla="*/ 0 h 361156"/>
                      <a:gd name="connsiteX0" fmla="*/ 0 w 578644"/>
                      <a:gd name="connsiteY0" fmla="*/ 0 h 361156"/>
                      <a:gd name="connsiteX1" fmla="*/ 240506 w 578644"/>
                      <a:gd name="connsiteY1" fmla="*/ 159544 h 361156"/>
                      <a:gd name="connsiteX2" fmla="*/ 578644 w 578644"/>
                      <a:gd name="connsiteY2" fmla="*/ 361156 h 361156"/>
                      <a:gd name="connsiteX3" fmla="*/ 195262 w 578644"/>
                      <a:gd name="connsiteY3" fmla="*/ 215900 h 361156"/>
                      <a:gd name="connsiteX4" fmla="*/ 0 w 578644"/>
                      <a:gd name="connsiteY4" fmla="*/ 0 h 361156"/>
                      <a:gd name="connsiteX0" fmla="*/ 0 w 578644"/>
                      <a:gd name="connsiteY0" fmla="*/ 0 h 361156"/>
                      <a:gd name="connsiteX1" fmla="*/ 240506 w 578644"/>
                      <a:gd name="connsiteY1" fmla="*/ 159544 h 361156"/>
                      <a:gd name="connsiteX2" fmla="*/ 578644 w 578644"/>
                      <a:gd name="connsiteY2" fmla="*/ 361156 h 361156"/>
                      <a:gd name="connsiteX3" fmla="*/ 195262 w 578644"/>
                      <a:gd name="connsiteY3" fmla="*/ 215900 h 361156"/>
                      <a:gd name="connsiteX4" fmla="*/ 0 w 578644"/>
                      <a:gd name="connsiteY4" fmla="*/ 0 h 361156"/>
                      <a:gd name="connsiteX0" fmla="*/ 0 w 559594"/>
                      <a:gd name="connsiteY0" fmla="*/ 0 h 346869"/>
                      <a:gd name="connsiteX1" fmla="*/ 240506 w 559594"/>
                      <a:gd name="connsiteY1" fmla="*/ 159544 h 346869"/>
                      <a:gd name="connsiteX2" fmla="*/ 559594 w 559594"/>
                      <a:gd name="connsiteY2" fmla="*/ 346869 h 346869"/>
                      <a:gd name="connsiteX3" fmla="*/ 195262 w 559594"/>
                      <a:gd name="connsiteY3" fmla="*/ 215900 h 346869"/>
                      <a:gd name="connsiteX4" fmla="*/ 0 w 559594"/>
                      <a:gd name="connsiteY4" fmla="*/ 0 h 346869"/>
                      <a:gd name="connsiteX0" fmla="*/ 0 w 559594"/>
                      <a:gd name="connsiteY0" fmla="*/ 0 h 346869"/>
                      <a:gd name="connsiteX1" fmla="*/ 240506 w 559594"/>
                      <a:gd name="connsiteY1" fmla="*/ 159544 h 346869"/>
                      <a:gd name="connsiteX2" fmla="*/ 559594 w 559594"/>
                      <a:gd name="connsiteY2" fmla="*/ 346869 h 346869"/>
                      <a:gd name="connsiteX3" fmla="*/ 195262 w 559594"/>
                      <a:gd name="connsiteY3" fmla="*/ 215900 h 346869"/>
                      <a:gd name="connsiteX4" fmla="*/ 0 w 559594"/>
                      <a:gd name="connsiteY4" fmla="*/ 0 h 346869"/>
                      <a:gd name="connsiteX0" fmla="*/ 0 w 559594"/>
                      <a:gd name="connsiteY0" fmla="*/ 0 h 346869"/>
                      <a:gd name="connsiteX1" fmla="*/ 240506 w 559594"/>
                      <a:gd name="connsiteY1" fmla="*/ 159544 h 346869"/>
                      <a:gd name="connsiteX2" fmla="*/ 559594 w 559594"/>
                      <a:gd name="connsiteY2" fmla="*/ 346869 h 346869"/>
                      <a:gd name="connsiteX3" fmla="*/ 195262 w 559594"/>
                      <a:gd name="connsiteY3" fmla="*/ 215900 h 346869"/>
                      <a:gd name="connsiteX4" fmla="*/ 0 w 559594"/>
                      <a:gd name="connsiteY4" fmla="*/ 0 h 346869"/>
                      <a:gd name="connsiteX0" fmla="*/ 0 w 559594"/>
                      <a:gd name="connsiteY0" fmla="*/ 0 h 346869"/>
                      <a:gd name="connsiteX1" fmla="*/ 240506 w 559594"/>
                      <a:gd name="connsiteY1" fmla="*/ 159544 h 346869"/>
                      <a:gd name="connsiteX2" fmla="*/ 559594 w 559594"/>
                      <a:gd name="connsiteY2" fmla="*/ 346869 h 346869"/>
                      <a:gd name="connsiteX3" fmla="*/ 195262 w 559594"/>
                      <a:gd name="connsiteY3" fmla="*/ 215900 h 346869"/>
                      <a:gd name="connsiteX4" fmla="*/ 0 w 559594"/>
                      <a:gd name="connsiteY4" fmla="*/ 0 h 346869"/>
                      <a:gd name="connsiteX0" fmla="*/ 0 w 559594"/>
                      <a:gd name="connsiteY0" fmla="*/ 0 h 346869"/>
                      <a:gd name="connsiteX1" fmla="*/ 240506 w 559594"/>
                      <a:gd name="connsiteY1" fmla="*/ 159544 h 346869"/>
                      <a:gd name="connsiteX2" fmla="*/ 559594 w 559594"/>
                      <a:gd name="connsiteY2" fmla="*/ 346869 h 346869"/>
                      <a:gd name="connsiteX3" fmla="*/ 195262 w 559594"/>
                      <a:gd name="connsiteY3" fmla="*/ 215900 h 346869"/>
                      <a:gd name="connsiteX4" fmla="*/ 0 w 559594"/>
                      <a:gd name="connsiteY4" fmla="*/ 0 h 346869"/>
                      <a:gd name="connsiteX0" fmla="*/ 0 w 559594"/>
                      <a:gd name="connsiteY0" fmla="*/ 0 h 346869"/>
                      <a:gd name="connsiteX1" fmla="*/ 240506 w 559594"/>
                      <a:gd name="connsiteY1" fmla="*/ 159544 h 346869"/>
                      <a:gd name="connsiteX2" fmla="*/ 559594 w 559594"/>
                      <a:gd name="connsiteY2" fmla="*/ 346869 h 346869"/>
                      <a:gd name="connsiteX3" fmla="*/ 195262 w 559594"/>
                      <a:gd name="connsiteY3" fmla="*/ 215900 h 346869"/>
                      <a:gd name="connsiteX4" fmla="*/ 0 w 559594"/>
                      <a:gd name="connsiteY4" fmla="*/ 0 h 346869"/>
                      <a:gd name="connsiteX0" fmla="*/ 0 w 559594"/>
                      <a:gd name="connsiteY0" fmla="*/ 0 h 346869"/>
                      <a:gd name="connsiteX1" fmla="*/ 219075 w 559594"/>
                      <a:gd name="connsiteY1" fmla="*/ 147638 h 346869"/>
                      <a:gd name="connsiteX2" fmla="*/ 559594 w 559594"/>
                      <a:gd name="connsiteY2" fmla="*/ 346869 h 346869"/>
                      <a:gd name="connsiteX3" fmla="*/ 195262 w 559594"/>
                      <a:gd name="connsiteY3" fmla="*/ 215900 h 346869"/>
                      <a:gd name="connsiteX4" fmla="*/ 0 w 559594"/>
                      <a:gd name="connsiteY4" fmla="*/ 0 h 346869"/>
                      <a:gd name="connsiteX0" fmla="*/ 0 w 559594"/>
                      <a:gd name="connsiteY0" fmla="*/ 0 h 346869"/>
                      <a:gd name="connsiteX1" fmla="*/ 219075 w 559594"/>
                      <a:gd name="connsiteY1" fmla="*/ 147638 h 346869"/>
                      <a:gd name="connsiteX2" fmla="*/ 559594 w 559594"/>
                      <a:gd name="connsiteY2" fmla="*/ 346869 h 346869"/>
                      <a:gd name="connsiteX3" fmla="*/ 183355 w 559594"/>
                      <a:gd name="connsiteY3" fmla="*/ 208756 h 346869"/>
                      <a:gd name="connsiteX4" fmla="*/ 0 w 559594"/>
                      <a:gd name="connsiteY4" fmla="*/ 0 h 346869"/>
                      <a:gd name="connsiteX0" fmla="*/ 0 w 376239"/>
                      <a:gd name="connsiteY0" fmla="*/ 61118 h 199231"/>
                      <a:gd name="connsiteX1" fmla="*/ 35720 w 376239"/>
                      <a:gd name="connsiteY1" fmla="*/ 0 h 199231"/>
                      <a:gd name="connsiteX2" fmla="*/ 376239 w 376239"/>
                      <a:gd name="connsiteY2" fmla="*/ 199231 h 199231"/>
                      <a:gd name="connsiteX3" fmla="*/ 0 w 376239"/>
                      <a:gd name="connsiteY3" fmla="*/ 61118 h 199231"/>
                      <a:gd name="connsiteX0" fmla="*/ 0 w 376239"/>
                      <a:gd name="connsiteY0" fmla="*/ 61118 h 199231"/>
                      <a:gd name="connsiteX1" fmla="*/ 35720 w 376239"/>
                      <a:gd name="connsiteY1" fmla="*/ 0 h 199231"/>
                      <a:gd name="connsiteX2" fmla="*/ 376239 w 376239"/>
                      <a:gd name="connsiteY2" fmla="*/ 199231 h 199231"/>
                      <a:gd name="connsiteX3" fmla="*/ 0 w 376239"/>
                      <a:gd name="connsiteY3" fmla="*/ 61118 h 199231"/>
                      <a:gd name="connsiteX0" fmla="*/ 0 w 376239"/>
                      <a:gd name="connsiteY0" fmla="*/ 61118 h 199231"/>
                      <a:gd name="connsiteX1" fmla="*/ 35720 w 376239"/>
                      <a:gd name="connsiteY1" fmla="*/ 0 h 199231"/>
                      <a:gd name="connsiteX2" fmla="*/ 376239 w 376239"/>
                      <a:gd name="connsiteY2" fmla="*/ 199231 h 199231"/>
                      <a:gd name="connsiteX3" fmla="*/ 0 w 376239"/>
                      <a:gd name="connsiteY3" fmla="*/ 61118 h 199231"/>
                      <a:gd name="connsiteX0" fmla="*/ 0 w 376239"/>
                      <a:gd name="connsiteY0" fmla="*/ 76993 h 215106"/>
                      <a:gd name="connsiteX1" fmla="*/ 42070 w 376239"/>
                      <a:gd name="connsiteY1" fmla="*/ 0 h 215106"/>
                      <a:gd name="connsiteX2" fmla="*/ 376239 w 376239"/>
                      <a:gd name="connsiteY2" fmla="*/ 215106 h 215106"/>
                      <a:gd name="connsiteX3" fmla="*/ 0 w 376239"/>
                      <a:gd name="connsiteY3" fmla="*/ 76993 h 215106"/>
                      <a:gd name="connsiteX0" fmla="*/ 0 w 376239"/>
                      <a:gd name="connsiteY0" fmla="*/ 76993 h 215106"/>
                      <a:gd name="connsiteX1" fmla="*/ 35720 w 376239"/>
                      <a:gd name="connsiteY1" fmla="*/ 0 h 215106"/>
                      <a:gd name="connsiteX2" fmla="*/ 376239 w 376239"/>
                      <a:gd name="connsiteY2" fmla="*/ 215106 h 215106"/>
                      <a:gd name="connsiteX3" fmla="*/ 0 w 376239"/>
                      <a:gd name="connsiteY3" fmla="*/ 76993 h 215106"/>
                      <a:gd name="connsiteX0" fmla="*/ 0 w 381002"/>
                      <a:gd name="connsiteY0" fmla="*/ 76993 h 215106"/>
                      <a:gd name="connsiteX1" fmla="*/ 40483 w 381002"/>
                      <a:gd name="connsiteY1" fmla="*/ 0 h 215106"/>
                      <a:gd name="connsiteX2" fmla="*/ 381002 w 381002"/>
                      <a:gd name="connsiteY2" fmla="*/ 215106 h 215106"/>
                      <a:gd name="connsiteX3" fmla="*/ 0 w 381002"/>
                      <a:gd name="connsiteY3" fmla="*/ 76993 h 215106"/>
                    </a:gdLst>
                    <a:ahLst/>
                    <a:cxnLst>
                      <a:cxn ang="0">
                        <a:pos x="connsiteX0" y="connsiteY0"/>
                      </a:cxn>
                      <a:cxn ang="0">
                        <a:pos x="connsiteX1" y="connsiteY1"/>
                      </a:cxn>
                      <a:cxn ang="0">
                        <a:pos x="connsiteX2" y="connsiteY2"/>
                      </a:cxn>
                      <a:cxn ang="0">
                        <a:pos x="connsiteX3" y="connsiteY3"/>
                      </a:cxn>
                    </a:cxnLst>
                    <a:rect l="l" t="t" r="r" b="b"/>
                    <a:pathLst>
                      <a:path w="381002" h="215106">
                        <a:moveTo>
                          <a:pt x="0" y="76993"/>
                        </a:moveTo>
                        <a:cubicBezTo>
                          <a:pt x="19051" y="61382"/>
                          <a:pt x="33338" y="27516"/>
                          <a:pt x="40483" y="0"/>
                        </a:cubicBezTo>
                        <a:cubicBezTo>
                          <a:pt x="153196" y="67204"/>
                          <a:pt x="299244" y="155046"/>
                          <a:pt x="381002" y="215106"/>
                        </a:cubicBezTo>
                        <a:cubicBezTo>
                          <a:pt x="293689" y="202405"/>
                          <a:pt x="130175" y="139699"/>
                          <a:pt x="0" y="76993"/>
                        </a:cubicBezTo>
                        <a:close/>
                      </a:path>
                    </a:pathLst>
                  </a:custGeom>
                  <a:solidFill>
                    <a:srgbClr val="D9D9D9"/>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60" name="Rectangle 15"/>
                  <p:cNvSpPr/>
                  <p:nvPr/>
                </p:nvSpPr>
                <p:spPr>
                  <a:xfrm rot="1545906" flipH="1">
                    <a:off x="5155839" y="3113253"/>
                    <a:ext cx="278462" cy="218126"/>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31031"/>
                      <a:gd name="connsiteY0" fmla="*/ 0 h 368300"/>
                      <a:gd name="connsiteX1" fmla="*/ 631031 w 631031"/>
                      <a:gd name="connsiteY1" fmla="*/ 259556 h 368300"/>
                      <a:gd name="connsiteX2" fmla="*/ 571500 w 631031"/>
                      <a:gd name="connsiteY2" fmla="*/ 368300 h 368300"/>
                      <a:gd name="connsiteX3" fmla="*/ 0 w 631031"/>
                      <a:gd name="connsiteY3" fmla="*/ 368300 h 368300"/>
                      <a:gd name="connsiteX4" fmla="*/ 0 w 631031"/>
                      <a:gd name="connsiteY4" fmla="*/ 0 h 368300"/>
                      <a:gd name="connsiteX0" fmla="*/ 366712 w 631031"/>
                      <a:gd name="connsiteY0" fmla="*/ 0 h 258763"/>
                      <a:gd name="connsiteX1" fmla="*/ 631031 w 631031"/>
                      <a:gd name="connsiteY1" fmla="*/ 150019 h 258763"/>
                      <a:gd name="connsiteX2" fmla="*/ 571500 w 631031"/>
                      <a:gd name="connsiteY2" fmla="*/ 258763 h 258763"/>
                      <a:gd name="connsiteX3" fmla="*/ 0 w 631031"/>
                      <a:gd name="connsiteY3" fmla="*/ 258763 h 258763"/>
                      <a:gd name="connsiteX4" fmla="*/ 366712 w 631031"/>
                      <a:gd name="connsiteY4" fmla="*/ 0 h 258763"/>
                      <a:gd name="connsiteX0" fmla="*/ 111919 w 376238"/>
                      <a:gd name="connsiteY0" fmla="*/ 0 h 258763"/>
                      <a:gd name="connsiteX1" fmla="*/ 376238 w 376238"/>
                      <a:gd name="connsiteY1" fmla="*/ 150019 h 258763"/>
                      <a:gd name="connsiteX2" fmla="*/ 316707 w 376238"/>
                      <a:gd name="connsiteY2" fmla="*/ 258763 h 258763"/>
                      <a:gd name="connsiteX3" fmla="*/ 0 w 376238"/>
                      <a:gd name="connsiteY3" fmla="*/ 146844 h 258763"/>
                      <a:gd name="connsiteX4" fmla="*/ 111919 w 376238"/>
                      <a:gd name="connsiteY4" fmla="*/ 0 h 258763"/>
                      <a:gd name="connsiteX0" fmla="*/ 111919 w 376238"/>
                      <a:gd name="connsiteY0" fmla="*/ 0 h 258763"/>
                      <a:gd name="connsiteX1" fmla="*/ 376238 w 376238"/>
                      <a:gd name="connsiteY1" fmla="*/ 150019 h 258763"/>
                      <a:gd name="connsiteX2" fmla="*/ 316707 w 376238"/>
                      <a:gd name="connsiteY2" fmla="*/ 258763 h 258763"/>
                      <a:gd name="connsiteX3" fmla="*/ 0 w 376238"/>
                      <a:gd name="connsiteY3" fmla="*/ 146844 h 258763"/>
                      <a:gd name="connsiteX4" fmla="*/ 111919 w 376238"/>
                      <a:gd name="connsiteY4" fmla="*/ 0 h 258763"/>
                      <a:gd name="connsiteX0" fmla="*/ 111919 w 376238"/>
                      <a:gd name="connsiteY0" fmla="*/ 0 h 258763"/>
                      <a:gd name="connsiteX1" fmla="*/ 376238 w 376238"/>
                      <a:gd name="connsiteY1" fmla="*/ 150019 h 258763"/>
                      <a:gd name="connsiteX2" fmla="*/ 316707 w 376238"/>
                      <a:gd name="connsiteY2" fmla="*/ 258763 h 258763"/>
                      <a:gd name="connsiteX3" fmla="*/ 0 w 376238"/>
                      <a:gd name="connsiteY3" fmla="*/ 146844 h 258763"/>
                      <a:gd name="connsiteX4" fmla="*/ 111919 w 376238"/>
                      <a:gd name="connsiteY4" fmla="*/ 0 h 258763"/>
                      <a:gd name="connsiteX0" fmla="*/ 111919 w 376238"/>
                      <a:gd name="connsiteY0" fmla="*/ 0 h 258763"/>
                      <a:gd name="connsiteX1" fmla="*/ 376238 w 376238"/>
                      <a:gd name="connsiteY1" fmla="*/ 150019 h 258763"/>
                      <a:gd name="connsiteX2" fmla="*/ 316707 w 376238"/>
                      <a:gd name="connsiteY2" fmla="*/ 258763 h 258763"/>
                      <a:gd name="connsiteX3" fmla="*/ 0 w 376238"/>
                      <a:gd name="connsiteY3" fmla="*/ 146844 h 258763"/>
                      <a:gd name="connsiteX4" fmla="*/ 111919 w 376238"/>
                      <a:gd name="connsiteY4" fmla="*/ 0 h 258763"/>
                      <a:gd name="connsiteX0" fmla="*/ 104776 w 369095"/>
                      <a:gd name="connsiteY0" fmla="*/ 0 h 258763"/>
                      <a:gd name="connsiteX1" fmla="*/ 369095 w 369095"/>
                      <a:gd name="connsiteY1" fmla="*/ 150019 h 258763"/>
                      <a:gd name="connsiteX2" fmla="*/ 309564 w 369095"/>
                      <a:gd name="connsiteY2" fmla="*/ 258763 h 258763"/>
                      <a:gd name="connsiteX3" fmla="*/ 0 w 369095"/>
                      <a:gd name="connsiteY3" fmla="*/ 139700 h 258763"/>
                      <a:gd name="connsiteX4" fmla="*/ 104776 w 369095"/>
                      <a:gd name="connsiteY4" fmla="*/ 0 h 258763"/>
                      <a:gd name="connsiteX0" fmla="*/ 104776 w 369095"/>
                      <a:gd name="connsiteY0" fmla="*/ 0 h 258763"/>
                      <a:gd name="connsiteX1" fmla="*/ 369095 w 369095"/>
                      <a:gd name="connsiteY1" fmla="*/ 150019 h 258763"/>
                      <a:gd name="connsiteX2" fmla="*/ 309564 w 369095"/>
                      <a:gd name="connsiteY2" fmla="*/ 258763 h 258763"/>
                      <a:gd name="connsiteX3" fmla="*/ 0 w 369095"/>
                      <a:gd name="connsiteY3" fmla="*/ 139700 h 258763"/>
                      <a:gd name="connsiteX4" fmla="*/ 104776 w 369095"/>
                      <a:gd name="connsiteY4" fmla="*/ 0 h 258763"/>
                      <a:gd name="connsiteX0" fmla="*/ 104776 w 369095"/>
                      <a:gd name="connsiteY0" fmla="*/ 0 h 206375"/>
                      <a:gd name="connsiteX1" fmla="*/ 369095 w 369095"/>
                      <a:gd name="connsiteY1" fmla="*/ 150019 h 206375"/>
                      <a:gd name="connsiteX2" fmla="*/ 230983 w 369095"/>
                      <a:gd name="connsiteY2" fmla="*/ 206375 h 206375"/>
                      <a:gd name="connsiteX3" fmla="*/ 0 w 369095"/>
                      <a:gd name="connsiteY3" fmla="*/ 139700 h 206375"/>
                      <a:gd name="connsiteX4" fmla="*/ 104776 w 369095"/>
                      <a:gd name="connsiteY4" fmla="*/ 0 h 206375"/>
                      <a:gd name="connsiteX0" fmla="*/ 104776 w 369095"/>
                      <a:gd name="connsiteY0" fmla="*/ 0 h 261144"/>
                      <a:gd name="connsiteX1" fmla="*/ 369095 w 369095"/>
                      <a:gd name="connsiteY1" fmla="*/ 150019 h 261144"/>
                      <a:gd name="connsiteX2" fmla="*/ 278608 w 369095"/>
                      <a:gd name="connsiteY2" fmla="*/ 261144 h 261144"/>
                      <a:gd name="connsiteX3" fmla="*/ 0 w 369095"/>
                      <a:gd name="connsiteY3" fmla="*/ 139700 h 261144"/>
                      <a:gd name="connsiteX4" fmla="*/ 104776 w 369095"/>
                      <a:gd name="connsiteY4" fmla="*/ 0 h 261144"/>
                      <a:gd name="connsiteX0" fmla="*/ 104776 w 369095"/>
                      <a:gd name="connsiteY0" fmla="*/ 0 h 263525"/>
                      <a:gd name="connsiteX1" fmla="*/ 369095 w 369095"/>
                      <a:gd name="connsiteY1" fmla="*/ 150019 h 263525"/>
                      <a:gd name="connsiteX2" fmla="*/ 271464 w 369095"/>
                      <a:gd name="connsiteY2" fmla="*/ 263525 h 263525"/>
                      <a:gd name="connsiteX3" fmla="*/ 0 w 369095"/>
                      <a:gd name="connsiteY3" fmla="*/ 139700 h 263525"/>
                      <a:gd name="connsiteX4" fmla="*/ 104776 w 369095"/>
                      <a:gd name="connsiteY4" fmla="*/ 0 h 263525"/>
                      <a:gd name="connsiteX0" fmla="*/ 104776 w 302420"/>
                      <a:gd name="connsiteY0" fmla="*/ 0 h 263525"/>
                      <a:gd name="connsiteX1" fmla="*/ 302420 w 302420"/>
                      <a:gd name="connsiteY1" fmla="*/ 78581 h 263525"/>
                      <a:gd name="connsiteX2" fmla="*/ 271464 w 302420"/>
                      <a:gd name="connsiteY2" fmla="*/ 263525 h 263525"/>
                      <a:gd name="connsiteX3" fmla="*/ 0 w 302420"/>
                      <a:gd name="connsiteY3" fmla="*/ 139700 h 263525"/>
                      <a:gd name="connsiteX4" fmla="*/ 104776 w 302420"/>
                      <a:gd name="connsiteY4" fmla="*/ 0 h 263525"/>
                      <a:gd name="connsiteX0" fmla="*/ 104776 w 354807"/>
                      <a:gd name="connsiteY0" fmla="*/ 0 h 263525"/>
                      <a:gd name="connsiteX1" fmla="*/ 354807 w 354807"/>
                      <a:gd name="connsiteY1" fmla="*/ 135731 h 263525"/>
                      <a:gd name="connsiteX2" fmla="*/ 271464 w 354807"/>
                      <a:gd name="connsiteY2" fmla="*/ 263525 h 263525"/>
                      <a:gd name="connsiteX3" fmla="*/ 0 w 354807"/>
                      <a:gd name="connsiteY3" fmla="*/ 139700 h 263525"/>
                      <a:gd name="connsiteX4" fmla="*/ 104776 w 354807"/>
                      <a:gd name="connsiteY4" fmla="*/ 0 h 263525"/>
                      <a:gd name="connsiteX0" fmla="*/ 104776 w 359570"/>
                      <a:gd name="connsiteY0" fmla="*/ 0 h 263525"/>
                      <a:gd name="connsiteX1" fmla="*/ 359570 w 359570"/>
                      <a:gd name="connsiteY1" fmla="*/ 135731 h 263525"/>
                      <a:gd name="connsiteX2" fmla="*/ 271464 w 359570"/>
                      <a:gd name="connsiteY2" fmla="*/ 263525 h 263525"/>
                      <a:gd name="connsiteX3" fmla="*/ 0 w 359570"/>
                      <a:gd name="connsiteY3" fmla="*/ 139700 h 263525"/>
                      <a:gd name="connsiteX4" fmla="*/ 104776 w 359570"/>
                      <a:gd name="connsiteY4" fmla="*/ 0 h 263525"/>
                      <a:gd name="connsiteX0" fmla="*/ 104776 w 359570"/>
                      <a:gd name="connsiteY0" fmla="*/ 0 h 263525"/>
                      <a:gd name="connsiteX1" fmla="*/ 359570 w 359570"/>
                      <a:gd name="connsiteY1" fmla="*/ 135731 h 263525"/>
                      <a:gd name="connsiteX2" fmla="*/ 271464 w 359570"/>
                      <a:gd name="connsiteY2" fmla="*/ 263525 h 263525"/>
                      <a:gd name="connsiteX3" fmla="*/ 0 w 359570"/>
                      <a:gd name="connsiteY3" fmla="*/ 139700 h 263525"/>
                      <a:gd name="connsiteX4" fmla="*/ 104776 w 359570"/>
                      <a:gd name="connsiteY4" fmla="*/ 0 h 263525"/>
                      <a:gd name="connsiteX0" fmla="*/ 104776 w 359570"/>
                      <a:gd name="connsiteY0" fmla="*/ 0 h 263525"/>
                      <a:gd name="connsiteX1" fmla="*/ 359570 w 359570"/>
                      <a:gd name="connsiteY1" fmla="*/ 135731 h 263525"/>
                      <a:gd name="connsiteX2" fmla="*/ 271464 w 359570"/>
                      <a:gd name="connsiteY2" fmla="*/ 263525 h 263525"/>
                      <a:gd name="connsiteX3" fmla="*/ 0 w 359570"/>
                      <a:gd name="connsiteY3" fmla="*/ 139700 h 263525"/>
                      <a:gd name="connsiteX4" fmla="*/ 104776 w 359570"/>
                      <a:gd name="connsiteY4" fmla="*/ 0 h 263525"/>
                      <a:gd name="connsiteX0" fmla="*/ 104776 w 359570"/>
                      <a:gd name="connsiteY0" fmla="*/ 0 h 263525"/>
                      <a:gd name="connsiteX1" fmla="*/ 359570 w 359570"/>
                      <a:gd name="connsiteY1" fmla="*/ 135731 h 263525"/>
                      <a:gd name="connsiteX2" fmla="*/ 271464 w 359570"/>
                      <a:gd name="connsiteY2" fmla="*/ 263525 h 263525"/>
                      <a:gd name="connsiteX3" fmla="*/ 0 w 359570"/>
                      <a:gd name="connsiteY3" fmla="*/ 139700 h 263525"/>
                      <a:gd name="connsiteX4" fmla="*/ 104776 w 359570"/>
                      <a:gd name="connsiteY4" fmla="*/ 0 h 263525"/>
                      <a:gd name="connsiteX0" fmla="*/ 104776 w 359570"/>
                      <a:gd name="connsiteY0" fmla="*/ 0 h 263525"/>
                      <a:gd name="connsiteX1" fmla="*/ 359570 w 359570"/>
                      <a:gd name="connsiteY1" fmla="*/ 135731 h 263525"/>
                      <a:gd name="connsiteX2" fmla="*/ 271464 w 359570"/>
                      <a:gd name="connsiteY2" fmla="*/ 263525 h 263525"/>
                      <a:gd name="connsiteX3" fmla="*/ 0 w 359570"/>
                      <a:gd name="connsiteY3" fmla="*/ 139700 h 263525"/>
                      <a:gd name="connsiteX4" fmla="*/ 104776 w 359570"/>
                      <a:gd name="connsiteY4" fmla="*/ 0 h 263525"/>
                      <a:gd name="connsiteX0" fmla="*/ 104776 w 300039"/>
                      <a:gd name="connsiteY0" fmla="*/ 0 h 263525"/>
                      <a:gd name="connsiteX1" fmla="*/ 300039 w 300039"/>
                      <a:gd name="connsiteY1" fmla="*/ 97631 h 263525"/>
                      <a:gd name="connsiteX2" fmla="*/ 271464 w 300039"/>
                      <a:gd name="connsiteY2" fmla="*/ 263525 h 263525"/>
                      <a:gd name="connsiteX3" fmla="*/ 0 w 300039"/>
                      <a:gd name="connsiteY3" fmla="*/ 139700 h 263525"/>
                      <a:gd name="connsiteX4" fmla="*/ 104776 w 300039"/>
                      <a:gd name="connsiteY4" fmla="*/ 0 h 263525"/>
                      <a:gd name="connsiteX0" fmla="*/ 104776 w 352427"/>
                      <a:gd name="connsiteY0" fmla="*/ 0 h 263525"/>
                      <a:gd name="connsiteX1" fmla="*/ 352427 w 352427"/>
                      <a:gd name="connsiteY1" fmla="*/ 142874 h 263525"/>
                      <a:gd name="connsiteX2" fmla="*/ 271464 w 352427"/>
                      <a:gd name="connsiteY2" fmla="*/ 263525 h 263525"/>
                      <a:gd name="connsiteX3" fmla="*/ 0 w 352427"/>
                      <a:gd name="connsiteY3" fmla="*/ 139700 h 263525"/>
                      <a:gd name="connsiteX4" fmla="*/ 104776 w 352427"/>
                      <a:gd name="connsiteY4" fmla="*/ 0 h 263525"/>
                      <a:gd name="connsiteX0" fmla="*/ 104776 w 352427"/>
                      <a:gd name="connsiteY0" fmla="*/ 0 h 263525"/>
                      <a:gd name="connsiteX1" fmla="*/ 352427 w 352427"/>
                      <a:gd name="connsiteY1" fmla="*/ 142874 h 263525"/>
                      <a:gd name="connsiteX2" fmla="*/ 271464 w 352427"/>
                      <a:gd name="connsiteY2" fmla="*/ 263525 h 263525"/>
                      <a:gd name="connsiteX3" fmla="*/ 0 w 352427"/>
                      <a:gd name="connsiteY3" fmla="*/ 139700 h 263525"/>
                      <a:gd name="connsiteX4" fmla="*/ 104776 w 352427"/>
                      <a:gd name="connsiteY4" fmla="*/ 0 h 263525"/>
                      <a:gd name="connsiteX0" fmla="*/ 104776 w 345283"/>
                      <a:gd name="connsiteY0" fmla="*/ 0 h 263525"/>
                      <a:gd name="connsiteX1" fmla="*/ 345283 w 345283"/>
                      <a:gd name="connsiteY1" fmla="*/ 133349 h 263525"/>
                      <a:gd name="connsiteX2" fmla="*/ 271464 w 345283"/>
                      <a:gd name="connsiteY2" fmla="*/ 263525 h 263525"/>
                      <a:gd name="connsiteX3" fmla="*/ 0 w 345283"/>
                      <a:gd name="connsiteY3" fmla="*/ 139700 h 263525"/>
                      <a:gd name="connsiteX4" fmla="*/ 104776 w 345283"/>
                      <a:gd name="connsiteY4" fmla="*/ 0 h 263525"/>
                      <a:gd name="connsiteX0" fmla="*/ 104776 w 345283"/>
                      <a:gd name="connsiteY0" fmla="*/ 0 h 263525"/>
                      <a:gd name="connsiteX1" fmla="*/ 345283 w 345283"/>
                      <a:gd name="connsiteY1" fmla="*/ 133349 h 263525"/>
                      <a:gd name="connsiteX2" fmla="*/ 271464 w 345283"/>
                      <a:gd name="connsiteY2" fmla="*/ 263525 h 263525"/>
                      <a:gd name="connsiteX3" fmla="*/ 0 w 345283"/>
                      <a:gd name="connsiteY3" fmla="*/ 139700 h 263525"/>
                      <a:gd name="connsiteX4" fmla="*/ 104776 w 345283"/>
                      <a:gd name="connsiteY4" fmla="*/ 0 h 263525"/>
                      <a:gd name="connsiteX0" fmla="*/ 104776 w 345283"/>
                      <a:gd name="connsiteY0" fmla="*/ 0 h 263525"/>
                      <a:gd name="connsiteX1" fmla="*/ 345283 w 345283"/>
                      <a:gd name="connsiteY1" fmla="*/ 133349 h 263525"/>
                      <a:gd name="connsiteX2" fmla="*/ 271464 w 345283"/>
                      <a:gd name="connsiteY2" fmla="*/ 263525 h 263525"/>
                      <a:gd name="connsiteX3" fmla="*/ 0 w 345283"/>
                      <a:gd name="connsiteY3" fmla="*/ 139700 h 263525"/>
                      <a:gd name="connsiteX4" fmla="*/ 104776 w 345283"/>
                      <a:gd name="connsiteY4" fmla="*/ 0 h 263525"/>
                      <a:gd name="connsiteX0" fmla="*/ 104776 w 345283"/>
                      <a:gd name="connsiteY0" fmla="*/ 0 h 251619"/>
                      <a:gd name="connsiteX1" fmla="*/ 345283 w 345283"/>
                      <a:gd name="connsiteY1" fmla="*/ 133349 h 251619"/>
                      <a:gd name="connsiteX2" fmla="*/ 266702 w 345283"/>
                      <a:gd name="connsiteY2" fmla="*/ 251619 h 251619"/>
                      <a:gd name="connsiteX3" fmla="*/ 0 w 345283"/>
                      <a:gd name="connsiteY3" fmla="*/ 139700 h 251619"/>
                      <a:gd name="connsiteX4" fmla="*/ 104776 w 345283"/>
                      <a:gd name="connsiteY4" fmla="*/ 0 h 251619"/>
                      <a:gd name="connsiteX0" fmla="*/ 104776 w 345283"/>
                      <a:gd name="connsiteY0" fmla="*/ 0 h 251619"/>
                      <a:gd name="connsiteX1" fmla="*/ 345283 w 345283"/>
                      <a:gd name="connsiteY1" fmla="*/ 133349 h 251619"/>
                      <a:gd name="connsiteX2" fmla="*/ 266702 w 345283"/>
                      <a:gd name="connsiteY2" fmla="*/ 251619 h 251619"/>
                      <a:gd name="connsiteX3" fmla="*/ 0 w 345283"/>
                      <a:gd name="connsiteY3" fmla="*/ 139700 h 251619"/>
                      <a:gd name="connsiteX4" fmla="*/ 104776 w 345283"/>
                      <a:gd name="connsiteY4" fmla="*/ 0 h 251619"/>
                      <a:gd name="connsiteX0" fmla="*/ 104776 w 345283"/>
                      <a:gd name="connsiteY0" fmla="*/ 0 h 251619"/>
                      <a:gd name="connsiteX1" fmla="*/ 345283 w 345283"/>
                      <a:gd name="connsiteY1" fmla="*/ 133349 h 251619"/>
                      <a:gd name="connsiteX2" fmla="*/ 266702 w 345283"/>
                      <a:gd name="connsiteY2" fmla="*/ 251619 h 251619"/>
                      <a:gd name="connsiteX3" fmla="*/ 0 w 345283"/>
                      <a:gd name="connsiteY3" fmla="*/ 139700 h 251619"/>
                      <a:gd name="connsiteX4" fmla="*/ 104776 w 345283"/>
                      <a:gd name="connsiteY4" fmla="*/ 0 h 251619"/>
                      <a:gd name="connsiteX0" fmla="*/ 104776 w 345283"/>
                      <a:gd name="connsiteY0" fmla="*/ 0 h 254000"/>
                      <a:gd name="connsiteX1" fmla="*/ 345283 w 345283"/>
                      <a:gd name="connsiteY1" fmla="*/ 133349 h 254000"/>
                      <a:gd name="connsiteX2" fmla="*/ 261939 w 345283"/>
                      <a:gd name="connsiteY2" fmla="*/ 254000 h 254000"/>
                      <a:gd name="connsiteX3" fmla="*/ 0 w 345283"/>
                      <a:gd name="connsiteY3" fmla="*/ 139700 h 254000"/>
                      <a:gd name="connsiteX4" fmla="*/ 104776 w 345283"/>
                      <a:gd name="connsiteY4" fmla="*/ 0 h 254000"/>
                      <a:gd name="connsiteX0" fmla="*/ 104776 w 345283"/>
                      <a:gd name="connsiteY0" fmla="*/ 0 h 254000"/>
                      <a:gd name="connsiteX1" fmla="*/ 345283 w 345283"/>
                      <a:gd name="connsiteY1" fmla="*/ 133349 h 254000"/>
                      <a:gd name="connsiteX2" fmla="*/ 261939 w 345283"/>
                      <a:gd name="connsiteY2" fmla="*/ 254000 h 254000"/>
                      <a:gd name="connsiteX3" fmla="*/ 0 w 345283"/>
                      <a:gd name="connsiteY3" fmla="*/ 139700 h 254000"/>
                      <a:gd name="connsiteX4" fmla="*/ 104776 w 345283"/>
                      <a:gd name="connsiteY4" fmla="*/ 0 h 254000"/>
                      <a:gd name="connsiteX0" fmla="*/ 104776 w 345283"/>
                      <a:gd name="connsiteY0" fmla="*/ 0 h 254000"/>
                      <a:gd name="connsiteX1" fmla="*/ 345283 w 345283"/>
                      <a:gd name="connsiteY1" fmla="*/ 133349 h 254000"/>
                      <a:gd name="connsiteX2" fmla="*/ 261939 w 345283"/>
                      <a:gd name="connsiteY2" fmla="*/ 254000 h 254000"/>
                      <a:gd name="connsiteX3" fmla="*/ 0 w 345283"/>
                      <a:gd name="connsiteY3" fmla="*/ 139700 h 254000"/>
                      <a:gd name="connsiteX4" fmla="*/ 104776 w 345283"/>
                      <a:gd name="connsiteY4" fmla="*/ 0 h 254000"/>
                      <a:gd name="connsiteX0" fmla="*/ 104776 w 345283"/>
                      <a:gd name="connsiteY0" fmla="*/ 0 h 254000"/>
                      <a:gd name="connsiteX1" fmla="*/ 345283 w 345283"/>
                      <a:gd name="connsiteY1" fmla="*/ 133349 h 254000"/>
                      <a:gd name="connsiteX2" fmla="*/ 261939 w 345283"/>
                      <a:gd name="connsiteY2" fmla="*/ 254000 h 254000"/>
                      <a:gd name="connsiteX3" fmla="*/ 0 w 345283"/>
                      <a:gd name="connsiteY3" fmla="*/ 139700 h 254000"/>
                      <a:gd name="connsiteX4" fmla="*/ 104776 w 345283"/>
                      <a:gd name="connsiteY4" fmla="*/ 0 h 254000"/>
                      <a:gd name="connsiteX0" fmla="*/ 104776 w 345283"/>
                      <a:gd name="connsiteY0" fmla="*/ 0 h 256381"/>
                      <a:gd name="connsiteX1" fmla="*/ 345283 w 345283"/>
                      <a:gd name="connsiteY1" fmla="*/ 133349 h 256381"/>
                      <a:gd name="connsiteX2" fmla="*/ 266702 w 345283"/>
                      <a:gd name="connsiteY2" fmla="*/ 256381 h 256381"/>
                      <a:gd name="connsiteX3" fmla="*/ 0 w 345283"/>
                      <a:gd name="connsiteY3" fmla="*/ 139700 h 256381"/>
                      <a:gd name="connsiteX4" fmla="*/ 104776 w 345283"/>
                      <a:gd name="connsiteY4" fmla="*/ 0 h 256381"/>
                      <a:gd name="connsiteX0" fmla="*/ 104776 w 345283"/>
                      <a:gd name="connsiteY0" fmla="*/ 0 h 256381"/>
                      <a:gd name="connsiteX1" fmla="*/ 345283 w 345283"/>
                      <a:gd name="connsiteY1" fmla="*/ 133349 h 256381"/>
                      <a:gd name="connsiteX2" fmla="*/ 266702 w 345283"/>
                      <a:gd name="connsiteY2" fmla="*/ 256381 h 256381"/>
                      <a:gd name="connsiteX3" fmla="*/ 0 w 345283"/>
                      <a:gd name="connsiteY3" fmla="*/ 139700 h 256381"/>
                      <a:gd name="connsiteX4" fmla="*/ 104776 w 345283"/>
                      <a:gd name="connsiteY4" fmla="*/ 0 h 256381"/>
                      <a:gd name="connsiteX0" fmla="*/ 104776 w 345283"/>
                      <a:gd name="connsiteY0" fmla="*/ 0 h 251619"/>
                      <a:gd name="connsiteX1" fmla="*/ 345283 w 345283"/>
                      <a:gd name="connsiteY1" fmla="*/ 133349 h 251619"/>
                      <a:gd name="connsiteX2" fmla="*/ 266702 w 345283"/>
                      <a:gd name="connsiteY2" fmla="*/ 251619 h 251619"/>
                      <a:gd name="connsiteX3" fmla="*/ 0 w 345283"/>
                      <a:gd name="connsiteY3" fmla="*/ 139700 h 251619"/>
                      <a:gd name="connsiteX4" fmla="*/ 104776 w 345283"/>
                      <a:gd name="connsiteY4" fmla="*/ 0 h 251619"/>
                      <a:gd name="connsiteX0" fmla="*/ 104776 w 345283"/>
                      <a:gd name="connsiteY0" fmla="*/ 0 h 256381"/>
                      <a:gd name="connsiteX1" fmla="*/ 345283 w 345283"/>
                      <a:gd name="connsiteY1" fmla="*/ 133349 h 256381"/>
                      <a:gd name="connsiteX2" fmla="*/ 266702 w 345283"/>
                      <a:gd name="connsiteY2" fmla="*/ 256381 h 256381"/>
                      <a:gd name="connsiteX3" fmla="*/ 0 w 345283"/>
                      <a:gd name="connsiteY3" fmla="*/ 139700 h 256381"/>
                      <a:gd name="connsiteX4" fmla="*/ 104776 w 345283"/>
                      <a:gd name="connsiteY4" fmla="*/ 0 h 256381"/>
                      <a:gd name="connsiteX0" fmla="*/ 104776 w 345283"/>
                      <a:gd name="connsiteY0" fmla="*/ 0 h 256381"/>
                      <a:gd name="connsiteX1" fmla="*/ 345283 w 345283"/>
                      <a:gd name="connsiteY1" fmla="*/ 133349 h 256381"/>
                      <a:gd name="connsiteX2" fmla="*/ 266702 w 345283"/>
                      <a:gd name="connsiteY2" fmla="*/ 256381 h 256381"/>
                      <a:gd name="connsiteX3" fmla="*/ 0 w 345283"/>
                      <a:gd name="connsiteY3" fmla="*/ 139700 h 256381"/>
                      <a:gd name="connsiteX4" fmla="*/ 104776 w 345283"/>
                      <a:gd name="connsiteY4" fmla="*/ 0 h 256381"/>
                      <a:gd name="connsiteX0" fmla="*/ 104776 w 345283"/>
                      <a:gd name="connsiteY0" fmla="*/ 0 h 256381"/>
                      <a:gd name="connsiteX1" fmla="*/ 345283 w 345283"/>
                      <a:gd name="connsiteY1" fmla="*/ 133349 h 256381"/>
                      <a:gd name="connsiteX2" fmla="*/ 266702 w 345283"/>
                      <a:gd name="connsiteY2" fmla="*/ 256381 h 256381"/>
                      <a:gd name="connsiteX3" fmla="*/ 0 w 345283"/>
                      <a:gd name="connsiteY3" fmla="*/ 139700 h 256381"/>
                      <a:gd name="connsiteX4" fmla="*/ 104776 w 345283"/>
                      <a:gd name="connsiteY4" fmla="*/ 0 h 256381"/>
                      <a:gd name="connsiteX0" fmla="*/ 107157 w 345283"/>
                      <a:gd name="connsiteY0" fmla="*/ 0 h 258762"/>
                      <a:gd name="connsiteX1" fmla="*/ 345283 w 345283"/>
                      <a:gd name="connsiteY1" fmla="*/ 135730 h 258762"/>
                      <a:gd name="connsiteX2" fmla="*/ 266702 w 345283"/>
                      <a:gd name="connsiteY2" fmla="*/ 258762 h 258762"/>
                      <a:gd name="connsiteX3" fmla="*/ 0 w 345283"/>
                      <a:gd name="connsiteY3" fmla="*/ 142081 h 258762"/>
                      <a:gd name="connsiteX4" fmla="*/ 107157 w 345283"/>
                      <a:gd name="connsiteY4" fmla="*/ 0 h 258762"/>
                      <a:gd name="connsiteX0" fmla="*/ 107157 w 345283"/>
                      <a:gd name="connsiteY0" fmla="*/ 0 h 258762"/>
                      <a:gd name="connsiteX1" fmla="*/ 345283 w 345283"/>
                      <a:gd name="connsiteY1" fmla="*/ 135730 h 258762"/>
                      <a:gd name="connsiteX2" fmla="*/ 266702 w 345283"/>
                      <a:gd name="connsiteY2" fmla="*/ 258762 h 258762"/>
                      <a:gd name="connsiteX3" fmla="*/ 0 w 345283"/>
                      <a:gd name="connsiteY3" fmla="*/ 142081 h 258762"/>
                      <a:gd name="connsiteX4" fmla="*/ 107157 w 345283"/>
                      <a:gd name="connsiteY4" fmla="*/ 0 h 258762"/>
                      <a:gd name="connsiteX0" fmla="*/ 107157 w 345283"/>
                      <a:gd name="connsiteY0" fmla="*/ 0 h 258762"/>
                      <a:gd name="connsiteX1" fmla="*/ 345283 w 345283"/>
                      <a:gd name="connsiteY1" fmla="*/ 135730 h 258762"/>
                      <a:gd name="connsiteX2" fmla="*/ 266702 w 345283"/>
                      <a:gd name="connsiteY2" fmla="*/ 258762 h 258762"/>
                      <a:gd name="connsiteX3" fmla="*/ 0 w 345283"/>
                      <a:gd name="connsiteY3" fmla="*/ 142081 h 258762"/>
                      <a:gd name="connsiteX4" fmla="*/ 107157 w 345283"/>
                      <a:gd name="connsiteY4" fmla="*/ 0 h 258762"/>
                      <a:gd name="connsiteX0" fmla="*/ 107157 w 345322"/>
                      <a:gd name="connsiteY0" fmla="*/ 0 h 258762"/>
                      <a:gd name="connsiteX1" fmla="*/ 345283 w 345322"/>
                      <a:gd name="connsiteY1" fmla="*/ 135730 h 258762"/>
                      <a:gd name="connsiteX2" fmla="*/ 266702 w 345322"/>
                      <a:gd name="connsiteY2" fmla="*/ 258762 h 258762"/>
                      <a:gd name="connsiteX3" fmla="*/ 0 w 345322"/>
                      <a:gd name="connsiteY3" fmla="*/ 142081 h 258762"/>
                      <a:gd name="connsiteX4" fmla="*/ 107157 w 345322"/>
                      <a:gd name="connsiteY4" fmla="*/ 0 h 258762"/>
                      <a:gd name="connsiteX0" fmla="*/ 107157 w 345321"/>
                      <a:gd name="connsiteY0" fmla="*/ 0 h 258762"/>
                      <a:gd name="connsiteX1" fmla="*/ 345283 w 345321"/>
                      <a:gd name="connsiteY1" fmla="*/ 135730 h 258762"/>
                      <a:gd name="connsiteX2" fmla="*/ 264321 w 345321"/>
                      <a:gd name="connsiteY2" fmla="*/ 258762 h 258762"/>
                      <a:gd name="connsiteX3" fmla="*/ 0 w 345321"/>
                      <a:gd name="connsiteY3" fmla="*/ 142081 h 258762"/>
                      <a:gd name="connsiteX4" fmla="*/ 107157 w 345321"/>
                      <a:gd name="connsiteY4" fmla="*/ 0 h 258762"/>
                      <a:gd name="connsiteX0" fmla="*/ 107157 w 345319"/>
                      <a:gd name="connsiteY0" fmla="*/ 0 h 258762"/>
                      <a:gd name="connsiteX1" fmla="*/ 345283 w 345319"/>
                      <a:gd name="connsiteY1" fmla="*/ 135730 h 258762"/>
                      <a:gd name="connsiteX2" fmla="*/ 264321 w 345319"/>
                      <a:gd name="connsiteY2" fmla="*/ 258762 h 258762"/>
                      <a:gd name="connsiteX3" fmla="*/ 0 w 345319"/>
                      <a:gd name="connsiteY3" fmla="*/ 142081 h 258762"/>
                      <a:gd name="connsiteX4" fmla="*/ 107157 w 345319"/>
                      <a:gd name="connsiteY4" fmla="*/ 0 h 258762"/>
                      <a:gd name="connsiteX0" fmla="*/ 107157 w 345283"/>
                      <a:gd name="connsiteY0" fmla="*/ 0 h 258762"/>
                      <a:gd name="connsiteX1" fmla="*/ 345283 w 345283"/>
                      <a:gd name="connsiteY1" fmla="*/ 135730 h 258762"/>
                      <a:gd name="connsiteX2" fmla="*/ 264321 w 345283"/>
                      <a:gd name="connsiteY2" fmla="*/ 258762 h 258762"/>
                      <a:gd name="connsiteX3" fmla="*/ 0 w 345283"/>
                      <a:gd name="connsiteY3" fmla="*/ 142081 h 258762"/>
                      <a:gd name="connsiteX4" fmla="*/ 107157 w 345283"/>
                      <a:gd name="connsiteY4" fmla="*/ 0 h 258762"/>
                      <a:gd name="connsiteX0" fmla="*/ 107157 w 345283"/>
                      <a:gd name="connsiteY0" fmla="*/ 0 h 258762"/>
                      <a:gd name="connsiteX1" fmla="*/ 345283 w 345283"/>
                      <a:gd name="connsiteY1" fmla="*/ 135730 h 258762"/>
                      <a:gd name="connsiteX2" fmla="*/ 264321 w 345283"/>
                      <a:gd name="connsiteY2" fmla="*/ 258762 h 258762"/>
                      <a:gd name="connsiteX3" fmla="*/ 0 w 345283"/>
                      <a:gd name="connsiteY3" fmla="*/ 142081 h 258762"/>
                      <a:gd name="connsiteX4" fmla="*/ 107157 w 345283"/>
                      <a:gd name="connsiteY4" fmla="*/ 0 h 258762"/>
                      <a:gd name="connsiteX0" fmla="*/ 107157 w 345283"/>
                      <a:gd name="connsiteY0" fmla="*/ 0 h 258762"/>
                      <a:gd name="connsiteX1" fmla="*/ 345283 w 345283"/>
                      <a:gd name="connsiteY1" fmla="*/ 135730 h 258762"/>
                      <a:gd name="connsiteX2" fmla="*/ 264321 w 345283"/>
                      <a:gd name="connsiteY2" fmla="*/ 258762 h 258762"/>
                      <a:gd name="connsiteX3" fmla="*/ 0 w 345283"/>
                      <a:gd name="connsiteY3" fmla="*/ 142081 h 258762"/>
                      <a:gd name="connsiteX4" fmla="*/ 107157 w 345283"/>
                      <a:gd name="connsiteY4" fmla="*/ 0 h 258762"/>
                      <a:gd name="connsiteX0" fmla="*/ 107157 w 345283"/>
                      <a:gd name="connsiteY0" fmla="*/ 0 h 258762"/>
                      <a:gd name="connsiteX1" fmla="*/ 345283 w 345283"/>
                      <a:gd name="connsiteY1" fmla="*/ 135730 h 258762"/>
                      <a:gd name="connsiteX2" fmla="*/ 264321 w 345283"/>
                      <a:gd name="connsiteY2" fmla="*/ 258762 h 258762"/>
                      <a:gd name="connsiteX3" fmla="*/ 0 w 345283"/>
                      <a:gd name="connsiteY3" fmla="*/ 142081 h 258762"/>
                      <a:gd name="connsiteX4" fmla="*/ 107157 w 345283"/>
                      <a:gd name="connsiteY4" fmla="*/ 0 h 258762"/>
                      <a:gd name="connsiteX0" fmla="*/ 107157 w 345283"/>
                      <a:gd name="connsiteY0" fmla="*/ 0 h 258762"/>
                      <a:gd name="connsiteX1" fmla="*/ 345283 w 345283"/>
                      <a:gd name="connsiteY1" fmla="*/ 135730 h 258762"/>
                      <a:gd name="connsiteX2" fmla="*/ 264321 w 345283"/>
                      <a:gd name="connsiteY2" fmla="*/ 258762 h 258762"/>
                      <a:gd name="connsiteX3" fmla="*/ 0 w 345283"/>
                      <a:gd name="connsiteY3" fmla="*/ 142081 h 258762"/>
                      <a:gd name="connsiteX4" fmla="*/ 107157 w 345283"/>
                      <a:gd name="connsiteY4" fmla="*/ 0 h 258762"/>
                      <a:gd name="connsiteX0" fmla="*/ 102394 w 345283"/>
                      <a:gd name="connsiteY0" fmla="*/ 0 h 258762"/>
                      <a:gd name="connsiteX1" fmla="*/ 345283 w 345283"/>
                      <a:gd name="connsiteY1" fmla="*/ 135730 h 258762"/>
                      <a:gd name="connsiteX2" fmla="*/ 264321 w 345283"/>
                      <a:gd name="connsiteY2" fmla="*/ 258762 h 258762"/>
                      <a:gd name="connsiteX3" fmla="*/ 0 w 345283"/>
                      <a:gd name="connsiteY3" fmla="*/ 142081 h 258762"/>
                      <a:gd name="connsiteX4" fmla="*/ 102394 w 345283"/>
                      <a:gd name="connsiteY4" fmla="*/ 0 h 258762"/>
                      <a:gd name="connsiteX0" fmla="*/ 102394 w 345283"/>
                      <a:gd name="connsiteY0" fmla="*/ 0 h 258762"/>
                      <a:gd name="connsiteX1" fmla="*/ 345283 w 345283"/>
                      <a:gd name="connsiteY1" fmla="*/ 135730 h 258762"/>
                      <a:gd name="connsiteX2" fmla="*/ 264321 w 345283"/>
                      <a:gd name="connsiteY2" fmla="*/ 258762 h 258762"/>
                      <a:gd name="connsiteX3" fmla="*/ 0 w 345283"/>
                      <a:gd name="connsiteY3" fmla="*/ 142081 h 258762"/>
                      <a:gd name="connsiteX4" fmla="*/ 102394 w 345283"/>
                      <a:gd name="connsiteY4" fmla="*/ 0 h 258762"/>
                      <a:gd name="connsiteX0" fmla="*/ 102394 w 345283"/>
                      <a:gd name="connsiteY0" fmla="*/ 0 h 261143"/>
                      <a:gd name="connsiteX1" fmla="*/ 345283 w 345283"/>
                      <a:gd name="connsiteY1" fmla="*/ 138111 h 261143"/>
                      <a:gd name="connsiteX2" fmla="*/ 264321 w 345283"/>
                      <a:gd name="connsiteY2" fmla="*/ 261143 h 261143"/>
                      <a:gd name="connsiteX3" fmla="*/ 0 w 345283"/>
                      <a:gd name="connsiteY3" fmla="*/ 144462 h 261143"/>
                      <a:gd name="connsiteX4" fmla="*/ 102394 w 345283"/>
                      <a:gd name="connsiteY4" fmla="*/ 0 h 261143"/>
                      <a:gd name="connsiteX0" fmla="*/ 102394 w 345283"/>
                      <a:gd name="connsiteY0" fmla="*/ 0 h 261143"/>
                      <a:gd name="connsiteX1" fmla="*/ 345283 w 345283"/>
                      <a:gd name="connsiteY1" fmla="*/ 138111 h 261143"/>
                      <a:gd name="connsiteX2" fmla="*/ 264321 w 345283"/>
                      <a:gd name="connsiteY2" fmla="*/ 261143 h 261143"/>
                      <a:gd name="connsiteX3" fmla="*/ 0 w 345283"/>
                      <a:gd name="connsiteY3" fmla="*/ 144462 h 261143"/>
                      <a:gd name="connsiteX4" fmla="*/ 102394 w 345283"/>
                      <a:gd name="connsiteY4" fmla="*/ 0 h 261143"/>
                      <a:gd name="connsiteX0" fmla="*/ 102394 w 345283"/>
                      <a:gd name="connsiteY0" fmla="*/ 0 h 261143"/>
                      <a:gd name="connsiteX1" fmla="*/ 345283 w 345283"/>
                      <a:gd name="connsiteY1" fmla="*/ 138111 h 261143"/>
                      <a:gd name="connsiteX2" fmla="*/ 264321 w 345283"/>
                      <a:gd name="connsiteY2" fmla="*/ 261143 h 261143"/>
                      <a:gd name="connsiteX3" fmla="*/ 0 w 345283"/>
                      <a:gd name="connsiteY3" fmla="*/ 144462 h 261143"/>
                      <a:gd name="connsiteX4" fmla="*/ 102394 w 345283"/>
                      <a:gd name="connsiteY4" fmla="*/ 0 h 261143"/>
                      <a:gd name="connsiteX0" fmla="*/ 102394 w 345283"/>
                      <a:gd name="connsiteY0" fmla="*/ 0 h 261143"/>
                      <a:gd name="connsiteX1" fmla="*/ 345283 w 345283"/>
                      <a:gd name="connsiteY1" fmla="*/ 138111 h 261143"/>
                      <a:gd name="connsiteX2" fmla="*/ 264321 w 345283"/>
                      <a:gd name="connsiteY2" fmla="*/ 261143 h 261143"/>
                      <a:gd name="connsiteX3" fmla="*/ 0 w 345283"/>
                      <a:gd name="connsiteY3" fmla="*/ 144462 h 261143"/>
                      <a:gd name="connsiteX4" fmla="*/ 102394 w 345283"/>
                      <a:gd name="connsiteY4" fmla="*/ 0 h 261143"/>
                      <a:gd name="connsiteX0" fmla="*/ 102394 w 345283"/>
                      <a:gd name="connsiteY0" fmla="*/ 0 h 261143"/>
                      <a:gd name="connsiteX1" fmla="*/ 345283 w 345283"/>
                      <a:gd name="connsiteY1" fmla="*/ 138111 h 261143"/>
                      <a:gd name="connsiteX2" fmla="*/ 264321 w 345283"/>
                      <a:gd name="connsiteY2" fmla="*/ 261143 h 261143"/>
                      <a:gd name="connsiteX3" fmla="*/ 0 w 345283"/>
                      <a:gd name="connsiteY3" fmla="*/ 144462 h 261143"/>
                      <a:gd name="connsiteX4" fmla="*/ 102394 w 345283"/>
                      <a:gd name="connsiteY4" fmla="*/ 0 h 261143"/>
                      <a:gd name="connsiteX0" fmla="*/ 102394 w 345283"/>
                      <a:gd name="connsiteY0" fmla="*/ 0 h 261143"/>
                      <a:gd name="connsiteX1" fmla="*/ 345283 w 345283"/>
                      <a:gd name="connsiteY1" fmla="*/ 138111 h 261143"/>
                      <a:gd name="connsiteX2" fmla="*/ 264321 w 345283"/>
                      <a:gd name="connsiteY2" fmla="*/ 261143 h 261143"/>
                      <a:gd name="connsiteX3" fmla="*/ 0 w 345283"/>
                      <a:gd name="connsiteY3" fmla="*/ 144462 h 261143"/>
                      <a:gd name="connsiteX4" fmla="*/ 102394 w 345283"/>
                      <a:gd name="connsiteY4" fmla="*/ 0 h 261143"/>
                      <a:gd name="connsiteX0" fmla="*/ 102394 w 345283"/>
                      <a:gd name="connsiteY0" fmla="*/ 0 h 261143"/>
                      <a:gd name="connsiteX1" fmla="*/ 345283 w 345283"/>
                      <a:gd name="connsiteY1" fmla="*/ 138111 h 261143"/>
                      <a:gd name="connsiteX2" fmla="*/ 264321 w 345283"/>
                      <a:gd name="connsiteY2" fmla="*/ 261143 h 261143"/>
                      <a:gd name="connsiteX3" fmla="*/ 0 w 345283"/>
                      <a:gd name="connsiteY3" fmla="*/ 144462 h 261143"/>
                      <a:gd name="connsiteX4" fmla="*/ 102394 w 345283"/>
                      <a:gd name="connsiteY4" fmla="*/ 0 h 261143"/>
                      <a:gd name="connsiteX0" fmla="*/ 92869 w 335758"/>
                      <a:gd name="connsiteY0" fmla="*/ 0 h 261143"/>
                      <a:gd name="connsiteX1" fmla="*/ 335758 w 335758"/>
                      <a:gd name="connsiteY1" fmla="*/ 138111 h 261143"/>
                      <a:gd name="connsiteX2" fmla="*/ 254796 w 335758"/>
                      <a:gd name="connsiteY2" fmla="*/ 261143 h 261143"/>
                      <a:gd name="connsiteX3" fmla="*/ 0 w 335758"/>
                      <a:gd name="connsiteY3" fmla="*/ 134937 h 261143"/>
                      <a:gd name="connsiteX4" fmla="*/ 92869 w 335758"/>
                      <a:gd name="connsiteY4" fmla="*/ 0 h 261143"/>
                      <a:gd name="connsiteX0" fmla="*/ 92869 w 335758"/>
                      <a:gd name="connsiteY0" fmla="*/ 0 h 261143"/>
                      <a:gd name="connsiteX1" fmla="*/ 335758 w 335758"/>
                      <a:gd name="connsiteY1" fmla="*/ 138111 h 261143"/>
                      <a:gd name="connsiteX2" fmla="*/ 254796 w 335758"/>
                      <a:gd name="connsiteY2" fmla="*/ 261143 h 261143"/>
                      <a:gd name="connsiteX3" fmla="*/ 0 w 335758"/>
                      <a:gd name="connsiteY3" fmla="*/ 132556 h 261143"/>
                      <a:gd name="connsiteX4" fmla="*/ 92869 w 335758"/>
                      <a:gd name="connsiteY4" fmla="*/ 0 h 261143"/>
                      <a:gd name="connsiteX0" fmla="*/ 90488 w 333377"/>
                      <a:gd name="connsiteY0" fmla="*/ 0 h 261143"/>
                      <a:gd name="connsiteX1" fmla="*/ 333377 w 333377"/>
                      <a:gd name="connsiteY1" fmla="*/ 138111 h 261143"/>
                      <a:gd name="connsiteX2" fmla="*/ 252415 w 333377"/>
                      <a:gd name="connsiteY2" fmla="*/ 261143 h 261143"/>
                      <a:gd name="connsiteX3" fmla="*/ 0 w 333377"/>
                      <a:gd name="connsiteY3" fmla="*/ 139700 h 261143"/>
                      <a:gd name="connsiteX4" fmla="*/ 90488 w 333377"/>
                      <a:gd name="connsiteY4" fmla="*/ 0 h 261143"/>
                      <a:gd name="connsiteX0" fmla="*/ 90488 w 333377"/>
                      <a:gd name="connsiteY0" fmla="*/ 0 h 261143"/>
                      <a:gd name="connsiteX1" fmla="*/ 333377 w 333377"/>
                      <a:gd name="connsiteY1" fmla="*/ 138111 h 261143"/>
                      <a:gd name="connsiteX2" fmla="*/ 252415 w 333377"/>
                      <a:gd name="connsiteY2" fmla="*/ 261143 h 261143"/>
                      <a:gd name="connsiteX3" fmla="*/ 0 w 333377"/>
                      <a:gd name="connsiteY3" fmla="*/ 139700 h 261143"/>
                      <a:gd name="connsiteX4" fmla="*/ 90488 w 333377"/>
                      <a:gd name="connsiteY4" fmla="*/ 0 h 261143"/>
                      <a:gd name="connsiteX0" fmla="*/ 90488 w 333377"/>
                      <a:gd name="connsiteY0" fmla="*/ 0 h 261143"/>
                      <a:gd name="connsiteX1" fmla="*/ 333377 w 333377"/>
                      <a:gd name="connsiteY1" fmla="*/ 138111 h 261143"/>
                      <a:gd name="connsiteX2" fmla="*/ 252415 w 333377"/>
                      <a:gd name="connsiteY2" fmla="*/ 261143 h 261143"/>
                      <a:gd name="connsiteX3" fmla="*/ 0 w 333377"/>
                      <a:gd name="connsiteY3" fmla="*/ 139700 h 261143"/>
                      <a:gd name="connsiteX4" fmla="*/ 90488 w 333377"/>
                      <a:gd name="connsiteY4" fmla="*/ 0 h 261143"/>
                      <a:gd name="connsiteX0" fmla="*/ 90488 w 333377"/>
                      <a:gd name="connsiteY0" fmla="*/ 0 h 261143"/>
                      <a:gd name="connsiteX1" fmla="*/ 333377 w 333377"/>
                      <a:gd name="connsiteY1" fmla="*/ 138111 h 261143"/>
                      <a:gd name="connsiteX2" fmla="*/ 252415 w 333377"/>
                      <a:gd name="connsiteY2" fmla="*/ 261143 h 261143"/>
                      <a:gd name="connsiteX3" fmla="*/ 0 w 333377"/>
                      <a:gd name="connsiteY3" fmla="*/ 142082 h 261143"/>
                      <a:gd name="connsiteX4" fmla="*/ 90488 w 333377"/>
                      <a:gd name="connsiteY4" fmla="*/ 0 h 261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7" h="261143">
                        <a:moveTo>
                          <a:pt x="90488" y="0"/>
                        </a:moveTo>
                        <a:cubicBezTo>
                          <a:pt x="180182" y="38099"/>
                          <a:pt x="284165" y="100011"/>
                          <a:pt x="333377" y="138111"/>
                        </a:cubicBezTo>
                        <a:cubicBezTo>
                          <a:pt x="325440" y="214840"/>
                          <a:pt x="284164" y="246326"/>
                          <a:pt x="252415" y="261143"/>
                        </a:cubicBezTo>
                        <a:cubicBezTo>
                          <a:pt x="202408" y="250824"/>
                          <a:pt x="107158" y="197645"/>
                          <a:pt x="0" y="142082"/>
                        </a:cubicBezTo>
                        <a:cubicBezTo>
                          <a:pt x="63500" y="155047"/>
                          <a:pt x="98426" y="48949"/>
                          <a:pt x="90488" y="0"/>
                        </a:cubicBezTo>
                        <a:close/>
                      </a:path>
                    </a:pathLst>
                  </a:custGeom>
                  <a:solidFill>
                    <a:srgbClr val="BFBFB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61" name="Rectangle 16"/>
                  <p:cNvSpPr/>
                  <p:nvPr/>
                </p:nvSpPr>
                <p:spPr>
                  <a:xfrm rot="1545906" flipH="1">
                    <a:off x="5620765" y="3140350"/>
                    <a:ext cx="143209" cy="155806"/>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4368"/>
                      <a:gd name="connsiteY0" fmla="*/ 0 h 368300"/>
                      <a:gd name="connsiteX1" fmla="*/ 664368 w 664368"/>
                      <a:gd name="connsiteY1" fmla="*/ 235744 h 368300"/>
                      <a:gd name="connsiteX2" fmla="*/ 571500 w 664368"/>
                      <a:gd name="connsiteY2" fmla="*/ 368300 h 368300"/>
                      <a:gd name="connsiteX3" fmla="*/ 0 w 664368"/>
                      <a:gd name="connsiteY3" fmla="*/ 368300 h 368300"/>
                      <a:gd name="connsiteX4" fmla="*/ 0 w 664368"/>
                      <a:gd name="connsiteY4" fmla="*/ 0 h 368300"/>
                      <a:gd name="connsiteX0" fmla="*/ 0 w 671347"/>
                      <a:gd name="connsiteY0" fmla="*/ 0 h 368300"/>
                      <a:gd name="connsiteX1" fmla="*/ 664368 w 671347"/>
                      <a:gd name="connsiteY1" fmla="*/ 235744 h 368300"/>
                      <a:gd name="connsiteX2" fmla="*/ 571500 w 671347"/>
                      <a:gd name="connsiteY2" fmla="*/ 368300 h 368300"/>
                      <a:gd name="connsiteX3" fmla="*/ 0 w 671347"/>
                      <a:gd name="connsiteY3" fmla="*/ 368300 h 368300"/>
                      <a:gd name="connsiteX4" fmla="*/ 0 w 671347"/>
                      <a:gd name="connsiteY4" fmla="*/ 0 h 368300"/>
                      <a:gd name="connsiteX0" fmla="*/ 0 w 664610"/>
                      <a:gd name="connsiteY0" fmla="*/ 0 h 368300"/>
                      <a:gd name="connsiteX1" fmla="*/ 664368 w 664610"/>
                      <a:gd name="connsiteY1" fmla="*/ 235744 h 368300"/>
                      <a:gd name="connsiteX2" fmla="*/ 571500 w 664610"/>
                      <a:gd name="connsiteY2" fmla="*/ 368300 h 368300"/>
                      <a:gd name="connsiteX3" fmla="*/ 0 w 664610"/>
                      <a:gd name="connsiteY3" fmla="*/ 368300 h 368300"/>
                      <a:gd name="connsiteX4" fmla="*/ 0 w 664610"/>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490538 w 664748"/>
                      <a:gd name="connsiteY0" fmla="*/ 0 h 215900"/>
                      <a:gd name="connsiteX1" fmla="*/ 664368 w 664748"/>
                      <a:gd name="connsiteY1" fmla="*/ 83344 h 215900"/>
                      <a:gd name="connsiteX2" fmla="*/ 571500 w 664748"/>
                      <a:gd name="connsiteY2" fmla="*/ 215900 h 215900"/>
                      <a:gd name="connsiteX3" fmla="*/ 0 w 664748"/>
                      <a:gd name="connsiteY3" fmla="*/ 215900 h 215900"/>
                      <a:gd name="connsiteX4" fmla="*/ 490538 w 664748"/>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5251 w 271842"/>
                      <a:gd name="connsiteY0" fmla="*/ 0 h 225425"/>
                      <a:gd name="connsiteX1" fmla="*/ 271462 w 271842"/>
                      <a:gd name="connsiteY1" fmla="*/ 92869 h 225425"/>
                      <a:gd name="connsiteX2" fmla="*/ 178594 w 271842"/>
                      <a:gd name="connsiteY2" fmla="*/ 225425 h 225425"/>
                      <a:gd name="connsiteX3" fmla="*/ 0 w 271842"/>
                      <a:gd name="connsiteY3" fmla="*/ 139700 h 225425"/>
                      <a:gd name="connsiteX4" fmla="*/ 95251 w 271842"/>
                      <a:gd name="connsiteY4" fmla="*/ 0 h 225425"/>
                      <a:gd name="connsiteX0" fmla="*/ 92870 w 271842"/>
                      <a:gd name="connsiteY0" fmla="*/ 0 h 220662"/>
                      <a:gd name="connsiteX1" fmla="*/ 271462 w 271842"/>
                      <a:gd name="connsiteY1" fmla="*/ 88106 h 220662"/>
                      <a:gd name="connsiteX2" fmla="*/ 178594 w 271842"/>
                      <a:gd name="connsiteY2" fmla="*/ 220662 h 220662"/>
                      <a:gd name="connsiteX3" fmla="*/ 0 w 271842"/>
                      <a:gd name="connsiteY3" fmla="*/ 134937 h 220662"/>
                      <a:gd name="connsiteX4" fmla="*/ 92870 w 271842"/>
                      <a:gd name="connsiteY4" fmla="*/ 0 h 220662"/>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85726 w 271842"/>
                      <a:gd name="connsiteY0" fmla="*/ 0 h 230186"/>
                      <a:gd name="connsiteX1" fmla="*/ 271462 w 271842"/>
                      <a:gd name="connsiteY1" fmla="*/ 97630 h 230186"/>
                      <a:gd name="connsiteX2" fmla="*/ 178594 w 271842"/>
                      <a:gd name="connsiteY2" fmla="*/ 230186 h 230186"/>
                      <a:gd name="connsiteX3" fmla="*/ 0 w 271842"/>
                      <a:gd name="connsiteY3" fmla="*/ 144461 h 230186"/>
                      <a:gd name="connsiteX4" fmla="*/ 85726 w 271842"/>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2567"/>
                      <a:gd name="connsiteX1" fmla="*/ 285750 w 286111"/>
                      <a:gd name="connsiteY1" fmla="*/ 97630 h 232567"/>
                      <a:gd name="connsiteX2" fmla="*/ 190501 w 286111"/>
                      <a:gd name="connsiteY2" fmla="*/ 232567 h 232567"/>
                      <a:gd name="connsiteX3" fmla="*/ 0 w 286111"/>
                      <a:gd name="connsiteY3" fmla="*/ 153986 h 232567"/>
                      <a:gd name="connsiteX4" fmla="*/ 97633 w 286111"/>
                      <a:gd name="connsiteY4" fmla="*/ 0 h 232567"/>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200027 w 286111"/>
                      <a:gd name="connsiteY0" fmla="*/ 0 h 182561"/>
                      <a:gd name="connsiteX1" fmla="*/ 285750 w 286111"/>
                      <a:gd name="connsiteY1" fmla="*/ 47624 h 182561"/>
                      <a:gd name="connsiteX2" fmla="*/ 190501 w 286111"/>
                      <a:gd name="connsiteY2" fmla="*/ 182561 h 182561"/>
                      <a:gd name="connsiteX3" fmla="*/ 0 w 286111"/>
                      <a:gd name="connsiteY3" fmla="*/ 103980 h 182561"/>
                      <a:gd name="connsiteX4" fmla="*/ 200027 w 286111"/>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2080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66678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66678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6204 w 167050"/>
                      <a:gd name="connsiteY0" fmla="*/ 0 h 182561"/>
                      <a:gd name="connsiteX1" fmla="*/ 166689 w 167050"/>
                      <a:gd name="connsiteY1" fmla="*/ 47624 h 182561"/>
                      <a:gd name="connsiteX2" fmla="*/ 71440 w 167050"/>
                      <a:gd name="connsiteY2" fmla="*/ 182561 h 182561"/>
                      <a:gd name="connsiteX3" fmla="*/ 0 w 167050"/>
                      <a:gd name="connsiteY3" fmla="*/ 144462 h 182561"/>
                      <a:gd name="connsiteX4" fmla="*/ 76204 w 167050"/>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37"/>
                      <a:gd name="connsiteY0" fmla="*/ 0 h 182561"/>
                      <a:gd name="connsiteX1" fmla="*/ 164308 w 164637"/>
                      <a:gd name="connsiteY1" fmla="*/ 47624 h 182561"/>
                      <a:gd name="connsiteX2" fmla="*/ 69059 w 164637"/>
                      <a:gd name="connsiteY2" fmla="*/ 182561 h 182561"/>
                      <a:gd name="connsiteX3" fmla="*/ 0 w 164637"/>
                      <a:gd name="connsiteY3" fmla="*/ 139699 h 182561"/>
                      <a:gd name="connsiteX4" fmla="*/ 73823 w 164637"/>
                      <a:gd name="connsiteY4" fmla="*/ 0 h 182561"/>
                      <a:gd name="connsiteX0" fmla="*/ 73823 w 164623"/>
                      <a:gd name="connsiteY0" fmla="*/ 0 h 182561"/>
                      <a:gd name="connsiteX1" fmla="*/ 164308 w 164623"/>
                      <a:gd name="connsiteY1" fmla="*/ 47624 h 182561"/>
                      <a:gd name="connsiteX2" fmla="*/ 69059 w 164623"/>
                      <a:gd name="connsiteY2" fmla="*/ 182561 h 182561"/>
                      <a:gd name="connsiteX3" fmla="*/ 0 w 164623"/>
                      <a:gd name="connsiteY3" fmla="*/ 139699 h 182561"/>
                      <a:gd name="connsiteX4" fmla="*/ 73823 w 164623"/>
                      <a:gd name="connsiteY4" fmla="*/ 0 h 182561"/>
                      <a:gd name="connsiteX0" fmla="*/ 73823 w 164577"/>
                      <a:gd name="connsiteY0" fmla="*/ 0 h 182561"/>
                      <a:gd name="connsiteX1" fmla="*/ 164308 w 164577"/>
                      <a:gd name="connsiteY1" fmla="*/ 47624 h 182561"/>
                      <a:gd name="connsiteX2" fmla="*/ 69059 w 164577"/>
                      <a:gd name="connsiteY2" fmla="*/ 182561 h 182561"/>
                      <a:gd name="connsiteX3" fmla="*/ 0 w 164577"/>
                      <a:gd name="connsiteY3" fmla="*/ 139699 h 182561"/>
                      <a:gd name="connsiteX4" fmla="*/ 73823 w 164577"/>
                      <a:gd name="connsiteY4" fmla="*/ 0 h 182561"/>
                      <a:gd name="connsiteX0" fmla="*/ 73823 w 164577"/>
                      <a:gd name="connsiteY0" fmla="*/ 0 h 182561"/>
                      <a:gd name="connsiteX1" fmla="*/ 164308 w 164577"/>
                      <a:gd name="connsiteY1" fmla="*/ 47624 h 182561"/>
                      <a:gd name="connsiteX2" fmla="*/ 69059 w 164577"/>
                      <a:gd name="connsiteY2" fmla="*/ 182561 h 182561"/>
                      <a:gd name="connsiteX3" fmla="*/ 0 w 164577"/>
                      <a:gd name="connsiteY3" fmla="*/ 139699 h 182561"/>
                      <a:gd name="connsiteX4" fmla="*/ 73823 w 164577"/>
                      <a:gd name="connsiteY4" fmla="*/ 0 h 182561"/>
                      <a:gd name="connsiteX0" fmla="*/ 71442 w 162196"/>
                      <a:gd name="connsiteY0" fmla="*/ 0 h 182561"/>
                      <a:gd name="connsiteX1" fmla="*/ 161927 w 162196"/>
                      <a:gd name="connsiteY1" fmla="*/ 47624 h 182561"/>
                      <a:gd name="connsiteX2" fmla="*/ 66678 w 162196"/>
                      <a:gd name="connsiteY2" fmla="*/ 182561 h 182561"/>
                      <a:gd name="connsiteX3" fmla="*/ 0 w 162196"/>
                      <a:gd name="connsiteY3" fmla="*/ 142030 h 182561"/>
                      <a:gd name="connsiteX4" fmla="*/ 71442 w 162196"/>
                      <a:gd name="connsiteY4" fmla="*/ 0 h 182561"/>
                      <a:gd name="connsiteX0" fmla="*/ 71442 w 164567"/>
                      <a:gd name="connsiteY0" fmla="*/ 0 h 182561"/>
                      <a:gd name="connsiteX1" fmla="*/ 164308 w 164567"/>
                      <a:gd name="connsiteY1" fmla="*/ 45293 h 182561"/>
                      <a:gd name="connsiteX2" fmla="*/ 66678 w 164567"/>
                      <a:gd name="connsiteY2" fmla="*/ 182561 h 182561"/>
                      <a:gd name="connsiteX3" fmla="*/ 0 w 164567"/>
                      <a:gd name="connsiteY3" fmla="*/ 142030 h 182561"/>
                      <a:gd name="connsiteX4" fmla="*/ 71442 w 164567"/>
                      <a:gd name="connsiteY4" fmla="*/ 0 h 182561"/>
                      <a:gd name="connsiteX0" fmla="*/ 71442 w 164567"/>
                      <a:gd name="connsiteY0" fmla="*/ 0 h 182561"/>
                      <a:gd name="connsiteX1" fmla="*/ 164308 w 164567"/>
                      <a:gd name="connsiteY1" fmla="*/ 45293 h 182561"/>
                      <a:gd name="connsiteX2" fmla="*/ 66678 w 164567"/>
                      <a:gd name="connsiteY2" fmla="*/ 182561 h 182561"/>
                      <a:gd name="connsiteX3" fmla="*/ 0 w 164567"/>
                      <a:gd name="connsiteY3" fmla="*/ 142030 h 182561"/>
                      <a:gd name="connsiteX4" fmla="*/ 71442 w 164567"/>
                      <a:gd name="connsiteY4" fmla="*/ 0 h 182561"/>
                      <a:gd name="connsiteX0" fmla="*/ 71442 w 164567"/>
                      <a:gd name="connsiteY0" fmla="*/ 0 h 182561"/>
                      <a:gd name="connsiteX1" fmla="*/ 164308 w 164567"/>
                      <a:gd name="connsiteY1" fmla="*/ 45293 h 182561"/>
                      <a:gd name="connsiteX2" fmla="*/ 66678 w 164567"/>
                      <a:gd name="connsiteY2" fmla="*/ 182561 h 182561"/>
                      <a:gd name="connsiteX3" fmla="*/ 0 w 164567"/>
                      <a:gd name="connsiteY3" fmla="*/ 142030 h 182561"/>
                      <a:gd name="connsiteX4" fmla="*/ 71442 w 164567"/>
                      <a:gd name="connsiteY4" fmla="*/ 0 h 182561"/>
                      <a:gd name="connsiteX0" fmla="*/ 71442 w 164567"/>
                      <a:gd name="connsiteY0" fmla="*/ 0 h 182561"/>
                      <a:gd name="connsiteX1" fmla="*/ 164308 w 164567"/>
                      <a:gd name="connsiteY1" fmla="*/ 45293 h 182561"/>
                      <a:gd name="connsiteX2" fmla="*/ 66678 w 164567"/>
                      <a:gd name="connsiteY2" fmla="*/ 182561 h 182561"/>
                      <a:gd name="connsiteX3" fmla="*/ 0 w 164567"/>
                      <a:gd name="connsiteY3" fmla="*/ 142030 h 182561"/>
                      <a:gd name="connsiteX4" fmla="*/ 71442 w 164567"/>
                      <a:gd name="connsiteY4" fmla="*/ 0 h 182561"/>
                      <a:gd name="connsiteX0" fmla="*/ 73824 w 166949"/>
                      <a:gd name="connsiteY0" fmla="*/ 0 h 182561"/>
                      <a:gd name="connsiteX1" fmla="*/ 166690 w 166949"/>
                      <a:gd name="connsiteY1" fmla="*/ 45293 h 182561"/>
                      <a:gd name="connsiteX2" fmla="*/ 69060 w 166949"/>
                      <a:gd name="connsiteY2" fmla="*/ 182561 h 182561"/>
                      <a:gd name="connsiteX3" fmla="*/ 0 w 166949"/>
                      <a:gd name="connsiteY3" fmla="*/ 142030 h 182561"/>
                      <a:gd name="connsiteX4" fmla="*/ 73824 w 166949"/>
                      <a:gd name="connsiteY4" fmla="*/ 0 h 182561"/>
                      <a:gd name="connsiteX0" fmla="*/ 73824 w 166949"/>
                      <a:gd name="connsiteY0" fmla="*/ 0 h 182561"/>
                      <a:gd name="connsiteX1" fmla="*/ 166690 w 166949"/>
                      <a:gd name="connsiteY1" fmla="*/ 45293 h 182561"/>
                      <a:gd name="connsiteX2" fmla="*/ 69060 w 166949"/>
                      <a:gd name="connsiteY2" fmla="*/ 182561 h 182561"/>
                      <a:gd name="connsiteX3" fmla="*/ 0 w 166949"/>
                      <a:gd name="connsiteY3" fmla="*/ 142030 h 182561"/>
                      <a:gd name="connsiteX4" fmla="*/ 73824 w 166949"/>
                      <a:gd name="connsiteY4" fmla="*/ 0 h 182561"/>
                      <a:gd name="connsiteX0" fmla="*/ 73824 w 166949"/>
                      <a:gd name="connsiteY0" fmla="*/ 0 h 182561"/>
                      <a:gd name="connsiteX1" fmla="*/ 166690 w 166949"/>
                      <a:gd name="connsiteY1" fmla="*/ 45293 h 182561"/>
                      <a:gd name="connsiteX2" fmla="*/ 69060 w 166949"/>
                      <a:gd name="connsiteY2" fmla="*/ 182561 h 182561"/>
                      <a:gd name="connsiteX3" fmla="*/ 0 w 166949"/>
                      <a:gd name="connsiteY3" fmla="*/ 142030 h 182561"/>
                      <a:gd name="connsiteX4" fmla="*/ 73824 w 166949"/>
                      <a:gd name="connsiteY4" fmla="*/ 0 h 182561"/>
                      <a:gd name="connsiteX0" fmla="*/ 76205 w 169330"/>
                      <a:gd name="connsiteY0" fmla="*/ 0 h 182561"/>
                      <a:gd name="connsiteX1" fmla="*/ 169071 w 169330"/>
                      <a:gd name="connsiteY1" fmla="*/ 45293 h 182561"/>
                      <a:gd name="connsiteX2" fmla="*/ 71441 w 169330"/>
                      <a:gd name="connsiteY2" fmla="*/ 182561 h 182561"/>
                      <a:gd name="connsiteX3" fmla="*/ 0 w 169330"/>
                      <a:gd name="connsiteY3" fmla="*/ 142030 h 182561"/>
                      <a:gd name="connsiteX4" fmla="*/ 76205 w 169330"/>
                      <a:gd name="connsiteY4" fmla="*/ 0 h 182561"/>
                      <a:gd name="connsiteX0" fmla="*/ 78586 w 171711"/>
                      <a:gd name="connsiteY0" fmla="*/ 0 h 182561"/>
                      <a:gd name="connsiteX1" fmla="*/ 171452 w 171711"/>
                      <a:gd name="connsiteY1" fmla="*/ 45293 h 182561"/>
                      <a:gd name="connsiteX2" fmla="*/ 73822 w 171711"/>
                      <a:gd name="connsiteY2" fmla="*/ 182561 h 182561"/>
                      <a:gd name="connsiteX3" fmla="*/ 0 w 171711"/>
                      <a:gd name="connsiteY3" fmla="*/ 142030 h 182561"/>
                      <a:gd name="connsiteX4" fmla="*/ 78586 w 171711"/>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2" h="182561">
                        <a:moveTo>
                          <a:pt x="78586" y="0"/>
                        </a:moveTo>
                        <a:cubicBezTo>
                          <a:pt x="124624" y="20200"/>
                          <a:pt x="125415" y="22866"/>
                          <a:pt x="171452" y="45293"/>
                        </a:cubicBezTo>
                        <a:cubicBezTo>
                          <a:pt x="154783" y="155746"/>
                          <a:pt x="109540" y="176273"/>
                          <a:pt x="73822" y="182561"/>
                        </a:cubicBezTo>
                        <a:cubicBezTo>
                          <a:pt x="48421" y="168274"/>
                          <a:pt x="27783" y="156317"/>
                          <a:pt x="0" y="142030"/>
                        </a:cubicBezTo>
                        <a:cubicBezTo>
                          <a:pt x="61118" y="166377"/>
                          <a:pt x="107953" y="22773"/>
                          <a:pt x="78586" y="0"/>
                        </a:cubicBezTo>
                        <a:close/>
                      </a:path>
                    </a:pathLst>
                  </a:custGeom>
                  <a:solidFill>
                    <a:srgbClr val="BFBFB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62" name="Rectangle 16"/>
                  <p:cNvSpPr/>
                  <p:nvPr/>
                </p:nvSpPr>
                <p:spPr>
                  <a:xfrm rot="1545906" flipH="1">
                    <a:off x="5790121" y="3143551"/>
                    <a:ext cx="103480" cy="146953"/>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4368"/>
                      <a:gd name="connsiteY0" fmla="*/ 0 h 368300"/>
                      <a:gd name="connsiteX1" fmla="*/ 664368 w 664368"/>
                      <a:gd name="connsiteY1" fmla="*/ 235744 h 368300"/>
                      <a:gd name="connsiteX2" fmla="*/ 571500 w 664368"/>
                      <a:gd name="connsiteY2" fmla="*/ 368300 h 368300"/>
                      <a:gd name="connsiteX3" fmla="*/ 0 w 664368"/>
                      <a:gd name="connsiteY3" fmla="*/ 368300 h 368300"/>
                      <a:gd name="connsiteX4" fmla="*/ 0 w 664368"/>
                      <a:gd name="connsiteY4" fmla="*/ 0 h 368300"/>
                      <a:gd name="connsiteX0" fmla="*/ 0 w 671347"/>
                      <a:gd name="connsiteY0" fmla="*/ 0 h 368300"/>
                      <a:gd name="connsiteX1" fmla="*/ 664368 w 671347"/>
                      <a:gd name="connsiteY1" fmla="*/ 235744 h 368300"/>
                      <a:gd name="connsiteX2" fmla="*/ 571500 w 671347"/>
                      <a:gd name="connsiteY2" fmla="*/ 368300 h 368300"/>
                      <a:gd name="connsiteX3" fmla="*/ 0 w 671347"/>
                      <a:gd name="connsiteY3" fmla="*/ 368300 h 368300"/>
                      <a:gd name="connsiteX4" fmla="*/ 0 w 671347"/>
                      <a:gd name="connsiteY4" fmla="*/ 0 h 368300"/>
                      <a:gd name="connsiteX0" fmla="*/ 0 w 664610"/>
                      <a:gd name="connsiteY0" fmla="*/ 0 h 368300"/>
                      <a:gd name="connsiteX1" fmla="*/ 664368 w 664610"/>
                      <a:gd name="connsiteY1" fmla="*/ 235744 h 368300"/>
                      <a:gd name="connsiteX2" fmla="*/ 571500 w 664610"/>
                      <a:gd name="connsiteY2" fmla="*/ 368300 h 368300"/>
                      <a:gd name="connsiteX3" fmla="*/ 0 w 664610"/>
                      <a:gd name="connsiteY3" fmla="*/ 368300 h 368300"/>
                      <a:gd name="connsiteX4" fmla="*/ 0 w 664610"/>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490538 w 664748"/>
                      <a:gd name="connsiteY0" fmla="*/ 0 h 215900"/>
                      <a:gd name="connsiteX1" fmla="*/ 664368 w 664748"/>
                      <a:gd name="connsiteY1" fmla="*/ 83344 h 215900"/>
                      <a:gd name="connsiteX2" fmla="*/ 571500 w 664748"/>
                      <a:gd name="connsiteY2" fmla="*/ 215900 h 215900"/>
                      <a:gd name="connsiteX3" fmla="*/ 0 w 664748"/>
                      <a:gd name="connsiteY3" fmla="*/ 215900 h 215900"/>
                      <a:gd name="connsiteX4" fmla="*/ 490538 w 664748"/>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5251 w 271842"/>
                      <a:gd name="connsiteY0" fmla="*/ 0 h 225425"/>
                      <a:gd name="connsiteX1" fmla="*/ 271462 w 271842"/>
                      <a:gd name="connsiteY1" fmla="*/ 92869 h 225425"/>
                      <a:gd name="connsiteX2" fmla="*/ 178594 w 271842"/>
                      <a:gd name="connsiteY2" fmla="*/ 225425 h 225425"/>
                      <a:gd name="connsiteX3" fmla="*/ 0 w 271842"/>
                      <a:gd name="connsiteY3" fmla="*/ 139700 h 225425"/>
                      <a:gd name="connsiteX4" fmla="*/ 95251 w 271842"/>
                      <a:gd name="connsiteY4" fmla="*/ 0 h 225425"/>
                      <a:gd name="connsiteX0" fmla="*/ 92870 w 271842"/>
                      <a:gd name="connsiteY0" fmla="*/ 0 h 220662"/>
                      <a:gd name="connsiteX1" fmla="*/ 271462 w 271842"/>
                      <a:gd name="connsiteY1" fmla="*/ 88106 h 220662"/>
                      <a:gd name="connsiteX2" fmla="*/ 178594 w 271842"/>
                      <a:gd name="connsiteY2" fmla="*/ 220662 h 220662"/>
                      <a:gd name="connsiteX3" fmla="*/ 0 w 271842"/>
                      <a:gd name="connsiteY3" fmla="*/ 134937 h 220662"/>
                      <a:gd name="connsiteX4" fmla="*/ 92870 w 271842"/>
                      <a:gd name="connsiteY4" fmla="*/ 0 h 220662"/>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85726 w 271842"/>
                      <a:gd name="connsiteY0" fmla="*/ 0 h 230186"/>
                      <a:gd name="connsiteX1" fmla="*/ 271462 w 271842"/>
                      <a:gd name="connsiteY1" fmla="*/ 97630 h 230186"/>
                      <a:gd name="connsiteX2" fmla="*/ 178594 w 271842"/>
                      <a:gd name="connsiteY2" fmla="*/ 230186 h 230186"/>
                      <a:gd name="connsiteX3" fmla="*/ 0 w 271842"/>
                      <a:gd name="connsiteY3" fmla="*/ 144461 h 230186"/>
                      <a:gd name="connsiteX4" fmla="*/ 85726 w 271842"/>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2567"/>
                      <a:gd name="connsiteX1" fmla="*/ 285750 w 286111"/>
                      <a:gd name="connsiteY1" fmla="*/ 97630 h 232567"/>
                      <a:gd name="connsiteX2" fmla="*/ 190501 w 286111"/>
                      <a:gd name="connsiteY2" fmla="*/ 232567 h 232567"/>
                      <a:gd name="connsiteX3" fmla="*/ 0 w 286111"/>
                      <a:gd name="connsiteY3" fmla="*/ 153986 h 232567"/>
                      <a:gd name="connsiteX4" fmla="*/ 97633 w 286111"/>
                      <a:gd name="connsiteY4" fmla="*/ 0 h 232567"/>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200027 w 286111"/>
                      <a:gd name="connsiteY0" fmla="*/ 0 h 182561"/>
                      <a:gd name="connsiteX1" fmla="*/ 285750 w 286111"/>
                      <a:gd name="connsiteY1" fmla="*/ 47624 h 182561"/>
                      <a:gd name="connsiteX2" fmla="*/ 190501 w 286111"/>
                      <a:gd name="connsiteY2" fmla="*/ 182561 h 182561"/>
                      <a:gd name="connsiteX3" fmla="*/ 0 w 286111"/>
                      <a:gd name="connsiteY3" fmla="*/ 103980 h 182561"/>
                      <a:gd name="connsiteX4" fmla="*/ 200027 w 286111"/>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2080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66678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66678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6204 w 167050"/>
                      <a:gd name="connsiteY0" fmla="*/ 0 h 182561"/>
                      <a:gd name="connsiteX1" fmla="*/ 166689 w 167050"/>
                      <a:gd name="connsiteY1" fmla="*/ 47624 h 182561"/>
                      <a:gd name="connsiteX2" fmla="*/ 71440 w 167050"/>
                      <a:gd name="connsiteY2" fmla="*/ 182561 h 182561"/>
                      <a:gd name="connsiteX3" fmla="*/ 0 w 167050"/>
                      <a:gd name="connsiteY3" fmla="*/ 144462 h 182561"/>
                      <a:gd name="connsiteX4" fmla="*/ 76204 w 167050"/>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900"/>
                      <a:gd name="connsiteY0" fmla="*/ 0 h 189705"/>
                      <a:gd name="connsiteX1" fmla="*/ 164308 w 164900"/>
                      <a:gd name="connsiteY1" fmla="*/ 47624 h 189705"/>
                      <a:gd name="connsiteX2" fmla="*/ 88109 w 164900"/>
                      <a:gd name="connsiteY2" fmla="*/ 189705 h 189705"/>
                      <a:gd name="connsiteX3" fmla="*/ 0 w 164900"/>
                      <a:gd name="connsiteY3" fmla="*/ 139699 h 189705"/>
                      <a:gd name="connsiteX4" fmla="*/ 73823 w 164900"/>
                      <a:gd name="connsiteY4" fmla="*/ 0 h 189705"/>
                      <a:gd name="connsiteX0" fmla="*/ 73823 w 164711"/>
                      <a:gd name="connsiteY0" fmla="*/ 0 h 189705"/>
                      <a:gd name="connsiteX1" fmla="*/ 164308 w 164711"/>
                      <a:gd name="connsiteY1" fmla="*/ 47624 h 189705"/>
                      <a:gd name="connsiteX2" fmla="*/ 88109 w 164711"/>
                      <a:gd name="connsiteY2" fmla="*/ 189705 h 189705"/>
                      <a:gd name="connsiteX3" fmla="*/ 0 w 164711"/>
                      <a:gd name="connsiteY3" fmla="*/ 139699 h 189705"/>
                      <a:gd name="connsiteX4" fmla="*/ 73823 w 164711"/>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54773 w 164599"/>
                      <a:gd name="connsiteY0" fmla="*/ 0 h 201611"/>
                      <a:gd name="connsiteX1" fmla="*/ 164308 w 164599"/>
                      <a:gd name="connsiteY1" fmla="*/ 59530 h 201611"/>
                      <a:gd name="connsiteX2" fmla="*/ 88109 w 164599"/>
                      <a:gd name="connsiteY2" fmla="*/ 201611 h 201611"/>
                      <a:gd name="connsiteX3" fmla="*/ 0 w 164599"/>
                      <a:gd name="connsiteY3" fmla="*/ 151605 h 201611"/>
                      <a:gd name="connsiteX4" fmla="*/ 54773 w 164599"/>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380"/>
                      <a:gd name="connsiteY0" fmla="*/ 0 h 201611"/>
                      <a:gd name="connsiteX1" fmla="*/ 180977 w 181380"/>
                      <a:gd name="connsiteY1" fmla="*/ 59530 h 201611"/>
                      <a:gd name="connsiteX2" fmla="*/ 104778 w 181380"/>
                      <a:gd name="connsiteY2" fmla="*/ 201611 h 201611"/>
                      <a:gd name="connsiteX3" fmla="*/ 0 w 181380"/>
                      <a:gd name="connsiteY3" fmla="*/ 151605 h 201611"/>
                      <a:gd name="connsiteX4" fmla="*/ 71442 w 181380"/>
                      <a:gd name="connsiteY4" fmla="*/ 0 h 201611"/>
                      <a:gd name="connsiteX0" fmla="*/ 71442 w 180977"/>
                      <a:gd name="connsiteY0" fmla="*/ 0 h 201611"/>
                      <a:gd name="connsiteX1" fmla="*/ 180977 w 180977"/>
                      <a:gd name="connsiteY1" fmla="*/ 59530 h 201611"/>
                      <a:gd name="connsiteX2" fmla="*/ 104778 w 180977"/>
                      <a:gd name="connsiteY2" fmla="*/ 201611 h 201611"/>
                      <a:gd name="connsiteX3" fmla="*/ 0 w 180977"/>
                      <a:gd name="connsiteY3" fmla="*/ 151605 h 201611"/>
                      <a:gd name="connsiteX4" fmla="*/ 71442 w 180977"/>
                      <a:gd name="connsiteY4" fmla="*/ 0 h 201611"/>
                      <a:gd name="connsiteX0" fmla="*/ 73823 w 180977"/>
                      <a:gd name="connsiteY0" fmla="*/ 0 h 199230"/>
                      <a:gd name="connsiteX1" fmla="*/ 180977 w 180977"/>
                      <a:gd name="connsiteY1" fmla="*/ 57149 h 199230"/>
                      <a:gd name="connsiteX2" fmla="*/ 104778 w 180977"/>
                      <a:gd name="connsiteY2" fmla="*/ 199230 h 199230"/>
                      <a:gd name="connsiteX3" fmla="*/ 0 w 180977"/>
                      <a:gd name="connsiteY3" fmla="*/ 149224 h 199230"/>
                      <a:gd name="connsiteX4" fmla="*/ 73823 w 180977"/>
                      <a:gd name="connsiteY4" fmla="*/ 0 h 199230"/>
                      <a:gd name="connsiteX0" fmla="*/ 73823 w 180977"/>
                      <a:gd name="connsiteY0" fmla="*/ 0 h 199230"/>
                      <a:gd name="connsiteX1" fmla="*/ 180977 w 180977"/>
                      <a:gd name="connsiteY1" fmla="*/ 57149 h 199230"/>
                      <a:gd name="connsiteX2" fmla="*/ 104778 w 180977"/>
                      <a:gd name="connsiteY2" fmla="*/ 199230 h 199230"/>
                      <a:gd name="connsiteX3" fmla="*/ 0 w 180977"/>
                      <a:gd name="connsiteY3" fmla="*/ 149224 h 199230"/>
                      <a:gd name="connsiteX4" fmla="*/ 73823 w 180977"/>
                      <a:gd name="connsiteY4" fmla="*/ 0 h 199230"/>
                      <a:gd name="connsiteX0" fmla="*/ 111923 w 180977"/>
                      <a:gd name="connsiteY0" fmla="*/ 0 h 180180"/>
                      <a:gd name="connsiteX1" fmla="*/ 180977 w 180977"/>
                      <a:gd name="connsiteY1" fmla="*/ 38099 h 180180"/>
                      <a:gd name="connsiteX2" fmla="*/ 104778 w 180977"/>
                      <a:gd name="connsiteY2" fmla="*/ 180180 h 180180"/>
                      <a:gd name="connsiteX3" fmla="*/ 0 w 180977"/>
                      <a:gd name="connsiteY3" fmla="*/ 130174 h 180180"/>
                      <a:gd name="connsiteX4" fmla="*/ 111923 w 180977"/>
                      <a:gd name="connsiteY4" fmla="*/ 0 h 180180"/>
                      <a:gd name="connsiteX0" fmla="*/ 111923 w 180977"/>
                      <a:gd name="connsiteY0" fmla="*/ 0 h 180180"/>
                      <a:gd name="connsiteX1" fmla="*/ 180977 w 180977"/>
                      <a:gd name="connsiteY1" fmla="*/ 38099 h 180180"/>
                      <a:gd name="connsiteX2" fmla="*/ 104778 w 180977"/>
                      <a:gd name="connsiteY2" fmla="*/ 180180 h 180180"/>
                      <a:gd name="connsiteX3" fmla="*/ 0 w 180977"/>
                      <a:gd name="connsiteY3" fmla="*/ 130174 h 180180"/>
                      <a:gd name="connsiteX4" fmla="*/ 111923 w 180977"/>
                      <a:gd name="connsiteY4" fmla="*/ 0 h 180180"/>
                      <a:gd name="connsiteX0" fmla="*/ 138117 w 180977"/>
                      <a:gd name="connsiteY0" fmla="*/ 0 h 165892"/>
                      <a:gd name="connsiteX1" fmla="*/ 180977 w 180977"/>
                      <a:gd name="connsiteY1" fmla="*/ 23811 h 165892"/>
                      <a:gd name="connsiteX2" fmla="*/ 104778 w 180977"/>
                      <a:gd name="connsiteY2" fmla="*/ 165892 h 165892"/>
                      <a:gd name="connsiteX3" fmla="*/ 0 w 180977"/>
                      <a:gd name="connsiteY3" fmla="*/ 115886 h 165892"/>
                      <a:gd name="connsiteX4" fmla="*/ 138117 w 180977"/>
                      <a:gd name="connsiteY4" fmla="*/ 0 h 165892"/>
                      <a:gd name="connsiteX0" fmla="*/ 78585 w 121445"/>
                      <a:gd name="connsiteY0" fmla="*/ 0 h 165892"/>
                      <a:gd name="connsiteX1" fmla="*/ 121445 w 121445"/>
                      <a:gd name="connsiteY1" fmla="*/ 23811 h 165892"/>
                      <a:gd name="connsiteX2" fmla="*/ 45246 w 121445"/>
                      <a:gd name="connsiteY2" fmla="*/ 165892 h 165892"/>
                      <a:gd name="connsiteX3" fmla="*/ 0 w 121445"/>
                      <a:gd name="connsiteY3" fmla="*/ 149224 h 165892"/>
                      <a:gd name="connsiteX4" fmla="*/ 78585 w 121445"/>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9045 w 124287"/>
                      <a:gd name="connsiteY0" fmla="*/ 0 h 173036"/>
                      <a:gd name="connsiteX1" fmla="*/ 124287 w 124287"/>
                      <a:gd name="connsiteY1" fmla="*/ 21430 h 173036"/>
                      <a:gd name="connsiteX2" fmla="*/ 45706 w 124287"/>
                      <a:gd name="connsiteY2" fmla="*/ 173036 h 173036"/>
                      <a:gd name="connsiteX3" fmla="*/ 460 w 124287"/>
                      <a:gd name="connsiteY3" fmla="*/ 149224 h 173036"/>
                      <a:gd name="connsiteX4" fmla="*/ 79045 w 124287"/>
                      <a:gd name="connsiteY4" fmla="*/ 0 h 173036"/>
                      <a:gd name="connsiteX0" fmla="*/ 78585 w 123827"/>
                      <a:gd name="connsiteY0" fmla="*/ 0 h 173036"/>
                      <a:gd name="connsiteX1" fmla="*/ 123827 w 123827"/>
                      <a:gd name="connsiteY1" fmla="*/ 21430 h 173036"/>
                      <a:gd name="connsiteX2" fmla="*/ 45246 w 123827"/>
                      <a:gd name="connsiteY2" fmla="*/ 173036 h 173036"/>
                      <a:gd name="connsiteX3" fmla="*/ 0 w 123827"/>
                      <a:gd name="connsiteY3" fmla="*/ 149224 h 173036"/>
                      <a:gd name="connsiteX4" fmla="*/ 78585 w 123827"/>
                      <a:gd name="connsiteY4" fmla="*/ 0 h 173036"/>
                      <a:gd name="connsiteX0" fmla="*/ 78585 w 123827"/>
                      <a:gd name="connsiteY0" fmla="*/ 0 h 173036"/>
                      <a:gd name="connsiteX1" fmla="*/ 123827 w 123827"/>
                      <a:gd name="connsiteY1" fmla="*/ 21430 h 173036"/>
                      <a:gd name="connsiteX2" fmla="*/ 45246 w 123827"/>
                      <a:gd name="connsiteY2" fmla="*/ 173036 h 173036"/>
                      <a:gd name="connsiteX3" fmla="*/ 0 w 123827"/>
                      <a:gd name="connsiteY3" fmla="*/ 149224 h 173036"/>
                      <a:gd name="connsiteX4" fmla="*/ 78585 w 123827"/>
                      <a:gd name="connsiteY4" fmla="*/ 0 h 173036"/>
                      <a:gd name="connsiteX0" fmla="*/ 78585 w 123827"/>
                      <a:gd name="connsiteY0" fmla="*/ 0 h 173036"/>
                      <a:gd name="connsiteX1" fmla="*/ 123827 w 123827"/>
                      <a:gd name="connsiteY1" fmla="*/ 21430 h 173036"/>
                      <a:gd name="connsiteX2" fmla="*/ 45246 w 123827"/>
                      <a:gd name="connsiteY2" fmla="*/ 173036 h 173036"/>
                      <a:gd name="connsiteX3" fmla="*/ 0 w 123827"/>
                      <a:gd name="connsiteY3" fmla="*/ 149224 h 173036"/>
                      <a:gd name="connsiteX4" fmla="*/ 78585 w 123827"/>
                      <a:gd name="connsiteY4" fmla="*/ 0 h 173036"/>
                      <a:gd name="connsiteX0" fmla="*/ 78585 w 123827"/>
                      <a:gd name="connsiteY0" fmla="*/ 0 h 173036"/>
                      <a:gd name="connsiteX1" fmla="*/ 123827 w 123827"/>
                      <a:gd name="connsiteY1" fmla="*/ 21430 h 173036"/>
                      <a:gd name="connsiteX2" fmla="*/ 47627 w 123827"/>
                      <a:gd name="connsiteY2" fmla="*/ 173036 h 173036"/>
                      <a:gd name="connsiteX3" fmla="*/ 0 w 123827"/>
                      <a:gd name="connsiteY3" fmla="*/ 149224 h 173036"/>
                      <a:gd name="connsiteX4" fmla="*/ 78585 w 123827"/>
                      <a:gd name="connsiteY4" fmla="*/ 0 h 173036"/>
                      <a:gd name="connsiteX0" fmla="*/ 78585 w 123827"/>
                      <a:gd name="connsiteY0" fmla="*/ 0 h 173036"/>
                      <a:gd name="connsiteX1" fmla="*/ 123827 w 123827"/>
                      <a:gd name="connsiteY1" fmla="*/ 21430 h 173036"/>
                      <a:gd name="connsiteX2" fmla="*/ 47627 w 123827"/>
                      <a:gd name="connsiteY2" fmla="*/ 173036 h 173036"/>
                      <a:gd name="connsiteX3" fmla="*/ 0 w 123827"/>
                      <a:gd name="connsiteY3" fmla="*/ 149224 h 173036"/>
                      <a:gd name="connsiteX4" fmla="*/ 78585 w 123827"/>
                      <a:gd name="connsiteY4" fmla="*/ 0 h 173036"/>
                      <a:gd name="connsiteX0" fmla="*/ 83347 w 128589"/>
                      <a:gd name="connsiteY0" fmla="*/ 0 h 173036"/>
                      <a:gd name="connsiteX1" fmla="*/ 128589 w 128589"/>
                      <a:gd name="connsiteY1" fmla="*/ 21430 h 173036"/>
                      <a:gd name="connsiteX2" fmla="*/ 52389 w 128589"/>
                      <a:gd name="connsiteY2" fmla="*/ 173036 h 173036"/>
                      <a:gd name="connsiteX3" fmla="*/ 0 w 128589"/>
                      <a:gd name="connsiteY3" fmla="*/ 151606 h 173036"/>
                      <a:gd name="connsiteX4" fmla="*/ 83347 w 128589"/>
                      <a:gd name="connsiteY4" fmla="*/ 0 h 173036"/>
                      <a:gd name="connsiteX0" fmla="*/ 83347 w 128589"/>
                      <a:gd name="connsiteY0" fmla="*/ 0 h 177798"/>
                      <a:gd name="connsiteX1" fmla="*/ 128589 w 128589"/>
                      <a:gd name="connsiteY1" fmla="*/ 21430 h 177798"/>
                      <a:gd name="connsiteX2" fmla="*/ 54770 w 128589"/>
                      <a:gd name="connsiteY2" fmla="*/ 177798 h 177798"/>
                      <a:gd name="connsiteX3" fmla="*/ 0 w 128589"/>
                      <a:gd name="connsiteY3" fmla="*/ 151606 h 177798"/>
                      <a:gd name="connsiteX4" fmla="*/ 83347 w 128589"/>
                      <a:gd name="connsiteY4" fmla="*/ 0 h 177798"/>
                      <a:gd name="connsiteX0" fmla="*/ 83347 w 128589"/>
                      <a:gd name="connsiteY0" fmla="*/ 0 h 177798"/>
                      <a:gd name="connsiteX1" fmla="*/ 128589 w 128589"/>
                      <a:gd name="connsiteY1" fmla="*/ 21430 h 177798"/>
                      <a:gd name="connsiteX2" fmla="*/ 54770 w 128589"/>
                      <a:gd name="connsiteY2" fmla="*/ 177798 h 177798"/>
                      <a:gd name="connsiteX3" fmla="*/ 0 w 128589"/>
                      <a:gd name="connsiteY3" fmla="*/ 151606 h 177798"/>
                      <a:gd name="connsiteX4" fmla="*/ 83347 w 128589"/>
                      <a:gd name="connsiteY4" fmla="*/ 0 h 177798"/>
                      <a:gd name="connsiteX0" fmla="*/ 83347 w 128589"/>
                      <a:gd name="connsiteY0" fmla="*/ 0 h 177798"/>
                      <a:gd name="connsiteX1" fmla="*/ 128589 w 128589"/>
                      <a:gd name="connsiteY1" fmla="*/ 21430 h 177798"/>
                      <a:gd name="connsiteX2" fmla="*/ 54770 w 128589"/>
                      <a:gd name="connsiteY2" fmla="*/ 177798 h 177798"/>
                      <a:gd name="connsiteX3" fmla="*/ 0 w 128589"/>
                      <a:gd name="connsiteY3" fmla="*/ 151606 h 177798"/>
                      <a:gd name="connsiteX4" fmla="*/ 83347 w 128589"/>
                      <a:gd name="connsiteY4" fmla="*/ 0 h 177798"/>
                      <a:gd name="connsiteX0" fmla="*/ 83347 w 128589"/>
                      <a:gd name="connsiteY0" fmla="*/ 0 h 177798"/>
                      <a:gd name="connsiteX1" fmla="*/ 128589 w 128589"/>
                      <a:gd name="connsiteY1" fmla="*/ 21430 h 177798"/>
                      <a:gd name="connsiteX2" fmla="*/ 54770 w 128589"/>
                      <a:gd name="connsiteY2" fmla="*/ 177798 h 177798"/>
                      <a:gd name="connsiteX3" fmla="*/ 0 w 128589"/>
                      <a:gd name="connsiteY3" fmla="*/ 151606 h 177798"/>
                      <a:gd name="connsiteX4" fmla="*/ 83347 w 128589"/>
                      <a:gd name="connsiteY4" fmla="*/ 0 h 177798"/>
                      <a:gd name="connsiteX0" fmla="*/ 83347 w 128589"/>
                      <a:gd name="connsiteY0" fmla="*/ 0 h 180179"/>
                      <a:gd name="connsiteX1" fmla="*/ 128589 w 128589"/>
                      <a:gd name="connsiteY1" fmla="*/ 21430 h 180179"/>
                      <a:gd name="connsiteX2" fmla="*/ 54770 w 128589"/>
                      <a:gd name="connsiteY2" fmla="*/ 180179 h 180179"/>
                      <a:gd name="connsiteX3" fmla="*/ 0 w 128589"/>
                      <a:gd name="connsiteY3" fmla="*/ 151606 h 180179"/>
                      <a:gd name="connsiteX4" fmla="*/ 83347 w 128589"/>
                      <a:gd name="connsiteY4" fmla="*/ 0 h 180179"/>
                      <a:gd name="connsiteX0" fmla="*/ 83347 w 128589"/>
                      <a:gd name="connsiteY0" fmla="*/ 0 h 180179"/>
                      <a:gd name="connsiteX1" fmla="*/ 128589 w 128589"/>
                      <a:gd name="connsiteY1" fmla="*/ 21430 h 180179"/>
                      <a:gd name="connsiteX2" fmla="*/ 54770 w 128589"/>
                      <a:gd name="connsiteY2" fmla="*/ 180179 h 180179"/>
                      <a:gd name="connsiteX3" fmla="*/ 0 w 128589"/>
                      <a:gd name="connsiteY3" fmla="*/ 151606 h 180179"/>
                      <a:gd name="connsiteX4" fmla="*/ 83347 w 128589"/>
                      <a:gd name="connsiteY4" fmla="*/ 0 h 180179"/>
                      <a:gd name="connsiteX0" fmla="*/ 78584 w 123826"/>
                      <a:gd name="connsiteY0" fmla="*/ 0 h 180179"/>
                      <a:gd name="connsiteX1" fmla="*/ 123826 w 123826"/>
                      <a:gd name="connsiteY1" fmla="*/ 21430 h 180179"/>
                      <a:gd name="connsiteX2" fmla="*/ 50007 w 123826"/>
                      <a:gd name="connsiteY2" fmla="*/ 180179 h 180179"/>
                      <a:gd name="connsiteX3" fmla="*/ 0 w 123826"/>
                      <a:gd name="connsiteY3" fmla="*/ 153987 h 180179"/>
                      <a:gd name="connsiteX4" fmla="*/ 78584 w 123826"/>
                      <a:gd name="connsiteY4" fmla="*/ 0 h 180179"/>
                      <a:gd name="connsiteX0" fmla="*/ 78584 w 123826"/>
                      <a:gd name="connsiteY0" fmla="*/ 0 h 180179"/>
                      <a:gd name="connsiteX1" fmla="*/ 123826 w 123826"/>
                      <a:gd name="connsiteY1" fmla="*/ 21430 h 180179"/>
                      <a:gd name="connsiteX2" fmla="*/ 50007 w 123826"/>
                      <a:gd name="connsiteY2" fmla="*/ 180179 h 180179"/>
                      <a:gd name="connsiteX3" fmla="*/ 0 w 123826"/>
                      <a:gd name="connsiteY3" fmla="*/ 153987 h 180179"/>
                      <a:gd name="connsiteX4" fmla="*/ 78584 w 123826"/>
                      <a:gd name="connsiteY4" fmla="*/ 0 h 180179"/>
                      <a:gd name="connsiteX0" fmla="*/ 78584 w 123826"/>
                      <a:gd name="connsiteY0" fmla="*/ 0 h 177798"/>
                      <a:gd name="connsiteX1" fmla="*/ 123826 w 123826"/>
                      <a:gd name="connsiteY1" fmla="*/ 21430 h 177798"/>
                      <a:gd name="connsiteX2" fmla="*/ 45244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5244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5244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5244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5244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8578"/>
                      <a:gd name="connsiteY0" fmla="*/ 0 h 177798"/>
                      <a:gd name="connsiteX1" fmla="*/ 123826 w 128578"/>
                      <a:gd name="connsiteY1" fmla="*/ 21430 h 177798"/>
                      <a:gd name="connsiteX2" fmla="*/ 42863 w 128578"/>
                      <a:gd name="connsiteY2" fmla="*/ 177798 h 177798"/>
                      <a:gd name="connsiteX3" fmla="*/ 0 w 128578"/>
                      <a:gd name="connsiteY3" fmla="*/ 153987 h 177798"/>
                      <a:gd name="connsiteX4" fmla="*/ 78584 w 128578"/>
                      <a:gd name="connsiteY4" fmla="*/ 0 h 177798"/>
                      <a:gd name="connsiteX0" fmla="*/ 78584 w 127757"/>
                      <a:gd name="connsiteY0" fmla="*/ 0 h 177798"/>
                      <a:gd name="connsiteX1" fmla="*/ 123826 w 127757"/>
                      <a:gd name="connsiteY1" fmla="*/ 21430 h 177798"/>
                      <a:gd name="connsiteX2" fmla="*/ 42863 w 127757"/>
                      <a:gd name="connsiteY2" fmla="*/ 177798 h 177798"/>
                      <a:gd name="connsiteX3" fmla="*/ 0 w 127757"/>
                      <a:gd name="connsiteY3" fmla="*/ 153987 h 177798"/>
                      <a:gd name="connsiteX4" fmla="*/ 78584 w 127757"/>
                      <a:gd name="connsiteY4" fmla="*/ 0 h 177798"/>
                      <a:gd name="connsiteX0" fmla="*/ 78584 w 129427"/>
                      <a:gd name="connsiteY0" fmla="*/ 0 h 177798"/>
                      <a:gd name="connsiteX1" fmla="*/ 123826 w 129427"/>
                      <a:gd name="connsiteY1" fmla="*/ 21430 h 177798"/>
                      <a:gd name="connsiteX2" fmla="*/ 42863 w 129427"/>
                      <a:gd name="connsiteY2" fmla="*/ 177798 h 177798"/>
                      <a:gd name="connsiteX3" fmla="*/ 0 w 129427"/>
                      <a:gd name="connsiteY3" fmla="*/ 153987 h 177798"/>
                      <a:gd name="connsiteX4" fmla="*/ 78584 w 129427"/>
                      <a:gd name="connsiteY4" fmla="*/ 0 h 177798"/>
                      <a:gd name="connsiteX0" fmla="*/ 78584 w 129427"/>
                      <a:gd name="connsiteY0" fmla="*/ 0 h 177798"/>
                      <a:gd name="connsiteX1" fmla="*/ 123826 w 129427"/>
                      <a:gd name="connsiteY1" fmla="*/ 21430 h 177798"/>
                      <a:gd name="connsiteX2" fmla="*/ 42863 w 129427"/>
                      <a:gd name="connsiteY2" fmla="*/ 177798 h 177798"/>
                      <a:gd name="connsiteX3" fmla="*/ 0 w 129427"/>
                      <a:gd name="connsiteY3" fmla="*/ 153987 h 177798"/>
                      <a:gd name="connsiteX4" fmla="*/ 78584 w 129427"/>
                      <a:gd name="connsiteY4" fmla="*/ 0 h 177798"/>
                      <a:gd name="connsiteX0" fmla="*/ 78584 w 129620"/>
                      <a:gd name="connsiteY0" fmla="*/ 0 h 178197"/>
                      <a:gd name="connsiteX1" fmla="*/ 123826 w 129620"/>
                      <a:gd name="connsiteY1" fmla="*/ 21430 h 178197"/>
                      <a:gd name="connsiteX2" fmla="*/ 42863 w 129620"/>
                      <a:gd name="connsiteY2" fmla="*/ 177798 h 178197"/>
                      <a:gd name="connsiteX3" fmla="*/ 0 w 129620"/>
                      <a:gd name="connsiteY3" fmla="*/ 153987 h 178197"/>
                      <a:gd name="connsiteX4" fmla="*/ 78584 w 129620"/>
                      <a:gd name="connsiteY4" fmla="*/ 0 h 178197"/>
                      <a:gd name="connsiteX0" fmla="*/ 78584 w 130038"/>
                      <a:gd name="connsiteY0" fmla="*/ 0 h 177798"/>
                      <a:gd name="connsiteX1" fmla="*/ 123826 w 130038"/>
                      <a:gd name="connsiteY1" fmla="*/ 21430 h 177798"/>
                      <a:gd name="connsiteX2" fmla="*/ 42863 w 130038"/>
                      <a:gd name="connsiteY2" fmla="*/ 177798 h 177798"/>
                      <a:gd name="connsiteX3" fmla="*/ 0 w 130038"/>
                      <a:gd name="connsiteY3" fmla="*/ 153987 h 177798"/>
                      <a:gd name="connsiteX4" fmla="*/ 78584 w 130038"/>
                      <a:gd name="connsiteY4" fmla="*/ 0 h 177798"/>
                      <a:gd name="connsiteX0" fmla="*/ 78584 w 127420"/>
                      <a:gd name="connsiteY0" fmla="*/ 0 h 177798"/>
                      <a:gd name="connsiteX1" fmla="*/ 123826 w 127420"/>
                      <a:gd name="connsiteY1" fmla="*/ 21430 h 177798"/>
                      <a:gd name="connsiteX2" fmla="*/ 42863 w 127420"/>
                      <a:gd name="connsiteY2" fmla="*/ 177798 h 177798"/>
                      <a:gd name="connsiteX3" fmla="*/ 0 w 127420"/>
                      <a:gd name="connsiteY3" fmla="*/ 153987 h 177798"/>
                      <a:gd name="connsiteX4" fmla="*/ 78584 w 127420"/>
                      <a:gd name="connsiteY4" fmla="*/ 0 h 177798"/>
                      <a:gd name="connsiteX0" fmla="*/ 78584 w 127595"/>
                      <a:gd name="connsiteY0" fmla="*/ 0 h 177798"/>
                      <a:gd name="connsiteX1" fmla="*/ 123826 w 127595"/>
                      <a:gd name="connsiteY1" fmla="*/ 21430 h 177798"/>
                      <a:gd name="connsiteX2" fmla="*/ 42863 w 127595"/>
                      <a:gd name="connsiteY2" fmla="*/ 177798 h 177798"/>
                      <a:gd name="connsiteX3" fmla="*/ 0 w 127595"/>
                      <a:gd name="connsiteY3" fmla="*/ 153987 h 177798"/>
                      <a:gd name="connsiteX4" fmla="*/ 78584 w 127595"/>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5934"/>
                      <a:gd name="connsiteX1" fmla="*/ 127554 w 131480"/>
                      <a:gd name="connsiteY1" fmla="*/ 21430 h 175934"/>
                      <a:gd name="connsiteX2" fmla="*/ 48455 w 131480"/>
                      <a:gd name="connsiteY2" fmla="*/ 175934 h 175934"/>
                      <a:gd name="connsiteX3" fmla="*/ 0 w 131480"/>
                      <a:gd name="connsiteY3" fmla="*/ 153987 h 175934"/>
                      <a:gd name="connsiteX4" fmla="*/ 82312 w 131480"/>
                      <a:gd name="connsiteY4" fmla="*/ 0 h 175934"/>
                      <a:gd name="connsiteX0" fmla="*/ 82312 w 131480"/>
                      <a:gd name="connsiteY0" fmla="*/ 0 h 175934"/>
                      <a:gd name="connsiteX1" fmla="*/ 127554 w 131480"/>
                      <a:gd name="connsiteY1" fmla="*/ 21430 h 175934"/>
                      <a:gd name="connsiteX2" fmla="*/ 48455 w 131480"/>
                      <a:gd name="connsiteY2" fmla="*/ 175934 h 175934"/>
                      <a:gd name="connsiteX3" fmla="*/ 0 w 131480"/>
                      <a:gd name="connsiteY3" fmla="*/ 153987 h 175934"/>
                      <a:gd name="connsiteX4" fmla="*/ 82312 w 131480"/>
                      <a:gd name="connsiteY4" fmla="*/ 0 h 175934"/>
                      <a:gd name="connsiteX0" fmla="*/ 82312 w 131480"/>
                      <a:gd name="connsiteY0" fmla="*/ 0 h 175934"/>
                      <a:gd name="connsiteX1" fmla="*/ 127554 w 131480"/>
                      <a:gd name="connsiteY1" fmla="*/ 21430 h 175934"/>
                      <a:gd name="connsiteX2" fmla="*/ 48455 w 131480"/>
                      <a:gd name="connsiteY2" fmla="*/ 175934 h 175934"/>
                      <a:gd name="connsiteX3" fmla="*/ 0 w 131480"/>
                      <a:gd name="connsiteY3" fmla="*/ 153987 h 175934"/>
                      <a:gd name="connsiteX4" fmla="*/ 82312 w 131480"/>
                      <a:gd name="connsiteY4" fmla="*/ 0 h 175934"/>
                      <a:gd name="connsiteX0" fmla="*/ 74856 w 124024"/>
                      <a:gd name="connsiteY0" fmla="*/ 0 h 175934"/>
                      <a:gd name="connsiteX1" fmla="*/ 120098 w 124024"/>
                      <a:gd name="connsiteY1" fmla="*/ 21430 h 175934"/>
                      <a:gd name="connsiteX2" fmla="*/ 40999 w 124024"/>
                      <a:gd name="connsiteY2" fmla="*/ 175934 h 175934"/>
                      <a:gd name="connsiteX3" fmla="*/ 0 w 124024"/>
                      <a:gd name="connsiteY3" fmla="*/ 159579 h 175934"/>
                      <a:gd name="connsiteX4" fmla="*/ 74856 w 124024"/>
                      <a:gd name="connsiteY4" fmla="*/ 0 h 175934"/>
                      <a:gd name="connsiteX0" fmla="*/ 74856 w 124376"/>
                      <a:gd name="connsiteY0" fmla="*/ 0 h 177799"/>
                      <a:gd name="connsiteX1" fmla="*/ 120098 w 124376"/>
                      <a:gd name="connsiteY1" fmla="*/ 21430 h 177799"/>
                      <a:gd name="connsiteX2" fmla="*/ 44727 w 124376"/>
                      <a:gd name="connsiteY2" fmla="*/ 177799 h 177799"/>
                      <a:gd name="connsiteX3" fmla="*/ 0 w 124376"/>
                      <a:gd name="connsiteY3" fmla="*/ 159579 h 177799"/>
                      <a:gd name="connsiteX4" fmla="*/ 74856 w 124376"/>
                      <a:gd name="connsiteY4" fmla="*/ 0 h 177799"/>
                      <a:gd name="connsiteX0" fmla="*/ 74856 w 124376"/>
                      <a:gd name="connsiteY0" fmla="*/ 0 h 177799"/>
                      <a:gd name="connsiteX1" fmla="*/ 120098 w 124376"/>
                      <a:gd name="connsiteY1" fmla="*/ 21430 h 177799"/>
                      <a:gd name="connsiteX2" fmla="*/ 44727 w 124376"/>
                      <a:gd name="connsiteY2" fmla="*/ 177799 h 177799"/>
                      <a:gd name="connsiteX3" fmla="*/ 0 w 124376"/>
                      <a:gd name="connsiteY3" fmla="*/ 159579 h 177799"/>
                      <a:gd name="connsiteX4" fmla="*/ 74856 w 124376"/>
                      <a:gd name="connsiteY4" fmla="*/ 0 h 177799"/>
                      <a:gd name="connsiteX0" fmla="*/ 74856 w 124194"/>
                      <a:gd name="connsiteY0" fmla="*/ 0 h 175934"/>
                      <a:gd name="connsiteX1" fmla="*/ 120098 w 124194"/>
                      <a:gd name="connsiteY1" fmla="*/ 21430 h 175934"/>
                      <a:gd name="connsiteX2" fmla="*/ 42863 w 124194"/>
                      <a:gd name="connsiteY2" fmla="*/ 175934 h 175934"/>
                      <a:gd name="connsiteX3" fmla="*/ 0 w 124194"/>
                      <a:gd name="connsiteY3" fmla="*/ 159579 h 175934"/>
                      <a:gd name="connsiteX4" fmla="*/ 74856 w 124194"/>
                      <a:gd name="connsiteY4" fmla="*/ 0 h 175934"/>
                      <a:gd name="connsiteX0" fmla="*/ 74856 w 124194"/>
                      <a:gd name="connsiteY0" fmla="*/ 0 h 175934"/>
                      <a:gd name="connsiteX1" fmla="*/ 120098 w 124194"/>
                      <a:gd name="connsiteY1" fmla="*/ 21430 h 175934"/>
                      <a:gd name="connsiteX2" fmla="*/ 42863 w 124194"/>
                      <a:gd name="connsiteY2" fmla="*/ 175934 h 175934"/>
                      <a:gd name="connsiteX3" fmla="*/ 0 w 124194"/>
                      <a:gd name="connsiteY3" fmla="*/ 159579 h 175934"/>
                      <a:gd name="connsiteX4" fmla="*/ 74856 w 124194"/>
                      <a:gd name="connsiteY4" fmla="*/ 0 h 175934"/>
                      <a:gd name="connsiteX0" fmla="*/ 74856 w 123615"/>
                      <a:gd name="connsiteY0" fmla="*/ 0 h 175934"/>
                      <a:gd name="connsiteX1" fmla="*/ 120098 w 123615"/>
                      <a:gd name="connsiteY1" fmla="*/ 21430 h 175934"/>
                      <a:gd name="connsiteX2" fmla="*/ 42863 w 123615"/>
                      <a:gd name="connsiteY2" fmla="*/ 175934 h 175934"/>
                      <a:gd name="connsiteX3" fmla="*/ 0 w 123615"/>
                      <a:gd name="connsiteY3" fmla="*/ 159579 h 175934"/>
                      <a:gd name="connsiteX4" fmla="*/ 74856 w 123615"/>
                      <a:gd name="connsiteY4" fmla="*/ 0 h 175934"/>
                      <a:gd name="connsiteX0" fmla="*/ 74856 w 123615"/>
                      <a:gd name="connsiteY0" fmla="*/ 0 h 175934"/>
                      <a:gd name="connsiteX1" fmla="*/ 120098 w 123615"/>
                      <a:gd name="connsiteY1" fmla="*/ 21430 h 175934"/>
                      <a:gd name="connsiteX2" fmla="*/ 42863 w 123615"/>
                      <a:gd name="connsiteY2" fmla="*/ 175934 h 175934"/>
                      <a:gd name="connsiteX3" fmla="*/ 0 w 123615"/>
                      <a:gd name="connsiteY3" fmla="*/ 159579 h 175934"/>
                      <a:gd name="connsiteX4" fmla="*/ 74856 w 123615"/>
                      <a:gd name="connsiteY4" fmla="*/ 0 h 175934"/>
                      <a:gd name="connsiteX0" fmla="*/ 74856 w 123615"/>
                      <a:gd name="connsiteY0" fmla="*/ 0 h 175934"/>
                      <a:gd name="connsiteX1" fmla="*/ 120098 w 123615"/>
                      <a:gd name="connsiteY1" fmla="*/ 21430 h 175934"/>
                      <a:gd name="connsiteX2" fmla="*/ 42863 w 123615"/>
                      <a:gd name="connsiteY2" fmla="*/ 175934 h 175934"/>
                      <a:gd name="connsiteX3" fmla="*/ 0 w 123615"/>
                      <a:gd name="connsiteY3" fmla="*/ 159579 h 175934"/>
                      <a:gd name="connsiteX4" fmla="*/ 74856 w 123615"/>
                      <a:gd name="connsiteY4" fmla="*/ 0 h 175934"/>
                      <a:gd name="connsiteX0" fmla="*/ 74856 w 123615"/>
                      <a:gd name="connsiteY0" fmla="*/ 0 h 175934"/>
                      <a:gd name="connsiteX1" fmla="*/ 120098 w 123615"/>
                      <a:gd name="connsiteY1" fmla="*/ 21430 h 175934"/>
                      <a:gd name="connsiteX2" fmla="*/ 42863 w 123615"/>
                      <a:gd name="connsiteY2" fmla="*/ 175934 h 175934"/>
                      <a:gd name="connsiteX3" fmla="*/ 0 w 123615"/>
                      <a:gd name="connsiteY3" fmla="*/ 159579 h 175934"/>
                      <a:gd name="connsiteX4" fmla="*/ 74856 w 123615"/>
                      <a:gd name="connsiteY4" fmla="*/ 0 h 175934"/>
                      <a:gd name="connsiteX0" fmla="*/ 74856 w 123887"/>
                      <a:gd name="connsiteY0" fmla="*/ 0 h 175934"/>
                      <a:gd name="connsiteX1" fmla="*/ 120098 w 123887"/>
                      <a:gd name="connsiteY1" fmla="*/ 21430 h 175934"/>
                      <a:gd name="connsiteX2" fmla="*/ 42863 w 123887"/>
                      <a:gd name="connsiteY2" fmla="*/ 175934 h 175934"/>
                      <a:gd name="connsiteX3" fmla="*/ 0 w 123887"/>
                      <a:gd name="connsiteY3" fmla="*/ 159579 h 175934"/>
                      <a:gd name="connsiteX4" fmla="*/ 74856 w 123887"/>
                      <a:gd name="connsiteY4" fmla="*/ 0 h 175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87" h="175934">
                        <a:moveTo>
                          <a:pt x="74856" y="0"/>
                        </a:moveTo>
                        <a:cubicBezTo>
                          <a:pt x="99464" y="13530"/>
                          <a:pt x="96839" y="12458"/>
                          <a:pt x="120098" y="21430"/>
                        </a:cubicBezTo>
                        <a:cubicBezTo>
                          <a:pt x="134386" y="72758"/>
                          <a:pt x="108192" y="165398"/>
                          <a:pt x="42863" y="175934"/>
                        </a:cubicBezTo>
                        <a:cubicBezTo>
                          <a:pt x="23019" y="167995"/>
                          <a:pt x="19845" y="167208"/>
                          <a:pt x="0" y="159579"/>
                        </a:cubicBezTo>
                        <a:cubicBezTo>
                          <a:pt x="61119" y="140000"/>
                          <a:pt x="85172" y="60062"/>
                          <a:pt x="74856" y="0"/>
                        </a:cubicBezTo>
                        <a:close/>
                      </a:path>
                    </a:pathLst>
                  </a:custGeom>
                  <a:solidFill>
                    <a:srgbClr val="BFBFB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63" name="Rectangle 16"/>
                  <p:cNvSpPr/>
                  <p:nvPr/>
                </p:nvSpPr>
                <p:spPr>
                  <a:xfrm rot="1545906" flipH="1">
                    <a:off x="6051604" y="3140499"/>
                    <a:ext cx="154502" cy="169494"/>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4368"/>
                      <a:gd name="connsiteY0" fmla="*/ 0 h 368300"/>
                      <a:gd name="connsiteX1" fmla="*/ 664368 w 664368"/>
                      <a:gd name="connsiteY1" fmla="*/ 235744 h 368300"/>
                      <a:gd name="connsiteX2" fmla="*/ 571500 w 664368"/>
                      <a:gd name="connsiteY2" fmla="*/ 368300 h 368300"/>
                      <a:gd name="connsiteX3" fmla="*/ 0 w 664368"/>
                      <a:gd name="connsiteY3" fmla="*/ 368300 h 368300"/>
                      <a:gd name="connsiteX4" fmla="*/ 0 w 664368"/>
                      <a:gd name="connsiteY4" fmla="*/ 0 h 368300"/>
                      <a:gd name="connsiteX0" fmla="*/ 0 w 671347"/>
                      <a:gd name="connsiteY0" fmla="*/ 0 h 368300"/>
                      <a:gd name="connsiteX1" fmla="*/ 664368 w 671347"/>
                      <a:gd name="connsiteY1" fmla="*/ 235744 h 368300"/>
                      <a:gd name="connsiteX2" fmla="*/ 571500 w 671347"/>
                      <a:gd name="connsiteY2" fmla="*/ 368300 h 368300"/>
                      <a:gd name="connsiteX3" fmla="*/ 0 w 671347"/>
                      <a:gd name="connsiteY3" fmla="*/ 368300 h 368300"/>
                      <a:gd name="connsiteX4" fmla="*/ 0 w 671347"/>
                      <a:gd name="connsiteY4" fmla="*/ 0 h 368300"/>
                      <a:gd name="connsiteX0" fmla="*/ 0 w 664610"/>
                      <a:gd name="connsiteY0" fmla="*/ 0 h 368300"/>
                      <a:gd name="connsiteX1" fmla="*/ 664368 w 664610"/>
                      <a:gd name="connsiteY1" fmla="*/ 235744 h 368300"/>
                      <a:gd name="connsiteX2" fmla="*/ 571500 w 664610"/>
                      <a:gd name="connsiteY2" fmla="*/ 368300 h 368300"/>
                      <a:gd name="connsiteX3" fmla="*/ 0 w 664610"/>
                      <a:gd name="connsiteY3" fmla="*/ 368300 h 368300"/>
                      <a:gd name="connsiteX4" fmla="*/ 0 w 664610"/>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490538 w 664748"/>
                      <a:gd name="connsiteY0" fmla="*/ 0 h 215900"/>
                      <a:gd name="connsiteX1" fmla="*/ 664368 w 664748"/>
                      <a:gd name="connsiteY1" fmla="*/ 83344 h 215900"/>
                      <a:gd name="connsiteX2" fmla="*/ 571500 w 664748"/>
                      <a:gd name="connsiteY2" fmla="*/ 215900 h 215900"/>
                      <a:gd name="connsiteX3" fmla="*/ 0 w 664748"/>
                      <a:gd name="connsiteY3" fmla="*/ 215900 h 215900"/>
                      <a:gd name="connsiteX4" fmla="*/ 490538 w 664748"/>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5251 w 271842"/>
                      <a:gd name="connsiteY0" fmla="*/ 0 h 225425"/>
                      <a:gd name="connsiteX1" fmla="*/ 271462 w 271842"/>
                      <a:gd name="connsiteY1" fmla="*/ 92869 h 225425"/>
                      <a:gd name="connsiteX2" fmla="*/ 178594 w 271842"/>
                      <a:gd name="connsiteY2" fmla="*/ 225425 h 225425"/>
                      <a:gd name="connsiteX3" fmla="*/ 0 w 271842"/>
                      <a:gd name="connsiteY3" fmla="*/ 139700 h 225425"/>
                      <a:gd name="connsiteX4" fmla="*/ 95251 w 271842"/>
                      <a:gd name="connsiteY4" fmla="*/ 0 h 225425"/>
                      <a:gd name="connsiteX0" fmla="*/ 92870 w 271842"/>
                      <a:gd name="connsiteY0" fmla="*/ 0 h 220662"/>
                      <a:gd name="connsiteX1" fmla="*/ 271462 w 271842"/>
                      <a:gd name="connsiteY1" fmla="*/ 88106 h 220662"/>
                      <a:gd name="connsiteX2" fmla="*/ 178594 w 271842"/>
                      <a:gd name="connsiteY2" fmla="*/ 220662 h 220662"/>
                      <a:gd name="connsiteX3" fmla="*/ 0 w 271842"/>
                      <a:gd name="connsiteY3" fmla="*/ 134937 h 220662"/>
                      <a:gd name="connsiteX4" fmla="*/ 92870 w 271842"/>
                      <a:gd name="connsiteY4" fmla="*/ 0 h 220662"/>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85726 w 271842"/>
                      <a:gd name="connsiteY0" fmla="*/ 0 h 230186"/>
                      <a:gd name="connsiteX1" fmla="*/ 271462 w 271842"/>
                      <a:gd name="connsiteY1" fmla="*/ 97630 h 230186"/>
                      <a:gd name="connsiteX2" fmla="*/ 178594 w 271842"/>
                      <a:gd name="connsiteY2" fmla="*/ 230186 h 230186"/>
                      <a:gd name="connsiteX3" fmla="*/ 0 w 271842"/>
                      <a:gd name="connsiteY3" fmla="*/ 144461 h 230186"/>
                      <a:gd name="connsiteX4" fmla="*/ 85726 w 271842"/>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2567"/>
                      <a:gd name="connsiteX1" fmla="*/ 285750 w 286111"/>
                      <a:gd name="connsiteY1" fmla="*/ 97630 h 232567"/>
                      <a:gd name="connsiteX2" fmla="*/ 190501 w 286111"/>
                      <a:gd name="connsiteY2" fmla="*/ 232567 h 232567"/>
                      <a:gd name="connsiteX3" fmla="*/ 0 w 286111"/>
                      <a:gd name="connsiteY3" fmla="*/ 153986 h 232567"/>
                      <a:gd name="connsiteX4" fmla="*/ 97633 w 286111"/>
                      <a:gd name="connsiteY4" fmla="*/ 0 h 232567"/>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200027 w 286111"/>
                      <a:gd name="connsiteY0" fmla="*/ 0 h 182561"/>
                      <a:gd name="connsiteX1" fmla="*/ 285750 w 286111"/>
                      <a:gd name="connsiteY1" fmla="*/ 47624 h 182561"/>
                      <a:gd name="connsiteX2" fmla="*/ 190501 w 286111"/>
                      <a:gd name="connsiteY2" fmla="*/ 182561 h 182561"/>
                      <a:gd name="connsiteX3" fmla="*/ 0 w 286111"/>
                      <a:gd name="connsiteY3" fmla="*/ 103980 h 182561"/>
                      <a:gd name="connsiteX4" fmla="*/ 200027 w 286111"/>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2080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66678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66678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6204 w 167050"/>
                      <a:gd name="connsiteY0" fmla="*/ 0 h 182561"/>
                      <a:gd name="connsiteX1" fmla="*/ 166689 w 167050"/>
                      <a:gd name="connsiteY1" fmla="*/ 47624 h 182561"/>
                      <a:gd name="connsiteX2" fmla="*/ 71440 w 167050"/>
                      <a:gd name="connsiteY2" fmla="*/ 182561 h 182561"/>
                      <a:gd name="connsiteX3" fmla="*/ 0 w 167050"/>
                      <a:gd name="connsiteY3" fmla="*/ 144462 h 182561"/>
                      <a:gd name="connsiteX4" fmla="*/ 76204 w 167050"/>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900"/>
                      <a:gd name="connsiteY0" fmla="*/ 0 h 189705"/>
                      <a:gd name="connsiteX1" fmla="*/ 164308 w 164900"/>
                      <a:gd name="connsiteY1" fmla="*/ 47624 h 189705"/>
                      <a:gd name="connsiteX2" fmla="*/ 88109 w 164900"/>
                      <a:gd name="connsiteY2" fmla="*/ 189705 h 189705"/>
                      <a:gd name="connsiteX3" fmla="*/ 0 w 164900"/>
                      <a:gd name="connsiteY3" fmla="*/ 139699 h 189705"/>
                      <a:gd name="connsiteX4" fmla="*/ 73823 w 164900"/>
                      <a:gd name="connsiteY4" fmla="*/ 0 h 189705"/>
                      <a:gd name="connsiteX0" fmla="*/ 73823 w 164711"/>
                      <a:gd name="connsiteY0" fmla="*/ 0 h 189705"/>
                      <a:gd name="connsiteX1" fmla="*/ 164308 w 164711"/>
                      <a:gd name="connsiteY1" fmla="*/ 47624 h 189705"/>
                      <a:gd name="connsiteX2" fmla="*/ 88109 w 164711"/>
                      <a:gd name="connsiteY2" fmla="*/ 189705 h 189705"/>
                      <a:gd name="connsiteX3" fmla="*/ 0 w 164711"/>
                      <a:gd name="connsiteY3" fmla="*/ 139699 h 189705"/>
                      <a:gd name="connsiteX4" fmla="*/ 73823 w 164711"/>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54773 w 164599"/>
                      <a:gd name="connsiteY0" fmla="*/ 0 h 201611"/>
                      <a:gd name="connsiteX1" fmla="*/ 164308 w 164599"/>
                      <a:gd name="connsiteY1" fmla="*/ 59530 h 201611"/>
                      <a:gd name="connsiteX2" fmla="*/ 88109 w 164599"/>
                      <a:gd name="connsiteY2" fmla="*/ 201611 h 201611"/>
                      <a:gd name="connsiteX3" fmla="*/ 0 w 164599"/>
                      <a:gd name="connsiteY3" fmla="*/ 151605 h 201611"/>
                      <a:gd name="connsiteX4" fmla="*/ 54773 w 164599"/>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781"/>
                      <a:gd name="connsiteY0" fmla="*/ 0 h 201611"/>
                      <a:gd name="connsiteX1" fmla="*/ 180977 w 181781"/>
                      <a:gd name="connsiteY1" fmla="*/ 59530 h 201611"/>
                      <a:gd name="connsiteX2" fmla="*/ 104778 w 181781"/>
                      <a:gd name="connsiteY2" fmla="*/ 201611 h 201611"/>
                      <a:gd name="connsiteX3" fmla="*/ 0 w 181781"/>
                      <a:gd name="connsiteY3" fmla="*/ 151605 h 201611"/>
                      <a:gd name="connsiteX4" fmla="*/ 71442 w 181781"/>
                      <a:gd name="connsiteY4" fmla="*/ 0 h 201611"/>
                      <a:gd name="connsiteX0" fmla="*/ 71442 w 185660"/>
                      <a:gd name="connsiteY0" fmla="*/ 0 h 201611"/>
                      <a:gd name="connsiteX1" fmla="*/ 180977 w 185660"/>
                      <a:gd name="connsiteY1" fmla="*/ 59530 h 201611"/>
                      <a:gd name="connsiteX2" fmla="*/ 104778 w 185660"/>
                      <a:gd name="connsiteY2" fmla="*/ 201611 h 201611"/>
                      <a:gd name="connsiteX3" fmla="*/ 0 w 185660"/>
                      <a:gd name="connsiteY3" fmla="*/ 151605 h 201611"/>
                      <a:gd name="connsiteX4" fmla="*/ 71442 w 185660"/>
                      <a:gd name="connsiteY4" fmla="*/ 0 h 201611"/>
                      <a:gd name="connsiteX0" fmla="*/ 71442 w 183178"/>
                      <a:gd name="connsiteY0" fmla="*/ 0 h 201611"/>
                      <a:gd name="connsiteX1" fmla="*/ 180977 w 183178"/>
                      <a:gd name="connsiteY1" fmla="*/ 59530 h 201611"/>
                      <a:gd name="connsiteX2" fmla="*/ 104778 w 183178"/>
                      <a:gd name="connsiteY2" fmla="*/ 201611 h 201611"/>
                      <a:gd name="connsiteX3" fmla="*/ 0 w 183178"/>
                      <a:gd name="connsiteY3" fmla="*/ 151605 h 201611"/>
                      <a:gd name="connsiteX4" fmla="*/ 71442 w 183178"/>
                      <a:gd name="connsiteY4" fmla="*/ 0 h 201611"/>
                      <a:gd name="connsiteX0" fmla="*/ 73766 w 183178"/>
                      <a:gd name="connsiteY0" fmla="*/ 0 h 169276"/>
                      <a:gd name="connsiteX1" fmla="*/ 180977 w 183178"/>
                      <a:gd name="connsiteY1" fmla="*/ 27195 h 169276"/>
                      <a:gd name="connsiteX2" fmla="*/ 104778 w 183178"/>
                      <a:gd name="connsiteY2" fmla="*/ 169276 h 169276"/>
                      <a:gd name="connsiteX3" fmla="*/ 0 w 183178"/>
                      <a:gd name="connsiteY3" fmla="*/ 119270 h 169276"/>
                      <a:gd name="connsiteX4" fmla="*/ 73766 w 183178"/>
                      <a:gd name="connsiteY4" fmla="*/ 0 h 169276"/>
                      <a:gd name="connsiteX0" fmla="*/ 73766 w 183178"/>
                      <a:gd name="connsiteY0" fmla="*/ 0 h 182590"/>
                      <a:gd name="connsiteX1" fmla="*/ 180977 w 183178"/>
                      <a:gd name="connsiteY1" fmla="*/ 40509 h 182590"/>
                      <a:gd name="connsiteX2" fmla="*/ 104778 w 183178"/>
                      <a:gd name="connsiteY2" fmla="*/ 182590 h 182590"/>
                      <a:gd name="connsiteX3" fmla="*/ 0 w 183178"/>
                      <a:gd name="connsiteY3" fmla="*/ 132584 h 182590"/>
                      <a:gd name="connsiteX4" fmla="*/ 73766 w 183178"/>
                      <a:gd name="connsiteY4" fmla="*/ 0 h 182590"/>
                      <a:gd name="connsiteX0" fmla="*/ 73766 w 183178"/>
                      <a:gd name="connsiteY0" fmla="*/ 0 h 182590"/>
                      <a:gd name="connsiteX1" fmla="*/ 180977 w 183178"/>
                      <a:gd name="connsiteY1" fmla="*/ 40509 h 182590"/>
                      <a:gd name="connsiteX2" fmla="*/ 104778 w 183178"/>
                      <a:gd name="connsiteY2" fmla="*/ 182590 h 182590"/>
                      <a:gd name="connsiteX3" fmla="*/ 0 w 183178"/>
                      <a:gd name="connsiteY3" fmla="*/ 132584 h 182590"/>
                      <a:gd name="connsiteX4" fmla="*/ 73766 w 183178"/>
                      <a:gd name="connsiteY4" fmla="*/ 0 h 182590"/>
                      <a:gd name="connsiteX0" fmla="*/ 92358 w 183178"/>
                      <a:gd name="connsiteY0" fmla="*/ 14205 h 153049"/>
                      <a:gd name="connsiteX1" fmla="*/ 180977 w 183178"/>
                      <a:gd name="connsiteY1" fmla="*/ 10968 h 153049"/>
                      <a:gd name="connsiteX2" fmla="*/ 104778 w 183178"/>
                      <a:gd name="connsiteY2" fmla="*/ 153049 h 153049"/>
                      <a:gd name="connsiteX3" fmla="*/ 0 w 183178"/>
                      <a:gd name="connsiteY3" fmla="*/ 103043 h 153049"/>
                      <a:gd name="connsiteX4" fmla="*/ 92358 w 183178"/>
                      <a:gd name="connsiteY4" fmla="*/ 14205 h 153049"/>
                      <a:gd name="connsiteX0" fmla="*/ 90034 w 183178"/>
                      <a:gd name="connsiteY0" fmla="*/ 0 h 159766"/>
                      <a:gd name="connsiteX1" fmla="*/ 180977 w 183178"/>
                      <a:gd name="connsiteY1" fmla="*/ 17685 h 159766"/>
                      <a:gd name="connsiteX2" fmla="*/ 104778 w 183178"/>
                      <a:gd name="connsiteY2" fmla="*/ 159766 h 159766"/>
                      <a:gd name="connsiteX3" fmla="*/ 0 w 183178"/>
                      <a:gd name="connsiteY3" fmla="*/ 109760 h 159766"/>
                      <a:gd name="connsiteX4" fmla="*/ 90034 w 183178"/>
                      <a:gd name="connsiteY4" fmla="*/ 0 h 159766"/>
                      <a:gd name="connsiteX0" fmla="*/ 90034 w 183178"/>
                      <a:gd name="connsiteY0" fmla="*/ 0 h 159766"/>
                      <a:gd name="connsiteX1" fmla="*/ 180977 w 183178"/>
                      <a:gd name="connsiteY1" fmla="*/ 17685 h 159766"/>
                      <a:gd name="connsiteX2" fmla="*/ 104778 w 183178"/>
                      <a:gd name="connsiteY2" fmla="*/ 159766 h 159766"/>
                      <a:gd name="connsiteX3" fmla="*/ 0 w 183178"/>
                      <a:gd name="connsiteY3" fmla="*/ 109760 h 159766"/>
                      <a:gd name="connsiteX4" fmla="*/ 90034 w 183178"/>
                      <a:gd name="connsiteY4" fmla="*/ 0 h 159766"/>
                      <a:gd name="connsiteX0" fmla="*/ 90034 w 183178"/>
                      <a:gd name="connsiteY0" fmla="*/ 0 h 159766"/>
                      <a:gd name="connsiteX1" fmla="*/ 180977 w 183178"/>
                      <a:gd name="connsiteY1" fmla="*/ 17685 h 159766"/>
                      <a:gd name="connsiteX2" fmla="*/ 104778 w 183178"/>
                      <a:gd name="connsiteY2" fmla="*/ 159766 h 159766"/>
                      <a:gd name="connsiteX3" fmla="*/ 0 w 183178"/>
                      <a:gd name="connsiteY3" fmla="*/ 109760 h 159766"/>
                      <a:gd name="connsiteX4" fmla="*/ 90034 w 183178"/>
                      <a:gd name="connsiteY4" fmla="*/ 0 h 159766"/>
                      <a:gd name="connsiteX0" fmla="*/ 90034 w 183178"/>
                      <a:gd name="connsiteY0" fmla="*/ 0 h 159766"/>
                      <a:gd name="connsiteX1" fmla="*/ 180977 w 183178"/>
                      <a:gd name="connsiteY1" fmla="*/ 17685 h 159766"/>
                      <a:gd name="connsiteX2" fmla="*/ 104778 w 183178"/>
                      <a:gd name="connsiteY2" fmla="*/ 159766 h 159766"/>
                      <a:gd name="connsiteX3" fmla="*/ 0 w 183178"/>
                      <a:gd name="connsiteY3" fmla="*/ 109760 h 159766"/>
                      <a:gd name="connsiteX4" fmla="*/ 90034 w 183178"/>
                      <a:gd name="connsiteY4" fmla="*/ 0 h 159766"/>
                      <a:gd name="connsiteX0" fmla="*/ 101653 w 183178"/>
                      <a:gd name="connsiteY0" fmla="*/ 0 h 169276"/>
                      <a:gd name="connsiteX1" fmla="*/ 180977 w 183178"/>
                      <a:gd name="connsiteY1" fmla="*/ 27195 h 169276"/>
                      <a:gd name="connsiteX2" fmla="*/ 104778 w 183178"/>
                      <a:gd name="connsiteY2" fmla="*/ 169276 h 169276"/>
                      <a:gd name="connsiteX3" fmla="*/ 0 w 183178"/>
                      <a:gd name="connsiteY3" fmla="*/ 119270 h 169276"/>
                      <a:gd name="connsiteX4" fmla="*/ 101653 w 183178"/>
                      <a:gd name="connsiteY4" fmla="*/ 0 h 169276"/>
                      <a:gd name="connsiteX0" fmla="*/ 101653 w 183178"/>
                      <a:gd name="connsiteY0" fmla="*/ 0 h 169276"/>
                      <a:gd name="connsiteX1" fmla="*/ 180977 w 183178"/>
                      <a:gd name="connsiteY1" fmla="*/ 27195 h 169276"/>
                      <a:gd name="connsiteX2" fmla="*/ 104778 w 183178"/>
                      <a:gd name="connsiteY2" fmla="*/ 169276 h 169276"/>
                      <a:gd name="connsiteX3" fmla="*/ 0 w 183178"/>
                      <a:gd name="connsiteY3" fmla="*/ 119270 h 169276"/>
                      <a:gd name="connsiteX4" fmla="*/ 101653 w 183178"/>
                      <a:gd name="connsiteY4" fmla="*/ 0 h 169276"/>
                      <a:gd name="connsiteX0" fmla="*/ 101653 w 183178"/>
                      <a:gd name="connsiteY0" fmla="*/ 0 h 169276"/>
                      <a:gd name="connsiteX1" fmla="*/ 180977 w 183178"/>
                      <a:gd name="connsiteY1" fmla="*/ 27195 h 169276"/>
                      <a:gd name="connsiteX2" fmla="*/ 104778 w 183178"/>
                      <a:gd name="connsiteY2" fmla="*/ 169276 h 169276"/>
                      <a:gd name="connsiteX3" fmla="*/ 0 w 183178"/>
                      <a:gd name="connsiteY3" fmla="*/ 119270 h 169276"/>
                      <a:gd name="connsiteX4" fmla="*/ 101653 w 183178"/>
                      <a:gd name="connsiteY4" fmla="*/ 0 h 169276"/>
                      <a:gd name="connsiteX0" fmla="*/ 101653 w 183178"/>
                      <a:gd name="connsiteY0" fmla="*/ 0 h 169276"/>
                      <a:gd name="connsiteX1" fmla="*/ 180977 w 183178"/>
                      <a:gd name="connsiteY1" fmla="*/ 27195 h 169276"/>
                      <a:gd name="connsiteX2" fmla="*/ 104778 w 183178"/>
                      <a:gd name="connsiteY2" fmla="*/ 169276 h 169276"/>
                      <a:gd name="connsiteX3" fmla="*/ 0 w 183178"/>
                      <a:gd name="connsiteY3" fmla="*/ 119270 h 169276"/>
                      <a:gd name="connsiteX4" fmla="*/ 101653 w 183178"/>
                      <a:gd name="connsiteY4" fmla="*/ 0 h 169276"/>
                      <a:gd name="connsiteX0" fmla="*/ 101653 w 183178"/>
                      <a:gd name="connsiteY0" fmla="*/ 0 h 169276"/>
                      <a:gd name="connsiteX1" fmla="*/ 180977 w 183178"/>
                      <a:gd name="connsiteY1" fmla="*/ 27195 h 169276"/>
                      <a:gd name="connsiteX2" fmla="*/ 104778 w 183178"/>
                      <a:gd name="connsiteY2" fmla="*/ 169276 h 169276"/>
                      <a:gd name="connsiteX3" fmla="*/ 0 w 183178"/>
                      <a:gd name="connsiteY3" fmla="*/ 119270 h 169276"/>
                      <a:gd name="connsiteX4" fmla="*/ 101653 w 183178"/>
                      <a:gd name="connsiteY4" fmla="*/ 0 h 169276"/>
                      <a:gd name="connsiteX0" fmla="*/ 101653 w 183178"/>
                      <a:gd name="connsiteY0" fmla="*/ 0 h 169276"/>
                      <a:gd name="connsiteX1" fmla="*/ 180977 w 183178"/>
                      <a:gd name="connsiteY1" fmla="*/ 27195 h 169276"/>
                      <a:gd name="connsiteX2" fmla="*/ 104778 w 183178"/>
                      <a:gd name="connsiteY2" fmla="*/ 169276 h 169276"/>
                      <a:gd name="connsiteX3" fmla="*/ 0 w 183178"/>
                      <a:gd name="connsiteY3" fmla="*/ 119270 h 169276"/>
                      <a:gd name="connsiteX4" fmla="*/ 101653 w 183178"/>
                      <a:gd name="connsiteY4" fmla="*/ 0 h 169276"/>
                      <a:gd name="connsiteX0" fmla="*/ 99329 w 183178"/>
                      <a:gd name="connsiteY0" fmla="*/ 0 h 171178"/>
                      <a:gd name="connsiteX1" fmla="*/ 180977 w 183178"/>
                      <a:gd name="connsiteY1" fmla="*/ 29097 h 171178"/>
                      <a:gd name="connsiteX2" fmla="*/ 104778 w 183178"/>
                      <a:gd name="connsiteY2" fmla="*/ 171178 h 171178"/>
                      <a:gd name="connsiteX3" fmla="*/ 0 w 183178"/>
                      <a:gd name="connsiteY3" fmla="*/ 121172 h 171178"/>
                      <a:gd name="connsiteX4" fmla="*/ 99329 w 183178"/>
                      <a:gd name="connsiteY4" fmla="*/ 0 h 171178"/>
                      <a:gd name="connsiteX0" fmla="*/ 99329 w 183178"/>
                      <a:gd name="connsiteY0" fmla="*/ 0 h 171178"/>
                      <a:gd name="connsiteX1" fmla="*/ 180977 w 183178"/>
                      <a:gd name="connsiteY1" fmla="*/ 29097 h 171178"/>
                      <a:gd name="connsiteX2" fmla="*/ 104778 w 183178"/>
                      <a:gd name="connsiteY2" fmla="*/ 171178 h 171178"/>
                      <a:gd name="connsiteX3" fmla="*/ 0 w 183178"/>
                      <a:gd name="connsiteY3" fmla="*/ 121172 h 171178"/>
                      <a:gd name="connsiteX4" fmla="*/ 99329 w 183178"/>
                      <a:gd name="connsiteY4" fmla="*/ 0 h 171178"/>
                      <a:gd name="connsiteX0" fmla="*/ 99329 w 183178"/>
                      <a:gd name="connsiteY0" fmla="*/ 0 h 171178"/>
                      <a:gd name="connsiteX1" fmla="*/ 180977 w 183178"/>
                      <a:gd name="connsiteY1" fmla="*/ 29097 h 171178"/>
                      <a:gd name="connsiteX2" fmla="*/ 104778 w 183178"/>
                      <a:gd name="connsiteY2" fmla="*/ 171178 h 171178"/>
                      <a:gd name="connsiteX3" fmla="*/ 0 w 183178"/>
                      <a:gd name="connsiteY3" fmla="*/ 121172 h 171178"/>
                      <a:gd name="connsiteX4" fmla="*/ 99329 w 183178"/>
                      <a:gd name="connsiteY4" fmla="*/ 0 h 171178"/>
                      <a:gd name="connsiteX0" fmla="*/ 99329 w 183178"/>
                      <a:gd name="connsiteY0" fmla="*/ 0 h 171178"/>
                      <a:gd name="connsiteX1" fmla="*/ 180977 w 183178"/>
                      <a:gd name="connsiteY1" fmla="*/ 29097 h 171178"/>
                      <a:gd name="connsiteX2" fmla="*/ 104778 w 183178"/>
                      <a:gd name="connsiteY2" fmla="*/ 171178 h 171178"/>
                      <a:gd name="connsiteX3" fmla="*/ 0 w 183178"/>
                      <a:gd name="connsiteY3" fmla="*/ 121172 h 171178"/>
                      <a:gd name="connsiteX4" fmla="*/ 99329 w 183178"/>
                      <a:gd name="connsiteY4" fmla="*/ 0 h 171178"/>
                      <a:gd name="connsiteX0" fmla="*/ 99329 w 185659"/>
                      <a:gd name="connsiteY0" fmla="*/ 0 h 171178"/>
                      <a:gd name="connsiteX1" fmla="*/ 180977 w 185659"/>
                      <a:gd name="connsiteY1" fmla="*/ 29097 h 171178"/>
                      <a:gd name="connsiteX2" fmla="*/ 104778 w 185659"/>
                      <a:gd name="connsiteY2" fmla="*/ 171178 h 171178"/>
                      <a:gd name="connsiteX3" fmla="*/ 0 w 185659"/>
                      <a:gd name="connsiteY3" fmla="*/ 121172 h 171178"/>
                      <a:gd name="connsiteX4" fmla="*/ 99329 w 185659"/>
                      <a:gd name="connsiteY4" fmla="*/ 0 h 171178"/>
                      <a:gd name="connsiteX0" fmla="*/ 99329 w 186143"/>
                      <a:gd name="connsiteY0" fmla="*/ 0 h 171178"/>
                      <a:gd name="connsiteX1" fmla="*/ 180977 w 186143"/>
                      <a:gd name="connsiteY1" fmla="*/ 29097 h 171178"/>
                      <a:gd name="connsiteX2" fmla="*/ 109425 w 186143"/>
                      <a:gd name="connsiteY2" fmla="*/ 171178 h 171178"/>
                      <a:gd name="connsiteX3" fmla="*/ 0 w 186143"/>
                      <a:gd name="connsiteY3" fmla="*/ 121172 h 171178"/>
                      <a:gd name="connsiteX4" fmla="*/ 99329 w 186143"/>
                      <a:gd name="connsiteY4" fmla="*/ 0 h 171178"/>
                      <a:gd name="connsiteX0" fmla="*/ 99329 w 186143"/>
                      <a:gd name="connsiteY0" fmla="*/ 0 h 171178"/>
                      <a:gd name="connsiteX1" fmla="*/ 180977 w 186143"/>
                      <a:gd name="connsiteY1" fmla="*/ 29097 h 171178"/>
                      <a:gd name="connsiteX2" fmla="*/ 109425 w 186143"/>
                      <a:gd name="connsiteY2" fmla="*/ 171178 h 171178"/>
                      <a:gd name="connsiteX3" fmla="*/ 0 w 186143"/>
                      <a:gd name="connsiteY3" fmla="*/ 121172 h 171178"/>
                      <a:gd name="connsiteX4" fmla="*/ 99329 w 186143"/>
                      <a:gd name="connsiteY4" fmla="*/ 0 h 171178"/>
                      <a:gd name="connsiteX0" fmla="*/ 99329 w 186418"/>
                      <a:gd name="connsiteY0" fmla="*/ 0 h 171178"/>
                      <a:gd name="connsiteX1" fmla="*/ 180977 w 186418"/>
                      <a:gd name="connsiteY1" fmla="*/ 29097 h 171178"/>
                      <a:gd name="connsiteX2" fmla="*/ 111749 w 186418"/>
                      <a:gd name="connsiteY2" fmla="*/ 171178 h 171178"/>
                      <a:gd name="connsiteX3" fmla="*/ 0 w 186418"/>
                      <a:gd name="connsiteY3" fmla="*/ 121172 h 171178"/>
                      <a:gd name="connsiteX4" fmla="*/ 99329 w 186418"/>
                      <a:gd name="connsiteY4" fmla="*/ 0 h 171178"/>
                      <a:gd name="connsiteX0" fmla="*/ 99329 w 186418"/>
                      <a:gd name="connsiteY0" fmla="*/ 0 h 171178"/>
                      <a:gd name="connsiteX1" fmla="*/ 180977 w 186418"/>
                      <a:gd name="connsiteY1" fmla="*/ 29097 h 171178"/>
                      <a:gd name="connsiteX2" fmla="*/ 111749 w 186418"/>
                      <a:gd name="connsiteY2" fmla="*/ 171178 h 171178"/>
                      <a:gd name="connsiteX3" fmla="*/ 0 w 186418"/>
                      <a:gd name="connsiteY3" fmla="*/ 121172 h 171178"/>
                      <a:gd name="connsiteX4" fmla="*/ 99329 w 186418"/>
                      <a:gd name="connsiteY4" fmla="*/ 0 h 171178"/>
                      <a:gd name="connsiteX0" fmla="*/ 99329 w 186418"/>
                      <a:gd name="connsiteY0" fmla="*/ 0 h 171178"/>
                      <a:gd name="connsiteX1" fmla="*/ 180977 w 186418"/>
                      <a:gd name="connsiteY1" fmla="*/ 29097 h 171178"/>
                      <a:gd name="connsiteX2" fmla="*/ 111749 w 186418"/>
                      <a:gd name="connsiteY2" fmla="*/ 171178 h 171178"/>
                      <a:gd name="connsiteX3" fmla="*/ 0 w 186418"/>
                      <a:gd name="connsiteY3" fmla="*/ 121172 h 171178"/>
                      <a:gd name="connsiteX4" fmla="*/ 99329 w 186418"/>
                      <a:gd name="connsiteY4" fmla="*/ 0 h 171178"/>
                      <a:gd name="connsiteX0" fmla="*/ 99329 w 185891"/>
                      <a:gd name="connsiteY0" fmla="*/ 0 h 169276"/>
                      <a:gd name="connsiteX1" fmla="*/ 180977 w 185891"/>
                      <a:gd name="connsiteY1" fmla="*/ 29097 h 169276"/>
                      <a:gd name="connsiteX2" fmla="*/ 107101 w 185891"/>
                      <a:gd name="connsiteY2" fmla="*/ 169276 h 169276"/>
                      <a:gd name="connsiteX3" fmla="*/ 0 w 185891"/>
                      <a:gd name="connsiteY3" fmla="*/ 121172 h 169276"/>
                      <a:gd name="connsiteX4" fmla="*/ 99329 w 185891"/>
                      <a:gd name="connsiteY4" fmla="*/ 0 h 169276"/>
                      <a:gd name="connsiteX0" fmla="*/ 99329 w 184795"/>
                      <a:gd name="connsiteY0" fmla="*/ 0 h 169276"/>
                      <a:gd name="connsiteX1" fmla="*/ 180977 w 184795"/>
                      <a:gd name="connsiteY1" fmla="*/ 29097 h 169276"/>
                      <a:gd name="connsiteX2" fmla="*/ 107101 w 184795"/>
                      <a:gd name="connsiteY2" fmla="*/ 169276 h 169276"/>
                      <a:gd name="connsiteX3" fmla="*/ 0 w 184795"/>
                      <a:gd name="connsiteY3" fmla="*/ 121172 h 169276"/>
                      <a:gd name="connsiteX4" fmla="*/ 99329 w 184795"/>
                      <a:gd name="connsiteY4" fmla="*/ 0 h 169276"/>
                      <a:gd name="connsiteX0" fmla="*/ 99329 w 184373"/>
                      <a:gd name="connsiteY0" fmla="*/ 0 h 165472"/>
                      <a:gd name="connsiteX1" fmla="*/ 180977 w 184373"/>
                      <a:gd name="connsiteY1" fmla="*/ 29097 h 165472"/>
                      <a:gd name="connsiteX2" fmla="*/ 100129 w 184373"/>
                      <a:gd name="connsiteY2" fmla="*/ 165472 h 165472"/>
                      <a:gd name="connsiteX3" fmla="*/ 0 w 184373"/>
                      <a:gd name="connsiteY3" fmla="*/ 121172 h 165472"/>
                      <a:gd name="connsiteX4" fmla="*/ 99329 w 184373"/>
                      <a:gd name="connsiteY4" fmla="*/ 0 h 165472"/>
                      <a:gd name="connsiteX0" fmla="*/ 99329 w 184373"/>
                      <a:gd name="connsiteY0" fmla="*/ 0 h 165472"/>
                      <a:gd name="connsiteX1" fmla="*/ 180977 w 184373"/>
                      <a:gd name="connsiteY1" fmla="*/ 29097 h 165472"/>
                      <a:gd name="connsiteX2" fmla="*/ 100129 w 184373"/>
                      <a:gd name="connsiteY2" fmla="*/ 165472 h 165472"/>
                      <a:gd name="connsiteX3" fmla="*/ 0 w 184373"/>
                      <a:gd name="connsiteY3" fmla="*/ 121172 h 165472"/>
                      <a:gd name="connsiteX4" fmla="*/ 99329 w 184373"/>
                      <a:gd name="connsiteY4" fmla="*/ 0 h 165472"/>
                      <a:gd name="connsiteX0" fmla="*/ 99329 w 183948"/>
                      <a:gd name="connsiteY0" fmla="*/ 0 h 165472"/>
                      <a:gd name="connsiteX1" fmla="*/ 180977 w 183948"/>
                      <a:gd name="connsiteY1" fmla="*/ 29097 h 165472"/>
                      <a:gd name="connsiteX2" fmla="*/ 100129 w 183948"/>
                      <a:gd name="connsiteY2" fmla="*/ 165472 h 165472"/>
                      <a:gd name="connsiteX3" fmla="*/ 0 w 183948"/>
                      <a:gd name="connsiteY3" fmla="*/ 121172 h 165472"/>
                      <a:gd name="connsiteX4" fmla="*/ 99329 w 183948"/>
                      <a:gd name="connsiteY4" fmla="*/ 0 h 165472"/>
                      <a:gd name="connsiteX0" fmla="*/ 99329 w 181711"/>
                      <a:gd name="connsiteY0" fmla="*/ 0 h 165472"/>
                      <a:gd name="connsiteX1" fmla="*/ 180977 w 181711"/>
                      <a:gd name="connsiteY1" fmla="*/ 29097 h 165472"/>
                      <a:gd name="connsiteX2" fmla="*/ 100129 w 181711"/>
                      <a:gd name="connsiteY2" fmla="*/ 165472 h 165472"/>
                      <a:gd name="connsiteX3" fmla="*/ 0 w 181711"/>
                      <a:gd name="connsiteY3" fmla="*/ 121172 h 165472"/>
                      <a:gd name="connsiteX4" fmla="*/ 99329 w 181711"/>
                      <a:gd name="connsiteY4" fmla="*/ 0 h 165472"/>
                      <a:gd name="connsiteX0" fmla="*/ 99329 w 181338"/>
                      <a:gd name="connsiteY0" fmla="*/ 0 h 165472"/>
                      <a:gd name="connsiteX1" fmla="*/ 180977 w 181338"/>
                      <a:gd name="connsiteY1" fmla="*/ 29097 h 165472"/>
                      <a:gd name="connsiteX2" fmla="*/ 100129 w 181338"/>
                      <a:gd name="connsiteY2" fmla="*/ 165472 h 165472"/>
                      <a:gd name="connsiteX3" fmla="*/ 0 w 181338"/>
                      <a:gd name="connsiteY3" fmla="*/ 121172 h 165472"/>
                      <a:gd name="connsiteX4" fmla="*/ 99329 w 181338"/>
                      <a:gd name="connsiteY4" fmla="*/ 0 h 165472"/>
                      <a:gd name="connsiteX0" fmla="*/ 99329 w 181321"/>
                      <a:gd name="connsiteY0" fmla="*/ 0 h 165472"/>
                      <a:gd name="connsiteX1" fmla="*/ 180977 w 181321"/>
                      <a:gd name="connsiteY1" fmla="*/ 29097 h 165472"/>
                      <a:gd name="connsiteX2" fmla="*/ 100129 w 181321"/>
                      <a:gd name="connsiteY2" fmla="*/ 165472 h 165472"/>
                      <a:gd name="connsiteX3" fmla="*/ 0 w 181321"/>
                      <a:gd name="connsiteY3" fmla="*/ 121172 h 165472"/>
                      <a:gd name="connsiteX4" fmla="*/ 99329 w 181321"/>
                      <a:gd name="connsiteY4" fmla="*/ 0 h 165472"/>
                      <a:gd name="connsiteX0" fmla="*/ 99329 w 181321"/>
                      <a:gd name="connsiteY0" fmla="*/ 0 h 165472"/>
                      <a:gd name="connsiteX1" fmla="*/ 180977 w 181321"/>
                      <a:gd name="connsiteY1" fmla="*/ 29097 h 165472"/>
                      <a:gd name="connsiteX2" fmla="*/ 100129 w 181321"/>
                      <a:gd name="connsiteY2" fmla="*/ 165472 h 165472"/>
                      <a:gd name="connsiteX3" fmla="*/ 0 w 181321"/>
                      <a:gd name="connsiteY3" fmla="*/ 121172 h 165472"/>
                      <a:gd name="connsiteX4" fmla="*/ 99329 w 181321"/>
                      <a:gd name="connsiteY4" fmla="*/ 0 h 165472"/>
                      <a:gd name="connsiteX0" fmla="*/ 99329 w 182129"/>
                      <a:gd name="connsiteY0" fmla="*/ 0 h 165472"/>
                      <a:gd name="connsiteX1" fmla="*/ 180977 w 182129"/>
                      <a:gd name="connsiteY1" fmla="*/ 29097 h 165472"/>
                      <a:gd name="connsiteX2" fmla="*/ 100129 w 182129"/>
                      <a:gd name="connsiteY2" fmla="*/ 165472 h 165472"/>
                      <a:gd name="connsiteX3" fmla="*/ 0 w 182129"/>
                      <a:gd name="connsiteY3" fmla="*/ 121172 h 165472"/>
                      <a:gd name="connsiteX4" fmla="*/ 99329 w 182129"/>
                      <a:gd name="connsiteY4" fmla="*/ 0 h 165472"/>
                      <a:gd name="connsiteX0" fmla="*/ 99329 w 182129"/>
                      <a:gd name="connsiteY0" fmla="*/ 0 h 165472"/>
                      <a:gd name="connsiteX1" fmla="*/ 180977 w 182129"/>
                      <a:gd name="connsiteY1" fmla="*/ 29097 h 165472"/>
                      <a:gd name="connsiteX2" fmla="*/ 100129 w 182129"/>
                      <a:gd name="connsiteY2" fmla="*/ 165472 h 165472"/>
                      <a:gd name="connsiteX3" fmla="*/ 0 w 182129"/>
                      <a:gd name="connsiteY3" fmla="*/ 121172 h 165472"/>
                      <a:gd name="connsiteX4" fmla="*/ 99329 w 182129"/>
                      <a:gd name="connsiteY4" fmla="*/ 0 h 165472"/>
                      <a:gd name="connsiteX0" fmla="*/ 101653 w 182129"/>
                      <a:gd name="connsiteY0" fmla="*/ 0 h 165472"/>
                      <a:gd name="connsiteX1" fmla="*/ 180977 w 182129"/>
                      <a:gd name="connsiteY1" fmla="*/ 29097 h 165472"/>
                      <a:gd name="connsiteX2" fmla="*/ 100129 w 182129"/>
                      <a:gd name="connsiteY2" fmla="*/ 165472 h 165472"/>
                      <a:gd name="connsiteX3" fmla="*/ 0 w 182129"/>
                      <a:gd name="connsiteY3" fmla="*/ 121172 h 165472"/>
                      <a:gd name="connsiteX4" fmla="*/ 101653 w 182129"/>
                      <a:gd name="connsiteY4" fmla="*/ 0 h 165472"/>
                      <a:gd name="connsiteX0" fmla="*/ 101653 w 182129"/>
                      <a:gd name="connsiteY0" fmla="*/ 0 h 165472"/>
                      <a:gd name="connsiteX1" fmla="*/ 180977 w 182129"/>
                      <a:gd name="connsiteY1" fmla="*/ 29097 h 165472"/>
                      <a:gd name="connsiteX2" fmla="*/ 100129 w 182129"/>
                      <a:gd name="connsiteY2" fmla="*/ 165472 h 165472"/>
                      <a:gd name="connsiteX3" fmla="*/ 0 w 182129"/>
                      <a:gd name="connsiteY3" fmla="*/ 121172 h 165472"/>
                      <a:gd name="connsiteX4" fmla="*/ 101653 w 182129"/>
                      <a:gd name="connsiteY4" fmla="*/ 0 h 165472"/>
                      <a:gd name="connsiteX0" fmla="*/ 99329 w 179805"/>
                      <a:gd name="connsiteY0" fmla="*/ 0 h 165472"/>
                      <a:gd name="connsiteX1" fmla="*/ 178653 w 179805"/>
                      <a:gd name="connsiteY1" fmla="*/ 29097 h 165472"/>
                      <a:gd name="connsiteX2" fmla="*/ 97805 w 179805"/>
                      <a:gd name="connsiteY2" fmla="*/ 165472 h 165472"/>
                      <a:gd name="connsiteX3" fmla="*/ 0 w 179805"/>
                      <a:gd name="connsiteY3" fmla="*/ 121172 h 165472"/>
                      <a:gd name="connsiteX4" fmla="*/ 99329 w 179805"/>
                      <a:gd name="connsiteY4" fmla="*/ 0 h 165472"/>
                      <a:gd name="connsiteX0" fmla="*/ 99329 w 179805"/>
                      <a:gd name="connsiteY0" fmla="*/ 0 h 165472"/>
                      <a:gd name="connsiteX1" fmla="*/ 178653 w 179805"/>
                      <a:gd name="connsiteY1" fmla="*/ 29097 h 165472"/>
                      <a:gd name="connsiteX2" fmla="*/ 97805 w 179805"/>
                      <a:gd name="connsiteY2" fmla="*/ 165472 h 165472"/>
                      <a:gd name="connsiteX3" fmla="*/ 0 w 179805"/>
                      <a:gd name="connsiteY3" fmla="*/ 121172 h 165472"/>
                      <a:gd name="connsiteX4" fmla="*/ 99329 w 179805"/>
                      <a:gd name="connsiteY4" fmla="*/ 0 h 165472"/>
                      <a:gd name="connsiteX0" fmla="*/ 99329 w 179805"/>
                      <a:gd name="connsiteY0" fmla="*/ 0 h 165472"/>
                      <a:gd name="connsiteX1" fmla="*/ 178653 w 179805"/>
                      <a:gd name="connsiteY1" fmla="*/ 29097 h 165472"/>
                      <a:gd name="connsiteX2" fmla="*/ 97805 w 179805"/>
                      <a:gd name="connsiteY2" fmla="*/ 165472 h 165472"/>
                      <a:gd name="connsiteX3" fmla="*/ 0 w 179805"/>
                      <a:gd name="connsiteY3" fmla="*/ 121172 h 165472"/>
                      <a:gd name="connsiteX4" fmla="*/ 99329 w 179805"/>
                      <a:gd name="connsiteY4" fmla="*/ 0 h 165472"/>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7529"/>
                      <a:gd name="connsiteY0" fmla="*/ 0 h 163569"/>
                      <a:gd name="connsiteX1" fmla="*/ 176330 w 177529"/>
                      <a:gd name="connsiteY1" fmla="*/ 27194 h 163569"/>
                      <a:gd name="connsiteX2" fmla="*/ 97805 w 177529"/>
                      <a:gd name="connsiteY2" fmla="*/ 163569 h 163569"/>
                      <a:gd name="connsiteX3" fmla="*/ 0 w 177529"/>
                      <a:gd name="connsiteY3" fmla="*/ 119269 h 163569"/>
                      <a:gd name="connsiteX4" fmla="*/ 103977 w 177529"/>
                      <a:gd name="connsiteY4" fmla="*/ 0 h 163569"/>
                      <a:gd name="connsiteX0" fmla="*/ 103977 w 179305"/>
                      <a:gd name="connsiteY0" fmla="*/ 0 h 163569"/>
                      <a:gd name="connsiteX1" fmla="*/ 176330 w 179305"/>
                      <a:gd name="connsiteY1" fmla="*/ 27194 h 163569"/>
                      <a:gd name="connsiteX2" fmla="*/ 97805 w 179305"/>
                      <a:gd name="connsiteY2" fmla="*/ 163569 h 163569"/>
                      <a:gd name="connsiteX3" fmla="*/ 0 w 179305"/>
                      <a:gd name="connsiteY3" fmla="*/ 119269 h 163569"/>
                      <a:gd name="connsiteX4" fmla="*/ 103977 w 179305"/>
                      <a:gd name="connsiteY4" fmla="*/ 0 h 163569"/>
                      <a:gd name="connsiteX0" fmla="*/ 103977 w 179305"/>
                      <a:gd name="connsiteY0" fmla="*/ 0 h 163569"/>
                      <a:gd name="connsiteX1" fmla="*/ 176330 w 179305"/>
                      <a:gd name="connsiteY1" fmla="*/ 27194 h 163569"/>
                      <a:gd name="connsiteX2" fmla="*/ 97805 w 179305"/>
                      <a:gd name="connsiteY2" fmla="*/ 163569 h 163569"/>
                      <a:gd name="connsiteX3" fmla="*/ 0 w 179305"/>
                      <a:gd name="connsiteY3" fmla="*/ 119269 h 163569"/>
                      <a:gd name="connsiteX4" fmla="*/ 103977 w 179305"/>
                      <a:gd name="connsiteY4" fmla="*/ 0 h 163569"/>
                      <a:gd name="connsiteX0" fmla="*/ 103977 w 179305"/>
                      <a:gd name="connsiteY0" fmla="*/ 0 h 163569"/>
                      <a:gd name="connsiteX1" fmla="*/ 176330 w 179305"/>
                      <a:gd name="connsiteY1" fmla="*/ 27194 h 163569"/>
                      <a:gd name="connsiteX2" fmla="*/ 97805 w 179305"/>
                      <a:gd name="connsiteY2" fmla="*/ 163569 h 163569"/>
                      <a:gd name="connsiteX3" fmla="*/ 0 w 179305"/>
                      <a:gd name="connsiteY3" fmla="*/ 119269 h 163569"/>
                      <a:gd name="connsiteX4" fmla="*/ 103977 w 179305"/>
                      <a:gd name="connsiteY4" fmla="*/ 0 h 163569"/>
                      <a:gd name="connsiteX0" fmla="*/ 103977 w 179305"/>
                      <a:gd name="connsiteY0" fmla="*/ 0 h 163569"/>
                      <a:gd name="connsiteX1" fmla="*/ 176330 w 179305"/>
                      <a:gd name="connsiteY1" fmla="*/ 27194 h 163569"/>
                      <a:gd name="connsiteX2" fmla="*/ 97805 w 179305"/>
                      <a:gd name="connsiteY2" fmla="*/ 163569 h 163569"/>
                      <a:gd name="connsiteX3" fmla="*/ 0 w 179305"/>
                      <a:gd name="connsiteY3" fmla="*/ 119269 h 163569"/>
                      <a:gd name="connsiteX4" fmla="*/ 103977 w 179305"/>
                      <a:gd name="connsiteY4" fmla="*/ 0 h 163569"/>
                      <a:gd name="connsiteX0" fmla="*/ 103977 w 179305"/>
                      <a:gd name="connsiteY0" fmla="*/ 0 h 163569"/>
                      <a:gd name="connsiteX1" fmla="*/ 176330 w 179305"/>
                      <a:gd name="connsiteY1" fmla="*/ 27194 h 163569"/>
                      <a:gd name="connsiteX2" fmla="*/ 97805 w 179305"/>
                      <a:gd name="connsiteY2" fmla="*/ 163569 h 163569"/>
                      <a:gd name="connsiteX3" fmla="*/ 0 w 179305"/>
                      <a:gd name="connsiteY3" fmla="*/ 119269 h 163569"/>
                      <a:gd name="connsiteX4" fmla="*/ 103977 w 179305"/>
                      <a:gd name="connsiteY4" fmla="*/ 0 h 163569"/>
                      <a:gd name="connsiteX0" fmla="*/ 103977 w 179305"/>
                      <a:gd name="connsiteY0" fmla="*/ 0 h 163569"/>
                      <a:gd name="connsiteX1" fmla="*/ 176330 w 179305"/>
                      <a:gd name="connsiteY1" fmla="*/ 27194 h 163569"/>
                      <a:gd name="connsiteX2" fmla="*/ 97805 w 179305"/>
                      <a:gd name="connsiteY2" fmla="*/ 163569 h 163569"/>
                      <a:gd name="connsiteX3" fmla="*/ 0 w 179305"/>
                      <a:gd name="connsiteY3" fmla="*/ 119269 h 163569"/>
                      <a:gd name="connsiteX4" fmla="*/ 103977 w 179305"/>
                      <a:gd name="connsiteY4" fmla="*/ 0 h 163569"/>
                      <a:gd name="connsiteX0" fmla="*/ 103977 w 179229"/>
                      <a:gd name="connsiteY0" fmla="*/ 0 h 162080"/>
                      <a:gd name="connsiteX1" fmla="*/ 176330 w 179229"/>
                      <a:gd name="connsiteY1" fmla="*/ 27194 h 162080"/>
                      <a:gd name="connsiteX2" fmla="*/ 95986 w 179229"/>
                      <a:gd name="connsiteY2" fmla="*/ 162080 h 162080"/>
                      <a:gd name="connsiteX3" fmla="*/ 0 w 179229"/>
                      <a:gd name="connsiteY3" fmla="*/ 119269 h 162080"/>
                      <a:gd name="connsiteX4" fmla="*/ 103977 w 179229"/>
                      <a:gd name="connsiteY4" fmla="*/ 0 h 162080"/>
                      <a:gd name="connsiteX0" fmla="*/ 103977 w 179229"/>
                      <a:gd name="connsiteY0" fmla="*/ 0 h 162080"/>
                      <a:gd name="connsiteX1" fmla="*/ 176330 w 179229"/>
                      <a:gd name="connsiteY1" fmla="*/ 27194 h 162080"/>
                      <a:gd name="connsiteX2" fmla="*/ 95986 w 179229"/>
                      <a:gd name="connsiteY2" fmla="*/ 162080 h 162080"/>
                      <a:gd name="connsiteX3" fmla="*/ 0 w 179229"/>
                      <a:gd name="connsiteY3" fmla="*/ 119269 h 162080"/>
                      <a:gd name="connsiteX4" fmla="*/ 103977 w 179229"/>
                      <a:gd name="connsiteY4" fmla="*/ 0 h 162080"/>
                      <a:gd name="connsiteX0" fmla="*/ 103977 w 179717"/>
                      <a:gd name="connsiteY0" fmla="*/ 0 h 162080"/>
                      <a:gd name="connsiteX1" fmla="*/ 176330 w 179717"/>
                      <a:gd name="connsiteY1" fmla="*/ 27194 h 162080"/>
                      <a:gd name="connsiteX2" fmla="*/ 95986 w 179717"/>
                      <a:gd name="connsiteY2" fmla="*/ 162080 h 162080"/>
                      <a:gd name="connsiteX3" fmla="*/ 0 w 179717"/>
                      <a:gd name="connsiteY3" fmla="*/ 119269 h 162080"/>
                      <a:gd name="connsiteX4" fmla="*/ 103977 w 179717"/>
                      <a:gd name="connsiteY4" fmla="*/ 0 h 162080"/>
                      <a:gd name="connsiteX0" fmla="*/ 103977 w 180295"/>
                      <a:gd name="connsiteY0" fmla="*/ 0 h 162080"/>
                      <a:gd name="connsiteX1" fmla="*/ 176330 w 180295"/>
                      <a:gd name="connsiteY1" fmla="*/ 27194 h 162080"/>
                      <a:gd name="connsiteX2" fmla="*/ 95986 w 180295"/>
                      <a:gd name="connsiteY2" fmla="*/ 162080 h 162080"/>
                      <a:gd name="connsiteX3" fmla="*/ 0 w 180295"/>
                      <a:gd name="connsiteY3" fmla="*/ 119269 h 162080"/>
                      <a:gd name="connsiteX4" fmla="*/ 103977 w 180295"/>
                      <a:gd name="connsiteY4" fmla="*/ 0 h 162080"/>
                      <a:gd name="connsiteX0" fmla="*/ 103977 w 180295"/>
                      <a:gd name="connsiteY0" fmla="*/ 0 h 162080"/>
                      <a:gd name="connsiteX1" fmla="*/ 176330 w 180295"/>
                      <a:gd name="connsiteY1" fmla="*/ 27194 h 162080"/>
                      <a:gd name="connsiteX2" fmla="*/ 95986 w 180295"/>
                      <a:gd name="connsiteY2" fmla="*/ 162080 h 162080"/>
                      <a:gd name="connsiteX3" fmla="*/ 0 w 180295"/>
                      <a:gd name="connsiteY3" fmla="*/ 119269 h 162080"/>
                      <a:gd name="connsiteX4" fmla="*/ 103977 w 180295"/>
                      <a:gd name="connsiteY4" fmla="*/ 0 h 162080"/>
                      <a:gd name="connsiteX0" fmla="*/ 103977 w 180512"/>
                      <a:gd name="connsiteY0" fmla="*/ 0 h 162080"/>
                      <a:gd name="connsiteX1" fmla="*/ 176330 w 180512"/>
                      <a:gd name="connsiteY1" fmla="*/ 27194 h 162080"/>
                      <a:gd name="connsiteX2" fmla="*/ 95986 w 180512"/>
                      <a:gd name="connsiteY2" fmla="*/ 162080 h 162080"/>
                      <a:gd name="connsiteX3" fmla="*/ 0 w 180512"/>
                      <a:gd name="connsiteY3" fmla="*/ 119269 h 162080"/>
                      <a:gd name="connsiteX4" fmla="*/ 103977 w 180512"/>
                      <a:gd name="connsiteY4" fmla="*/ 0 h 162080"/>
                      <a:gd name="connsiteX0" fmla="*/ 103977 w 180512"/>
                      <a:gd name="connsiteY0" fmla="*/ 0 h 162080"/>
                      <a:gd name="connsiteX1" fmla="*/ 176330 w 180512"/>
                      <a:gd name="connsiteY1" fmla="*/ 27194 h 162080"/>
                      <a:gd name="connsiteX2" fmla="*/ 95986 w 180512"/>
                      <a:gd name="connsiteY2" fmla="*/ 162080 h 162080"/>
                      <a:gd name="connsiteX3" fmla="*/ 0 w 180512"/>
                      <a:gd name="connsiteY3" fmla="*/ 119269 h 162080"/>
                      <a:gd name="connsiteX4" fmla="*/ 103977 w 180512"/>
                      <a:gd name="connsiteY4" fmla="*/ 0 h 162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512" h="162080">
                        <a:moveTo>
                          <a:pt x="103977" y="0"/>
                        </a:moveTo>
                        <a:lnTo>
                          <a:pt x="176330" y="27194"/>
                        </a:lnTo>
                        <a:cubicBezTo>
                          <a:pt x="194531" y="90639"/>
                          <a:pt x="150676" y="140118"/>
                          <a:pt x="95986" y="162080"/>
                        </a:cubicBezTo>
                        <a:cubicBezTo>
                          <a:pt x="70155" y="151780"/>
                          <a:pt x="39574" y="135938"/>
                          <a:pt x="0" y="119269"/>
                        </a:cubicBezTo>
                        <a:cubicBezTo>
                          <a:pt x="73314" y="134854"/>
                          <a:pt x="109697" y="47607"/>
                          <a:pt x="103977" y="0"/>
                        </a:cubicBezTo>
                        <a:close/>
                      </a:path>
                    </a:pathLst>
                  </a:custGeom>
                  <a:solidFill>
                    <a:srgbClr val="BFBFB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64" name="Rectangle 14"/>
                  <p:cNvSpPr/>
                  <p:nvPr/>
                </p:nvSpPr>
                <p:spPr>
                  <a:xfrm rot="1545906" flipH="1">
                    <a:off x="6162231" y="2977377"/>
                    <a:ext cx="797591" cy="477359"/>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9131"/>
                      <a:gd name="connsiteY0" fmla="*/ 0 h 368300"/>
                      <a:gd name="connsiteX1" fmla="*/ 669131 w 669131"/>
                      <a:gd name="connsiteY1" fmla="*/ 223837 h 368300"/>
                      <a:gd name="connsiteX2" fmla="*/ 571500 w 669131"/>
                      <a:gd name="connsiteY2" fmla="*/ 368300 h 368300"/>
                      <a:gd name="connsiteX3" fmla="*/ 0 w 669131"/>
                      <a:gd name="connsiteY3" fmla="*/ 368300 h 368300"/>
                      <a:gd name="connsiteX4" fmla="*/ 0 w 669131"/>
                      <a:gd name="connsiteY4" fmla="*/ 0 h 368300"/>
                      <a:gd name="connsiteX0" fmla="*/ 0 w 683551"/>
                      <a:gd name="connsiteY0" fmla="*/ 0 h 368300"/>
                      <a:gd name="connsiteX1" fmla="*/ 669131 w 683551"/>
                      <a:gd name="connsiteY1" fmla="*/ 223837 h 368300"/>
                      <a:gd name="connsiteX2" fmla="*/ 571500 w 683551"/>
                      <a:gd name="connsiteY2" fmla="*/ 368300 h 368300"/>
                      <a:gd name="connsiteX3" fmla="*/ 0 w 683551"/>
                      <a:gd name="connsiteY3" fmla="*/ 368300 h 368300"/>
                      <a:gd name="connsiteX4" fmla="*/ 0 w 683551"/>
                      <a:gd name="connsiteY4" fmla="*/ 0 h 368300"/>
                      <a:gd name="connsiteX0" fmla="*/ 0 w 672707"/>
                      <a:gd name="connsiteY0" fmla="*/ 0 h 368300"/>
                      <a:gd name="connsiteX1" fmla="*/ 669131 w 672707"/>
                      <a:gd name="connsiteY1" fmla="*/ 223837 h 368300"/>
                      <a:gd name="connsiteX2" fmla="*/ 571500 w 672707"/>
                      <a:gd name="connsiteY2" fmla="*/ 368300 h 368300"/>
                      <a:gd name="connsiteX3" fmla="*/ 0 w 672707"/>
                      <a:gd name="connsiteY3" fmla="*/ 368300 h 368300"/>
                      <a:gd name="connsiteX4" fmla="*/ 0 w 672707"/>
                      <a:gd name="connsiteY4" fmla="*/ 0 h 368300"/>
                      <a:gd name="connsiteX0" fmla="*/ 0 w 673449"/>
                      <a:gd name="connsiteY0" fmla="*/ 0 h 370698"/>
                      <a:gd name="connsiteX1" fmla="*/ 669131 w 673449"/>
                      <a:gd name="connsiteY1" fmla="*/ 223837 h 370698"/>
                      <a:gd name="connsiteX2" fmla="*/ 571500 w 673449"/>
                      <a:gd name="connsiteY2" fmla="*/ 368300 h 370698"/>
                      <a:gd name="connsiteX3" fmla="*/ 0 w 673449"/>
                      <a:gd name="connsiteY3" fmla="*/ 368300 h 370698"/>
                      <a:gd name="connsiteX4" fmla="*/ 0 w 673449"/>
                      <a:gd name="connsiteY4" fmla="*/ 0 h 370698"/>
                      <a:gd name="connsiteX0" fmla="*/ 0 w 672956"/>
                      <a:gd name="connsiteY0" fmla="*/ 0 h 371937"/>
                      <a:gd name="connsiteX1" fmla="*/ 669131 w 672956"/>
                      <a:gd name="connsiteY1" fmla="*/ 223837 h 371937"/>
                      <a:gd name="connsiteX2" fmla="*/ 571500 w 672956"/>
                      <a:gd name="connsiteY2" fmla="*/ 368300 h 371937"/>
                      <a:gd name="connsiteX3" fmla="*/ 0 w 672956"/>
                      <a:gd name="connsiteY3" fmla="*/ 368300 h 371937"/>
                      <a:gd name="connsiteX4" fmla="*/ 0 w 672956"/>
                      <a:gd name="connsiteY4" fmla="*/ 0 h 371937"/>
                      <a:gd name="connsiteX0" fmla="*/ 0 w 671150"/>
                      <a:gd name="connsiteY0" fmla="*/ 0 h 371937"/>
                      <a:gd name="connsiteX1" fmla="*/ 669131 w 671150"/>
                      <a:gd name="connsiteY1" fmla="*/ 223837 h 371937"/>
                      <a:gd name="connsiteX2" fmla="*/ 571500 w 671150"/>
                      <a:gd name="connsiteY2" fmla="*/ 368300 h 371937"/>
                      <a:gd name="connsiteX3" fmla="*/ 0 w 671150"/>
                      <a:gd name="connsiteY3" fmla="*/ 368300 h 371937"/>
                      <a:gd name="connsiteX4" fmla="*/ 0 w 671150"/>
                      <a:gd name="connsiteY4" fmla="*/ 0 h 371937"/>
                      <a:gd name="connsiteX0" fmla="*/ 0 w 671778"/>
                      <a:gd name="connsiteY0" fmla="*/ 0 h 369189"/>
                      <a:gd name="connsiteX1" fmla="*/ 669131 w 671778"/>
                      <a:gd name="connsiteY1" fmla="*/ 223837 h 369189"/>
                      <a:gd name="connsiteX2" fmla="*/ 571500 w 671778"/>
                      <a:gd name="connsiteY2" fmla="*/ 368300 h 369189"/>
                      <a:gd name="connsiteX3" fmla="*/ 0 w 671778"/>
                      <a:gd name="connsiteY3" fmla="*/ 368300 h 369189"/>
                      <a:gd name="connsiteX4" fmla="*/ 0 w 671778"/>
                      <a:gd name="connsiteY4" fmla="*/ 0 h 369189"/>
                      <a:gd name="connsiteX0" fmla="*/ 0 w 671391"/>
                      <a:gd name="connsiteY0" fmla="*/ 0 h 369635"/>
                      <a:gd name="connsiteX1" fmla="*/ 669131 w 671391"/>
                      <a:gd name="connsiteY1" fmla="*/ 223837 h 369635"/>
                      <a:gd name="connsiteX2" fmla="*/ 571500 w 671391"/>
                      <a:gd name="connsiteY2" fmla="*/ 368300 h 369635"/>
                      <a:gd name="connsiteX3" fmla="*/ 0 w 671391"/>
                      <a:gd name="connsiteY3" fmla="*/ 368300 h 369635"/>
                      <a:gd name="connsiteX4" fmla="*/ 0 w 671391"/>
                      <a:gd name="connsiteY4" fmla="*/ 0 h 369635"/>
                      <a:gd name="connsiteX0" fmla="*/ 390525 w 671391"/>
                      <a:gd name="connsiteY0" fmla="*/ 0 h 276766"/>
                      <a:gd name="connsiteX1" fmla="*/ 669131 w 671391"/>
                      <a:gd name="connsiteY1" fmla="*/ 130968 h 276766"/>
                      <a:gd name="connsiteX2" fmla="*/ 571500 w 671391"/>
                      <a:gd name="connsiteY2" fmla="*/ 275431 h 276766"/>
                      <a:gd name="connsiteX3" fmla="*/ 0 w 671391"/>
                      <a:gd name="connsiteY3" fmla="*/ 275431 h 276766"/>
                      <a:gd name="connsiteX4" fmla="*/ 390525 w 671391"/>
                      <a:gd name="connsiteY4" fmla="*/ 0 h 276766"/>
                      <a:gd name="connsiteX0" fmla="*/ 92869 w 373735"/>
                      <a:gd name="connsiteY0" fmla="*/ 0 h 276766"/>
                      <a:gd name="connsiteX1" fmla="*/ 371475 w 373735"/>
                      <a:gd name="connsiteY1" fmla="*/ 130968 h 276766"/>
                      <a:gd name="connsiteX2" fmla="*/ 273844 w 373735"/>
                      <a:gd name="connsiteY2" fmla="*/ 275431 h 276766"/>
                      <a:gd name="connsiteX3" fmla="*/ 0 w 373735"/>
                      <a:gd name="connsiteY3" fmla="*/ 132556 h 276766"/>
                      <a:gd name="connsiteX4" fmla="*/ 92869 w 373735"/>
                      <a:gd name="connsiteY4" fmla="*/ 0 h 276766"/>
                      <a:gd name="connsiteX0" fmla="*/ 100013 w 380879"/>
                      <a:gd name="connsiteY0" fmla="*/ 0 h 276766"/>
                      <a:gd name="connsiteX1" fmla="*/ 378619 w 380879"/>
                      <a:gd name="connsiteY1" fmla="*/ 130968 h 276766"/>
                      <a:gd name="connsiteX2" fmla="*/ 280988 w 380879"/>
                      <a:gd name="connsiteY2" fmla="*/ 275431 h 276766"/>
                      <a:gd name="connsiteX3" fmla="*/ 0 w 380879"/>
                      <a:gd name="connsiteY3" fmla="*/ 134938 h 276766"/>
                      <a:gd name="connsiteX4" fmla="*/ 100013 w 380879"/>
                      <a:gd name="connsiteY4" fmla="*/ 0 h 276766"/>
                      <a:gd name="connsiteX0" fmla="*/ 80963 w 361829"/>
                      <a:gd name="connsiteY0" fmla="*/ 0 h 276766"/>
                      <a:gd name="connsiteX1" fmla="*/ 359569 w 361829"/>
                      <a:gd name="connsiteY1" fmla="*/ 130968 h 276766"/>
                      <a:gd name="connsiteX2" fmla="*/ 261938 w 361829"/>
                      <a:gd name="connsiteY2" fmla="*/ 275431 h 276766"/>
                      <a:gd name="connsiteX3" fmla="*/ 0 w 361829"/>
                      <a:gd name="connsiteY3" fmla="*/ 142081 h 276766"/>
                      <a:gd name="connsiteX4" fmla="*/ 80963 w 361829"/>
                      <a:gd name="connsiteY4" fmla="*/ 0 h 276766"/>
                      <a:gd name="connsiteX0" fmla="*/ 80963 w 361829"/>
                      <a:gd name="connsiteY0" fmla="*/ 0 h 276766"/>
                      <a:gd name="connsiteX1" fmla="*/ 359569 w 361829"/>
                      <a:gd name="connsiteY1" fmla="*/ 130968 h 276766"/>
                      <a:gd name="connsiteX2" fmla="*/ 261938 w 361829"/>
                      <a:gd name="connsiteY2" fmla="*/ 275431 h 276766"/>
                      <a:gd name="connsiteX3" fmla="*/ 0 w 361829"/>
                      <a:gd name="connsiteY3" fmla="*/ 142081 h 276766"/>
                      <a:gd name="connsiteX4" fmla="*/ 80963 w 361829"/>
                      <a:gd name="connsiteY4" fmla="*/ 0 h 276766"/>
                      <a:gd name="connsiteX0" fmla="*/ 83344 w 364210"/>
                      <a:gd name="connsiteY0" fmla="*/ 0 h 276766"/>
                      <a:gd name="connsiteX1" fmla="*/ 361950 w 364210"/>
                      <a:gd name="connsiteY1" fmla="*/ 130968 h 276766"/>
                      <a:gd name="connsiteX2" fmla="*/ 264319 w 364210"/>
                      <a:gd name="connsiteY2" fmla="*/ 275431 h 276766"/>
                      <a:gd name="connsiteX3" fmla="*/ 0 w 364210"/>
                      <a:gd name="connsiteY3" fmla="*/ 144463 h 276766"/>
                      <a:gd name="connsiteX4" fmla="*/ 83344 w 364210"/>
                      <a:gd name="connsiteY4" fmla="*/ 0 h 276766"/>
                      <a:gd name="connsiteX0" fmla="*/ 83344 w 364210"/>
                      <a:gd name="connsiteY0" fmla="*/ 0 h 276766"/>
                      <a:gd name="connsiteX1" fmla="*/ 361950 w 364210"/>
                      <a:gd name="connsiteY1" fmla="*/ 130968 h 276766"/>
                      <a:gd name="connsiteX2" fmla="*/ 264319 w 364210"/>
                      <a:gd name="connsiteY2" fmla="*/ 275431 h 276766"/>
                      <a:gd name="connsiteX3" fmla="*/ 0 w 364210"/>
                      <a:gd name="connsiteY3" fmla="*/ 144463 h 276766"/>
                      <a:gd name="connsiteX4" fmla="*/ 83344 w 364210"/>
                      <a:gd name="connsiteY4" fmla="*/ 0 h 276766"/>
                      <a:gd name="connsiteX0" fmla="*/ 76200 w 357066"/>
                      <a:gd name="connsiteY0" fmla="*/ 0 h 276766"/>
                      <a:gd name="connsiteX1" fmla="*/ 354806 w 357066"/>
                      <a:gd name="connsiteY1" fmla="*/ 130968 h 276766"/>
                      <a:gd name="connsiteX2" fmla="*/ 257175 w 357066"/>
                      <a:gd name="connsiteY2" fmla="*/ 275431 h 276766"/>
                      <a:gd name="connsiteX3" fmla="*/ 0 w 357066"/>
                      <a:gd name="connsiteY3" fmla="*/ 123032 h 276766"/>
                      <a:gd name="connsiteX4" fmla="*/ 76200 w 357066"/>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8306"/>
                      <a:gd name="connsiteY0" fmla="*/ 0 h 276766"/>
                      <a:gd name="connsiteX1" fmla="*/ 376237 w 378306"/>
                      <a:gd name="connsiteY1" fmla="*/ 130968 h 276766"/>
                      <a:gd name="connsiteX2" fmla="*/ 271462 w 378306"/>
                      <a:gd name="connsiteY2" fmla="*/ 275431 h 276766"/>
                      <a:gd name="connsiteX3" fmla="*/ 0 w 378306"/>
                      <a:gd name="connsiteY3" fmla="*/ 134938 h 276766"/>
                      <a:gd name="connsiteX4" fmla="*/ 90487 w 378306"/>
                      <a:gd name="connsiteY4" fmla="*/ 0 h 276766"/>
                      <a:gd name="connsiteX0" fmla="*/ 90487 w 376245"/>
                      <a:gd name="connsiteY0" fmla="*/ 0 h 277332"/>
                      <a:gd name="connsiteX1" fmla="*/ 376237 w 376245"/>
                      <a:gd name="connsiteY1" fmla="*/ 130968 h 277332"/>
                      <a:gd name="connsiteX2" fmla="*/ 271462 w 376245"/>
                      <a:gd name="connsiteY2" fmla="*/ 275431 h 277332"/>
                      <a:gd name="connsiteX3" fmla="*/ 0 w 376245"/>
                      <a:gd name="connsiteY3" fmla="*/ 134938 h 277332"/>
                      <a:gd name="connsiteX4" fmla="*/ 90487 w 376245"/>
                      <a:gd name="connsiteY4" fmla="*/ 0 h 277332"/>
                      <a:gd name="connsiteX0" fmla="*/ 90487 w 376245"/>
                      <a:gd name="connsiteY0" fmla="*/ 0 h 277257"/>
                      <a:gd name="connsiteX1" fmla="*/ 376237 w 376245"/>
                      <a:gd name="connsiteY1" fmla="*/ 130968 h 277257"/>
                      <a:gd name="connsiteX2" fmla="*/ 271462 w 376245"/>
                      <a:gd name="connsiteY2" fmla="*/ 275431 h 277257"/>
                      <a:gd name="connsiteX3" fmla="*/ 0 w 376245"/>
                      <a:gd name="connsiteY3" fmla="*/ 134938 h 277257"/>
                      <a:gd name="connsiteX4" fmla="*/ 90487 w 376245"/>
                      <a:gd name="connsiteY4" fmla="*/ 0 h 277257"/>
                      <a:gd name="connsiteX0" fmla="*/ 90487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0487 w 376244"/>
                      <a:gd name="connsiteY4" fmla="*/ 0 h 277257"/>
                      <a:gd name="connsiteX0" fmla="*/ 95249 w 376244"/>
                      <a:gd name="connsiteY0" fmla="*/ 0 h 279638"/>
                      <a:gd name="connsiteX1" fmla="*/ 376237 w 376244"/>
                      <a:gd name="connsiteY1" fmla="*/ 133349 h 279638"/>
                      <a:gd name="connsiteX2" fmla="*/ 271462 w 376244"/>
                      <a:gd name="connsiteY2" fmla="*/ 277812 h 279638"/>
                      <a:gd name="connsiteX3" fmla="*/ 0 w 376244"/>
                      <a:gd name="connsiteY3" fmla="*/ 137319 h 279638"/>
                      <a:gd name="connsiteX4" fmla="*/ 95249 w 376244"/>
                      <a:gd name="connsiteY4" fmla="*/ 0 h 279638"/>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679166 w 957780"/>
                      <a:gd name="connsiteY0" fmla="*/ 149688 h 426945"/>
                      <a:gd name="connsiteX1" fmla="*/ 957773 w 957780"/>
                      <a:gd name="connsiteY1" fmla="*/ 280656 h 426945"/>
                      <a:gd name="connsiteX2" fmla="*/ 852998 w 957780"/>
                      <a:gd name="connsiteY2" fmla="*/ 425119 h 426945"/>
                      <a:gd name="connsiteX3" fmla="*/ 0 w 957780"/>
                      <a:gd name="connsiteY3" fmla="*/ 1207 h 426945"/>
                      <a:gd name="connsiteX4" fmla="*/ 679166 w 957780"/>
                      <a:gd name="connsiteY4" fmla="*/ 149688 h 426945"/>
                      <a:gd name="connsiteX0" fmla="*/ 72068 w 957780"/>
                      <a:gd name="connsiteY0" fmla="*/ 0 h 554514"/>
                      <a:gd name="connsiteX1" fmla="*/ 957773 w 957780"/>
                      <a:gd name="connsiteY1" fmla="*/ 408225 h 554514"/>
                      <a:gd name="connsiteX2" fmla="*/ 852998 w 957780"/>
                      <a:gd name="connsiteY2" fmla="*/ 552688 h 554514"/>
                      <a:gd name="connsiteX3" fmla="*/ 0 w 957780"/>
                      <a:gd name="connsiteY3" fmla="*/ 128776 h 554514"/>
                      <a:gd name="connsiteX4" fmla="*/ 72068 w 957780"/>
                      <a:gd name="connsiteY4" fmla="*/ 0 h 554514"/>
                      <a:gd name="connsiteX0" fmla="*/ 72068 w 957780"/>
                      <a:gd name="connsiteY0" fmla="*/ 0 h 554514"/>
                      <a:gd name="connsiteX1" fmla="*/ 957773 w 957780"/>
                      <a:gd name="connsiteY1" fmla="*/ 408225 h 554514"/>
                      <a:gd name="connsiteX2" fmla="*/ 852998 w 957780"/>
                      <a:gd name="connsiteY2" fmla="*/ 552688 h 554514"/>
                      <a:gd name="connsiteX3" fmla="*/ 0 w 957780"/>
                      <a:gd name="connsiteY3" fmla="*/ 128776 h 554514"/>
                      <a:gd name="connsiteX4" fmla="*/ 72068 w 957780"/>
                      <a:gd name="connsiteY4" fmla="*/ 0 h 554514"/>
                      <a:gd name="connsiteX0" fmla="*/ 75263 w 960975"/>
                      <a:gd name="connsiteY0" fmla="*/ 0 h 554514"/>
                      <a:gd name="connsiteX1" fmla="*/ 960968 w 960975"/>
                      <a:gd name="connsiteY1" fmla="*/ 408225 h 554514"/>
                      <a:gd name="connsiteX2" fmla="*/ 856193 w 960975"/>
                      <a:gd name="connsiteY2" fmla="*/ 552688 h 554514"/>
                      <a:gd name="connsiteX3" fmla="*/ 0 w 960975"/>
                      <a:gd name="connsiteY3" fmla="*/ 134938 h 554514"/>
                      <a:gd name="connsiteX4" fmla="*/ 75263 w 960975"/>
                      <a:gd name="connsiteY4" fmla="*/ 0 h 554514"/>
                      <a:gd name="connsiteX0" fmla="*/ 75263 w 960975"/>
                      <a:gd name="connsiteY0" fmla="*/ 0 h 554514"/>
                      <a:gd name="connsiteX1" fmla="*/ 960968 w 960975"/>
                      <a:gd name="connsiteY1" fmla="*/ 408225 h 554514"/>
                      <a:gd name="connsiteX2" fmla="*/ 856193 w 960975"/>
                      <a:gd name="connsiteY2" fmla="*/ 552688 h 554514"/>
                      <a:gd name="connsiteX3" fmla="*/ 0 w 960975"/>
                      <a:gd name="connsiteY3" fmla="*/ 134938 h 554514"/>
                      <a:gd name="connsiteX4" fmla="*/ 75263 w 960975"/>
                      <a:gd name="connsiteY4" fmla="*/ 0 h 554514"/>
                      <a:gd name="connsiteX0" fmla="*/ 75263 w 960975"/>
                      <a:gd name="connsiteY0" fmla="*/ 0 h 554514"/>
                      <a:gd name="connsiteX1" fmla="*/ 960968 w 960975"/>
                      <a:gd name="connsiteY1" fmla="*/ 408225 h 554514"/>
                      <a:gd name="connsiteX2" fmla="*/ 856193 w 960975"/>
                      <a:gd name="connsiteY2" fmla="*/ 552688 h 554514"/>
                      <a:gd name="connsiteX3" fmla="*/ 0 w 960975"/>
                      <a:gd name="connsiteY3" fmla="*/ 134938 h 554514"/>
                      <a:gd name="connsiteX4" fmla="*/ 75263 w 960975"/>
                      <a:gd name="connsiteY4" fmla="*/ 0 h 554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0975" h="554514">
                        <a:moveTo>
                          <a:pt x="75263" y="0"/>
                        </a:moveTo>
                        <a:lnTo>
                          <a:pt x="960968" y="408225"/>
                        </a:lnTo>
                        <a:cubicBezTo>
                          <a:pt x="961761" y="523053"/>
                          <a:pt x="898261" y="564066"/>
                          <a:pt x="856193" y="552688"/>
                        </a:cubicBezTo>
                        <a:lnTo>
                          <a:pt x="0" y="134938"/>
                        </a:lnTo>
                        <a:cubicBezTo>
                          <a:pt x="52857" y="96875"/>
                          <a:pt x="76058" y="57679"/>
                          <a:pt x="75263" y="0"/>
                        </a:cubicBezTo>
                        <a:close/>
                      </a:path>
                    </a:pathLst>
                  </a:custGeom>
                  <a:solidFill>
                    <a:srgbClr val="3186D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65" name="Rectangle 16"/>
                  <p:cNvSpPr/>
                  <p:nvPr/>
                </p:nvSpPr>
                <p:spPr>
                  <a:xfrm rot="1545906" flipH="1">
                    <a:off x="6938996" y="3147818"/>
                    <a:ext cx="99771" cy="130612"/>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4368"/>
                      <a:gd name="connsiteY0" fmla="*/ 0 h 368300"/>
                      <a:gd name="connsiteX1" fmla="*/ 664368 w 664368"/>
                      <a:gd name="connsiteY1" fmla="*/ 235744 h 368300"/>
                      <a:gd name="connsiteX2" fmla="*/ 571500 w 664368"/>
                      <a:gd name="connsiteY2" fmla="*/ 368300 h 368300"/>
                      <a:gd name="connsiteX3" fmla="*/ 0 w 664368"/>
                      <a:gd name="connsiteY3" fmla="*/ 368300 h 368300"/>
                      <a:gd name="connsiteX4" fmla="*/ 0 w 664368"/>
                      <a:gd name="connsiteY4" fmla="*/ 0 h 368300"/>
                      <a:gd name="connsiteX0" fmla="*/ 0 w 671347"/>
                      <a:gd name="connsiteY0" fmla="*/ 0 h 368300"/>
                      <a:gd name="connsiteX1" fmla="*/ 664368 w 671347"/>
                      <a:gd name="connsiteY1" fmla="*/ 235744 h 368300"/>
                      <a:gd name="connsiteX2" fmla="*/ 571500 w 671347"/>
                      <a:gd name="connsiteY2" fmla="*/ 368300 h 368300"/>
                      <a:gd name="connsiteX3" fmla="*/ 0 w 671347"/>
                      <a:gd name="connsiteY3" fmla="*/ 368300 h 368300"/>
                      <a:gd name="connsiteX4" fmla="*/ 0 w 671347"/>
                      <a:gd name="connsiteY4" fmla="*/ 0 h 368300"/>
                      <a:gd name="connsiteX0" fmla="*/ 0 w 664610"/>
                      <a:gd name="connsiteY0" fmla="*/ 0 h 368300"/>
                      <a:gd name="connsiteX1" fmla="*/ 664368 w 664610"/>
                      <a:gd name="connsiteY1" fmla="*/ 235744 h 368300"/>
                      <a:gd name="connsiteX2" fmla="*/ 571500 w 664610"/>
                      <a:gd name="connsiteY2" fmla="*/ 368300 h 368300"/>
                      <a:gd name="connsiteX3" fmla="*/ 0 w 664610"/>
                      <a:gd name="connsiteY3" fmla="*/ 368300 h 368300"/>
                      <a:gd name="connsiteX4" fmla="*/ 0 w 664610"/>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490538 w 664748"/>
                      <a:gd name="connsiteY0" fmla="*/ 0 h 215900"/>
                      <a:gd name="connsiteX1" fmla="*/ 664368 w 664748"/>
                      <a:gd name="connsiteY1" fmla="*/ 83344 h 215900"/>
                      <a:gd name="connsiteX2" fmla="*/ 571500 w 664748"/>
                      <a:gd name="connsiteY2" fmla="*/ 215900 h 215900"/>
                      <a:gd name="connsiteX3" fmla="*/ 0 w 664748"/>
                      <a:gd name="connsiteY3" fmla="*/ 215900 h 215900"/>
                      <a:gd name="connsiteX4" fmla="*/ 490538 w 664748"/>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5251 w 271842"/>
                      <a:gd name="connsiteY0" fmla="*/ 0 h 225425"/>
                      <a:gd name="connsiteX1" fmla="*/ 271462 w 271842"/>
                      <a:gd name="connsiteY1" fmla="*/ 92869 h 225425"/>
                      <a:gd name="connsiteX2" fmla="*/ 178594 w 271842"/>
                      <a:gd name="connsiteY2" fmla="*/ 225425 h 225425"/>
                      <a:gd name="connsiteX3" fmla="*/ 0 w 271842"/>
                      <a:gd name="connsiteY3" fmla="*/ 139700 h 225425"/>
                      <a:gd name="connsiteX4" fmla="*/ 95251 w 271842"/>
                      <a:gd name="connsiteY4" fmla="*/ 0 h 225425"/>
                      <a:gd name="connsiteX0" fmla="*/ 92870 w 271842"/>
                      <a:gd name="connsiteY0" fmla="*/ 0 h 220662"/>
                      <a:gd name="connsiteX1" fmla="*/ 271462 w 271842"/>
                      <a:gd name="connsiteY1" fmla="*/ 88106 h 220662"/>
                      <a:gd name="connsiteX2" fmla="*/ 178594 w 271842"/>
                      <a:gd name="connsiteY2" fmla="*/ 220662 h 220662"/>
                      <a:gd name="connsiteX3" fmla="*/ 0 w 271842"/>
                      <a:gd name="connsiteY3" fmla="*/ 134937 h 220662"/>
                      <a:gd name="connsiteX4" fmla="*/ 92870 w 271842"/>
                      <a:gd name="connsiteY4" fmla="*/ 0 h 220662"/>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85726 w 271842"/>
                      <a:gd name="connsiteY0" fmla="*/ 0 h 230186"/>
                      <a:gd name="connsiteX1" fmla="*/ 271462 w 271842"/>
                      <a:gd name="connsiteY1" fmla="*/ 97630 h 230186"/>
                      <a:gd name="connsiteX2" fmla="*/ 178594 w 271842"/>
                      <a:gd name="connsiteY2" fmla="*/ 230186 h 230186"/>
                      <a:gd name="connsiteX3" fmla="*/ 0 w 271842"/>
                      <a:gd name="connsiteY3" fmla="*/ 144461 h 230186"/>
                      <a:gd name="connsiteX4" fmla="*/ 85726 w 271842"/>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2567"/>
                      <a:gd name="connsiteX1" fmla="*/ 285750 w 286111"/>
                      <a:gd name="connsiteY1" fmla="*/ 97630 h 232567"/>
                      <a:gd name="connsiteX2" fmla="*/ 190501 w 286111"/>
                      <a:gd name="connsiteY2" fmla="*/ 232567 h 232567"/>
                      <a:gd name="connsiteX3" fmla="*/ 0 w 286111"/>
                      <a:gd name="connsiteY3" fmla="*/ 153986 h 232567"/>
                      <a:gd name="connsiteX4" fmla="*/ 97633 w 286111"/>
                      <a:gd name="connsiteY4" fmla="*/ 0 h 232567"/>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200027 w 286111"/>
                      <a:gd name="connsiteY0" fmla="*/ 0 h 182561"/>
                      <a:gd name="connsiteX1" fmla="*/ 285750 w 286111"/>
                      <a:gd name="connsiteY1" fmla="*/ 47624 h 182561"/>
                      <a:gd name="connsiteX2" fmla="*/ 190501 w 286111"/>
                      <a:gd name="connsiteY2" fmla="*/ 182561 h 182561"/>
                      <a:gd name="connsiteX3" fmla="*/ 0 w 286111"/>
                      <a:gd name="connsiteY3" fmla="*/ 103980 h 182561"/>
                      <a:gd name="connsiteX4" fmla="*/ 200027 w 286111"/>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2080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66678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66678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6204 w 167050"/>
                      <a:gd name="connsiteY0" fmla="*/ 0 h 182561"/>
                      <a:gd name="connsiteX1" fmla="*/ 166689 w 167050"/>
                      <a:gd name="connsiteY1" fmla="*/ 47624 h 182561"/>
                      <a:gd name="connsiteX2" fmla="*/ 71440 w 167050"/>
                      <a:gd name="connsiteY2" fmla="*/ 182561 h 182561"/>
                      <a:gd name="connsiteX3" fmla="*/ 0 w 167050"/>
                      <a:gd name="connsiteY3" fmla="*/ 144462 h 182561"/>
                      <a:gd name="connsiteX4" fmla="*/ 76204 w 167050"/>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900"/>
                      <a:gd name="connsiteY0" fmla="*/ 0 h 189705"/>
                      <a:gd name="connsiteX1" fmla="*/ 164308 w 164900"/>
                      <a:gd name="connsiteY1" fmla="*/ 47624 h 189705"/>
                      <a:gd name="connsiteX2" fmla="*/ 88109 w 164900"/>
                      <a:gd name="connsiteY2" fmla="*/ 189705 h 189705"/>
                      <a:gd name="connsiteX3" fmla="*/ 0 w 164900"/>
                      <a:gd name="connsiteY3" fmla="*/ 139699 h 189705"/>
                      <a:gd name="connsiteX4" fmla="*/ 73823 w 164900"/>
                      <a:gd name="connsiteY4" fmla="*/ 0 h 189705"/>
                      <a:gd name="connsiteX0" fmla="*/ 73823 w 164711"/>
                      <a:gd name="connsiteY0" fmla="*/ 0 h 189705"/>
                      <a:gd name="connsiteX1" fmla="*/ 164308 w 164711"/>
                      <a:gd name="connsiteY1" fmla="*/ 47624 h 189705"/>
                      <a:gd name="connsiteX2" fmla="*/ 88109 w 164711"/>
                      <a:gd name="connsiteY2" fmla="*/ 189705 h 189705"/>
                      <a:gd name="connsiteX3" fmla="*/ 0 w 164711"/>
                      <a:gd name="connsiteY3" fmla="*/ 139699 h 189705"/>
                      <a:gd name="connsiteX4" fmla="*/ 73823 w 164711"/>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54773 w 164599"/>
                      <a:gd name="connsiteY0" fmla="*/ 0 h 201611"/>
                      <a:gd name="connsiteX1" fmla="*/ 164308 w 164599"/>
                      <a:gd name="connsiteY1" fmla="*/ 59530 h 201611"/>
                      <a:gd name="connsiteX2" fmla="*/ 88109 w 164599"/>
                      <a:gd name="connsiteY2" fmla="*/ 201611 h 201611"/>
                      <a:gd name="connsiteX3" fmla="*/ 0 w 164599"/>
                      <a:gd name="connsiteY3" fmla="*/ 151605 h 201611"/>
                      <a:gd name="connsiteX4" fmla="*/ 54773 w 164599"/>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380"/>
                      <a:gd name="connsiteY0" fmla="*/ 0 h 201611"/>
                      <a:gd name="connsiteX1" fmla="*/ 180977 w 181380"/>
                      <a:gd name="connsiteY1" fmla="*/ 59530 h 201611"/>
                      <a:gd name="connsiteX2" fmla="*/ 104778 w 181380"/>
                      <a:gd name="connsiteY2" fmla="*/ 201611 h 201611"/>
                      <a:gd name="connsiteX3" fmla="*/ 0 w 181380"/>
                      <a:gd name="connsiteY3" fmla="*/ 151605 h 201611"/>
                      <a:gd name="connsiteX4" fmla="*/ 71442 w 181380"/>
                      <a:gd name="connsiteY4" fmla="*/ 0 h 201611"/>
                      <a:gd name="connsiteX0" fmla="*/ 71442 w 180977"/>
                      <a:gd name="connsiteY0" fmla="*/ 0 h 201611"/>
                      <a:gd name="connsiteX1" fmla="*/ 180977 w 180977"/>
                      <a:gd name="connsiteY1" fmla="*/ 59530 h 201611"/>
                      <a:gd name="connsiteX2" fmla="*/ 104778 w 180977"/>
                      <a:gd name="connsiteY2" fmla="*/ 201611 h 201611"/>
                      <a:gd name="connsiteX3" fmla="*/ 0 w 180977"/>
                      <a:gd name="connsiteY3" fmla="*/ 151605 h 201611"/>
                      <a:gd name="connsiteX4" fmla="*/ 71442 w 180977"/>
                      <a:gd name="connsiteY4" fmla="*/ 0 h 201611"/>
                      <a:gd name="connsiteX0" fmla="*/ 73823 w 180977"/>
                      <a:gd name="connsiteY0" fmla="*/ 0 h 199230"/>
                      <a:gd name="connsiteX1" fmla="*/ 180977 w 180977"/>
                      <a:gd name="connsiteY1" fmla="*/ 57149 h 199230"/>
                      <a:gd name="connsiteX2" fmla="*/ 104778 w 180977"/>
                      <a:gd name="connsiteY2" fmla="*/ 199230 h 199230"/>
                      <a:gd name="connsiteX3" fmla="*/ 0 w 180977"/>
                      <a:gd name="connsiteY3" fmla="*/ 149224 h 199230"/>
                      <a:gd name="connsiteX4" fmla="*/ 73823 w 180977"/>
                      <a:gd name="connsiteY4" fmla="*/ 0 h 199230"/>
                      <a:gd name="connsiteX0" fmla="*/ 73823 w 180977"/>
                      <a:gd name="connsiteY0" fmla="*/ 0 h 199230"/>
                      <a:gd name="connsiteX1" fmla="*/ 180977 w 180977"/>
                      <a:gd name="connsiteY1" fmla="*/ 57149 h 199230"/>
                      <a:gd name="connsiteX2" fmla="*/ 104778 w 180977"/>
                      <a:gd name="connsiteY2" fmla="*/ 199230 h 199230"/>
                      <a:gd name="connsiteX3" fmla="*/ 0 w 180977"/>
                      <a:gd name="connsiteY3" fmla="*/ 149224 h 199230"/>
                      <a:gd name="connsiteX4" fmla="*/ 73823 w 180977"/>
                      <a:gd name="connsiteY4" fmla="*/ 0 h 199230"/>
                      <a:gd name="connsiteX0" fmla="*/ 111923 w 180977"/>
                      <a:gd name="connsiteY0" fmla="*/ 0 h 180180"/>
                      <a:gd name="connsiteX1" fmla="*/ 180977 w 180977"/>
                      <a:gd name="connsiteY1" fmla="*/ 38099 h 180180"/>
                      <a:gd name="connsiteX2" fmla="*/ 104778 w 180977"/>
                      <a:gd name="connsiteY2" fmla="*/ 180180 h 180180"/>
                      <a:gd name="connsiteX3" fmla="*/ 0 w 180977"/>
                      <a:gd name="connsiteY3" fmla="*/ 130174 h 180180"/>
                      <a:gd name="connsiteX4" fmla="*/ 111923 w 180977"/>
                      <a:gd name="connsiteY4" fmla="*/ 0 h 180180"/>
                      <a:gd name="connsiteX0" fmla="*/ 111923 w 180977"/>
                      <a:gd name="connsiteY0" fmla="*/ 0 h 180180"/>
                      <a:gd name="connsiteX1" fmla="*/ 180977 w 180977"/>
                      <a:gd name="connsiteY1" fmla="*/ 38099 h 180180"/>
                      <a:gd name="connsiteX2" fmla="*/ 104778 w 180977"/>
                      <a:gd name="connsiteY2" fmla="*/ 180180 h 180180"/>
                      <a:gd name="connsiteX3" fmla="*/ 0 w 180977"/>
                      <a:gd name="connsiteY3" fmla="*/ 130174 h 180180"/>
                      <a:gd name="connsiteX4" fmla="*/ 111923 w 180977"/>
                      <a:gd name="connsiteY4" fmla="*/ 0 h 180180"/>
                      <a:gd name="connsiteX0" fmla="*/ 138117 w 180977"/>
                      <a:gd name="connsiteY0" fmla="*/ 0 h 165892"/>
                      <a:gd name="connsiteX1" fmla="*/ 180977 w 180977"/>
                      <a:gd name="connsiteY1" fmla="*/ 23811 h 165892"/>
                      <a:gd name="connsiteX2" fmla="*/ 104778 w 180977"/>
                      <a:gd name="connsiteY2" fmla="*/ 165892 h 165892"/>
                      <a:gd name="connsiteX3" fmla="*/ 0 w 180977"/>
                      <a:gd name="connsiteY3" fmla="*/ 115886 h 165892"/>
                      <a:gd name="connsiteX4" fmla="*/ 138117 w 180977"/>
                      <a:gd name="connsiteY4" fmla="*/ 0 h 165892"/>
                      <a:gd name="connsiteX0" fmla="*/ 78585 w 121445"/>
                      <a:gd name="connsiteY0" fmla="*/ 0 h 165892"/>
                      <a:gd name="connsiteX1" fmla="*/ 121445 w 121445"/>
                      <a:gd name="connsiteY1" fmla="*/ 23811 h 165892"/>
                      <a:gd name="connsiteX2" fmla="*/ 45246 w 121445"/>
                      <a:gd name="connsiteY2" fmla="*/ 165892 h 165892"/>
                      <a:gd name="connsiteX3" fmla="*/ 0 w 121445"/>
                      <a:gd name="connsiteY3" fmla="*/ 149224 h 165892"/>
                      <a:gd name="connsiteX4" fmla="*/ 78585 w 121445"/>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32609"/>
                      <a:gd name="connsiteY0" fmla="*/ 0 h 173036"/>
                      <a:gd name="connsiteX1" fmla="*/ 132609 w 132609"/>
                      <a:gd name="connsiteY1" fmla="*/ 24092 h 173036"/>
                      <a:gd name="connsiteX2" fmla="*/ 45564 w 132609"/>
                      <a:gd name="connsiteY2" fmla="*/ 173036 h 173036"/>
                      <a:gd name="connsiteX3" fmla="*/ 318 w 132609"/>
                      <a:gd name="connsiteY3" fmla="*/ 149224 h 173036"/>
                      <a:gd name="connsiteX4" fmla="*/ 78903 w 132609"/>
                      <a:gd name="connsiteY4" fmla="*/ 0 h 173036"/>
                      <a:gd name="connsiteX0" fmla="*/ 78903 w 135431"/>
                      <a:gd name="connsiteY0" fmla="*/ 0 h 173036"/>
                      <a:gd name="connsiteX1" fmla="*/ 135431 w 135431"/>
                      <a:gd name="connsiteY1" fmla="*/ 24092 h 173036"/>
                      <a:gd name="connsiteX2" fmla="*/ 45564 w 135431"/>
                      <a:gd name="connsiteY2" fmla="*/ 173036 h 173036"/>
                      <a:gd name="connsiteX3" fmla="*/ 318 w 135431"/>
                      <a:gd name="connsiteY3" fmla="*/ 149224 h 173036"/>
                      <a:gd name="connsiteX4" fmla="*/ 78903 w 135431"/>
                      <a:gd name="connsiteY4" fmla="*/ 0 h 173036"/>
                      <a:gd name="connsiteX0" fmla="*/ 78903 w 129787"/>
                      <a:gd name="connsiteY0" fmla="*/ 0 h 173036"/>
                      <a:gd name="connsiteX1" fmla="*/ 129787 w 129787"/>
                      <a:gd name="connsiteY1" fmla="*/ 18768 h 173036"/>
                      <a:gd name="connsiteX2" fmla="*/ 45564 w 129787"/>
                      <a:gd name="connsiteY2" fmla="*/ 173036 h 173036"/>
                      <a:gd name="connsiteX3" fmla="*/ 318 w 129787"/>
                      <a:gd name="connsiteY3" fmla="*/ 149224 h 173036"/>
                      <a:gd name="connsiteX4" fmla="*/ 78903 w 129787"/>
                      <a:gd name="connsiteY4" fmla="*/ 0 h 173036"/>
                      <a:gd name="connsiteX0" fmla="*/ 78903 w 129787"/>
                      <a:gd name="connsiteY0" fmla="*/ 0 h 173036"/>
                      <a:gd name="connsiteX1" fmla="*/ 129787 w 129787"/>
                      <a:gd name="connsiteY1" fmla="*/ 18768 h 173036"/>
                      <a:gd name="connsiteX2" fmla="*/ 45564 w 129787"/>
                      <a:gd name="connsiteY2" fmla="*/ 173036 h 173036"/>
                      <a:gd name="connsiteX3" fmla="*/ 318 w 129787"/>
                      <a:gd name="connsiteY3" fmla="*/ 149224 h 173036"/>
                      <a:gd name="connsiteX4" fmla="*/ 78903 w 129787"/>
                      <a:gd name="connsiteY4" fmla="*/ 0 h 173036"/>
                      <a:gd name="connsiteX0" fmla="*/ 78903 w 132608"/>
                      <a:gd name="connsiteY0" fmla="*/ 0 h 173036"/>
                      <a:gd name="connsiteX1" fmla="*/ 132608 w 132608"/>
                      <a:gd name="connsiteY1" fmla="*/ 18768 h 173036"/>
                      <a:gd name="connsiteX2" fmla="*/ 45564 w 132608"/>
                      <a:gd name="connsiteY2" fmla="*/ 173036 h 173036"/>
                      <a:gd name="connsiteX3" fmla="*/ 318 w 132608"/>
                      <a:gd name="connsiteY3" fmla="*/ 149224 h 173036"/>
                      <a:gd name="connsiteX4" fmla="*/ 78903 w 132608"/>
                      <a:gd name="connsiteY4" fmla="*/ 0 h 173036"/>
                      <a:gd name="connsiteX0" fmla="*/ 78903 w 133037"/>
                      <a:gd name="connsiteY0" fmla="*/ 0 h 173036"/>
                      <a:gd name="connsiteX1" fmla="*/ 132608 w 133037"/>
                      <a:gd name="connsiteY1" fmla="*/ 18768 h 173036"/>
                      <a:gd name="connsiteX2" fmla="*/ 45564 w 133037"/>
                      <a:gd name="connsiteY2" fmla="*/ 173036 h 173036"/>
                      <a:gd name="connsiteX3" fmla="*/ 318 w 133037"/>
                      <a:gd name="connsiteY3" fmla="*/ 149224 h 173036"/>
                      <a:gd name="connsiteX4" fmla="*/ 78903 w 133037"/>
                      <a:gd name="connsiteY4" fmla="*/ 0 h 173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037" h="173036">
                        <a:moveTo>
                          <a:pt x="78903" y="0"/>
                        </a:moveTo>
                        <a:cubicBezTo>
                          <a:pt x="103510" y="7939"/>
                          <a:pt x="108443" y="11393"/>
                          <a:pt x="132608" y="18768"/>
                        </a:cubicBezTo>
                        <a:cubicBezTo>
                          <a:pt x="138184" y="99530"/>
                          <a:pt x="88426" y="152664"/>
                          <a:pt x="45564" y="173036"/>
                        </a:cubicBezTo>
                        <a:cubicBezTo>
                          <a:pt x="30482" y="167480"/>
                          <a:pt x="-3650" y="159543"/>
                          <a:pt x="318" y="149224"/>
                        </a:cubicBezTo>
                        <a:cubicBezTo>
                          <a:pt x="57035" y="116053"/>
                          <a:pt x="80754" y="78697"/>
                          <a:pt x="78903" y="0"/>
                        </a:cubicBezTo>
                        <a:close/>
                      </a:path>
                    </a:pathLst>
                  </a:custGeom>
                  <a:solidFill>
                    <a:srgbClr val="BFBFB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66" name="Rectangle 25"/>
                  <p:cNvSpPr/>
                  <p:nvPr/>
                </p:nvSpPr>
                <p:spPr>
                  <a:xfrm rot="1545906" flipH="1">
                    <a:off x="7026788" y="3109543"/>
                    <a:ext cx="386349" cy="230725"/>
                  </a:xfrm>
                  <a:custGeom>
                    <a:avLst/>
                    <a:gdLst>
                      <a:gd name="connsiteX0" fmla="*/ 0 w 452437"/>
                      <a:gd name="connsiteY0" fmla="*/ 0 h 228600"/>
                      <a:gd name="connsiteX1" fmla="*/ 452437 w 452437"/>
                      <a:gd name="connsiteY1" fmla="*/ 0 h 228600"/>
                      <a:gd name="connsiteX2" fmla="*/ 452437 w 452437"/>
                      <a:gd name="connsiteY2" fmla="*/ 228600 h 228600"/>
                      <a:gd name="connsiteX3" fmla="*/ 0 w 452437"/>
                      <a:gd name="connsiteY3" fmla="*/ 228600 h 228600"/>
                      <a:gd name="connsiteX4" fmla="*/ 0 w 452437"/>
                      <a:gd name="connsiteY4" fmla="*/ 0 h 228600"/>
                      <a:gd name="connsiteX0" fmla="*/ 0 w 452437"/>
                      <a:gd name="connsiteY0" fmla="*/ 0 h 228600"/>
                      <a:gd name="connsiteX1" fmla="*/ 431006 w 452437"/>
                      <a:gd name="connsiteY1" fmla="*/ 90487 h 228600"/>
                      <a:gd name="connsiteX2" fmla="*/ 452437 w 452437"/>
                      <a:gd name="connsiteY2" fmla="*/ 228600 h 228600"/>
                      <a:gd name="connsiteX3" fmla="*/ 0 w 452437"/>
                      <a:gd name="connsiteY3" fmla="*/ 228600 h 228600"/>
                      <a:gd name="connsiteX4" fmla="*/ 0 w 452437"/>
                      <a:gd name="connsiteY4" fmla="*/ 0 h 228600"/>
                      <a:gd name="connsiteX0" fmla="*/ 0 w 519112"/>
                      <a:gd name="connsiteY0" fmla="*/ 0 h 228600"/>
                      <a:gd name="connsiteX1" fmla="*/ 519112 w 519112"/>
                      <a:gd name="connsiteY1" fmla="*/ 128587 h 228600"/>
                      <a:gd name="connsiteX2" fmla="*/ 452437 w 519112"/>
                      <a:gd name="connsiteY2" fmla="*/ 228600 h 228600"/>
                      <a:gd name="connsiteX3" fmla="*/ 0 w 519112"/>
                      <a:gd name="connsiteY3" fmla="*/ 228600 h 228600"/>
                      <a:gd name="connsiteX4" fmla="*/ 0 w 519112"/>
                      <a:gd name="connsiteY4" fmla="*/ 0 h 228600"/>
                      <a:gd name="connsiteX0" fmla="*/ 0 w 519112"/>
                      <a:gd name="connsiteY0" fmla="*/ 0 h 228600"/>
                      <a:gd name="connsiteX1" fmla="*/ 519112 w 519112"/>
                      <a:gd name="connsiteY1" fmla="*/ 128587 h 228600"/>
                      <a:gd name="connsiteX2" fmla="*/ 452437 w 519112"/>
                      <a:gd name="connsiteY2" fmla="*/ 228600 h 228600"/>
                      <a:gd name="connsiteX3" fmla="*/ 0 w 519112"/>
                      <a:gd name="connsiteY3" fmla="*/ 228600 h 228600"/>
                      <a:gd name="connsiteX4" fmla="*/ 0 w 519112"/>
                      <a:gd name="connsiteY4" fmla="*/ 0 h 228600"/>
                      <a:gd name="connsiteX0" fmla="*/ 0 w 519112"/>
                      <a:gd name="connsiteY0" fmla="*/ 0 h 228600"/>
                      <a:gd name="connsiteX1" fmla="*/ 519112 w 519112"/>
                      <a:gd name="connsiteY1" fmla="*/ 128587 h 228600"/>
                      <a:gd name="connsiteX2" fmla="*/ 452437 w 519112"/>
                      <a:gd name="connsiteY2" fmla="*/ 228600 h 228600"/>
                      <a:gd name="connsiteX3" fmla="*/ 0 w 519112"/>
                      <a:gd name="connsiteY3" fmla="*/ 228600 h 228600"/>
                      <a:gd name="connsiteX4" fmla="*/ 0 w 519112"/>
                      <a:gd name="connsiteY4" fmla="*/ 0 h 228600"/>
                      <a:gd name="connsiteX0" fmla="*/ 0 w 519112"/>
                      <a:gd name="connsiteY0" fmla="*/ 0 h 228600"/>
                      <a:gd name="connsiteX1" fmla="*/ 519112 w 519112"/>
                      <a:gd name="connsiteY1" fmla="*/ 128587 h 228600"/>
                      <a:gd name="connsiteX2" fmla="*/ 450055 w 519112"/>
                      <a:gd name="connsiteY2" fmla="*/ 221456 h 228600"/>
                      <a:gd name="connsiteX3" fmla="*/ 0 w 519112"/>
                      <a:gd name="connsiteY3" fmla="*/ 228600 h 228600"/>
                      <a:gd name="connsiteX4" fmla="*/ 0 w 519112"/>
                      <a:gd name="connsiteY4" fmla="*/ 0 h 228600"/>
                      <a:gd name="connsiteX0" fmla="*/ 0 w 507205"/>
                      <a:gd name="connsiteY0" fmla="*/ 0 h 228600"/>
                      <a:gd name="connsiteX1" fmla="*/ 507205 w 507205"/>
                      <a:gd name="connsiteY1" fmla="*/ 128587 h 228600"/>
                      <a:gd name="connsiteX2" fmla="*/ 450055 w 507205"/>
                      <a:gd name="connsiteY2" fmla="*/ 221456 h 228600"/>
                      <a:gd name="connsiteX3" fmla="*/ 0 w 507205"/>
                      <a:gd name="connsiteY3" fmla="*/ 228600 h 228600"/>
                      <a:gd name="connsiteX4" fmla="*/ 0 w 507205"/>
                      <a:gd name="connsiteY4" fmla="*/ 0 h 228600"/>
                      <a:gd name="connsiteX0" fmla="*/ 0 w 507205"/>
                      <a:gd name="connsiteY0" fmla="*/ 0 h 228600"/>
                      <a:gd name="connsiteX1" fmla="*/ 507205 w 507205"/>
                      <a:gd name="connsiteY1" fmla="*/ 128587 h 228600"/>
                      <a:gd name="connsiteX2" fmla="*/ 450055 w 507205"/>
                      <a:gd name="connsiteY2" fmla="*/ 221456 h 228600"/>
                      <a:gd name="connsiteX3" fmla="*/ 0 w 507205"/>
                      <a:gd name="connsiteY3" fmla="*/ 228600 h 228600"/>
                      <a:gd name="connsiteX4" fmla="*/ 0 w 507205"/>
                      <a:gd name="connsiteY4" fmla="*/ 0 h 228600"/>
                      <a:gd name="connsiteX0" fmla="*/ 0 w 507205"/>
                      <a:gd name="connsiteY0" fmla="*/ 0 h 228600"/>
                      <a:gd name="connsiteX1" fmla="*/ 507205 w 507205"/>
                      <a:gd name="connsiteY1" fmla="*/ 128587 h 228600"/>
                      <a:gd name="connsiteX2" fmla="*/ 452436 w 507205"/>
                      <a:gd name="connsiteY2" fmla="*/ 223838 h 228600"/>
                      <a:gd name="connsiteX3" fmla="*/ 0 w 507205"/>
                      <a:gd name="connsiteY3" fmla="*/ 228600 h 228600"/>
                      <a:gd name="connsiteX4" fmla="*/ 0 w 507205"/>
                      <a:gd name="connsiteY4" fmla="*/ 0 h 228600"/>
                      <a:gd name="connsiteX0" fmla="*/ 0 w 507205"/>
                      <a:gd name="connsiteY0" fmla="*/ 0 h 228600"/>
                      <a:gd name="connsiteX1" fmla="*/ 507205 w 507205"/>
                      <a:gd name="connsiteY1" fmla="*/ 128587 h 228600"/>
                      <a:gd name="connsiteX2" fmla="*/ 452436 w 507205"/>
                      <a:gd name="connsiteY2" fmla="*/ 223838 h 228600"/>
                      <a:gd name="connsiteX3" fmla="*/ 0 w 507205"/>
                      <a:gd name="connsiteY3" fmla="*/ 228600 h 228600"/>
                      <a:gd name="connsiteX4" fmla="*/ 0 w 507205"/>
                      <a:gd name="connsiteY4" fmla="*/ 0 h 228600"/>
                      <a:gd name="connsiteX0" fmla="*/ 0 w 507205"/>
                      <a:gd name="connsiteY0" fmla="*/ 0 h 228600"/>
                      <a:gd name="connsiteX1" fmla="*/ 507205 w 507205"/>
                      <a:gd name="connsiteY1" fmla="*/ 128587 h 228600"/>
                      <a:gd name="connsiteX2" fmla="*/ 459579 w 507205"/>
                      <a:gd name="connsiteY2" fmla="*/ 223838 h 228600"/>
                      <a:gd name="connsiteX3" fmla="*/ 0 w 507205"/>
                      <a:gd name="connsiteY3" fmla="*/ 228600 h 228600"/>
                      <a:gd name="connsiteX4" fmla="*/ 0 w 507205"/>
                      <a:gd name="connsiteY4" fmla="*/ 0 h 228600"/>
                      <a:gd name="connsiteX0" fmla="*/ 0 w 514349"/>
                      <a:gd name="connsiteY0" fmla="*/ 0 h 228600"/>
                      <a:gd name="connsiteX1" fmla="*/ 514349 w 514349"/>
                      <a:gd name="connsiteY1" fmla="*/ 130969 h 228600"/>
                      <a:gd name="connsiteX2" fmla="*/ 459579 w 514349"/>
                      <a:gd name="connsiteY2" fmla="*/ 223838 h 228600"/>
                      <a:gd name="connsiteX3" fmla="*/ 0 w 514349"/>
                      <a:gd name="connsiteY3" fmla="*/ 228600 h 228600"/>
                      <a:gd name="connsiteX4" fmla="*/ 0 w 514349"/>
                      <a:gd name="connsiteY4" fmla="*/ 0 h 228600"/>
                      <a:gd name="connsiteX0" fmla="*/ 83343 w 514349"/>
                      <a:gd name="connsiteY0" fmla="*/ 0 h 273844"/>
                      <a:gd name="connsiteX1" fmla="*/ 514349 w 514349"/>
                      <a:gd name="connsiteY1" fmla="*/ 176213 h 273844"/>
                      <a:gd name="connsiteX2" fmla="*/ 459579 w 514349"/>
                      <a:gd name="connsiteY2" fmla="*/ 269082 h 273844"/>
                      <a:gd name="connsiteX3" fmla="*/ 0 w 514349"/>
                      <a:gd name="connsiteY3" fmla="*/ 273844 h 273844"/>
                      <a:gd name="connsiteX4" fmla="*/ 83343 w 514349"/>
                      <a:gd name="connsiteY4" fmla="*/ 0 h 273844"/>
                      <a:gd name="connsiteX0" fmla="*/ 95250 w 514349"/>
                      <a:gd name="connsiteY0" fmla="*/ 0 h 280988"/>
                      <a:gd name="connsiteX1" fmla="*/ 514349 w 514349"/>
                      <a:gd name="connsiteY1" fmla="*/ 183357 h 280988"/>
                      <a:gd name="connsiteX2" fmla="*/ 459579 w 514349"/>
                      <a:gd name="connsiteY2" fmla="*/ 276226 h 280988"/>
                      <a:gd name="connsiteX3" fmla="*/ 0 w 514349"/>
                      <a:gd name="connsiteY3" fmla="*/ 280988 h 280988"/>
                      <a:gd name="connsiteX4" fmla="*/ 95250 w 514349"/>
                      <a:gd name="connsiteY4" fmla="*/ 0 h 280988"/>
                      <a:gd name="connsiteX0" fmla="*/ 28575 w 447674"/>
                      <a:gd name="connsiteY0" fmla="*/ 0 h 276226"/>
                      <a:gd name="connsiteX1" fmla="*/ 447674 w 447674"/>
                      <a:gd name="connsiteY1" fmla="*/ 183357 h 276226"/>
                      <a:gd name="connsiteX2" fmla="*/ 392904 w 447674"/>
                      <a:gd name="connsiteY2" fmla="*/ 276226 h 276226"/>
                      <a:gd name="connsiteX3" fmla="*/ 0 w 447674"/>
                      <a:gd name="connsiteY3" fmla="*/ 59531 h 276226"/>
                      <a:gd name="connsiteX4" fmla="*/ 28575 w 447674"/>
                      <a:gd name="connsiteY4" fmla="*/ 0 h 276226"/>
                      <a:gd name="connsiteX0" fmla="*/ 34750 w 453849"/>
                      <a:gd name="connsiteY0" fmla="*/ 0 h 276226"/>
                      <a:gd name="connsiteX1" fmla="*/ 453849 w 453849"/>
                      <a:gd name="connsiteY1" fmla="*/ 183357 h 276226"/>
                      <a:gd name="connsiteX2" fmla="*/ 399079 w 453849"/>
                      <a:gd name="connsiteY2" fmla="*/ 276226 h 276226"/>
                      <a:gd name="connsiteX3" fmla="*/ 6175 w 453849"/>
                      <a:gd name="connsiteY3" fmla="*/ 59531 h 276226"/>
                      <a:gd name="connsiteX4" fmla="*/ 34750 w 453849"/>
                      <a:gd name="connsiteY4" fmla="*/ 0 h 276226"/>
                      <a:gd name="connsiteX0" fmla="*/ 39703 w 458802"/>
                      <a:gd name="connsiteY0" fmla="*/ 0 h 276226"/>
                      <a:gd name="connsiteX1" fmla="*/ 458802 w 458802"/>
                      <a:gd name="connsiteY1" fmla="*/ 183357 h 276226"/>
                      <a:gd name="connsiteX2" fmla="*/ 404032 w 458802"/>
                      <a:gd name="connsiteY2" fmla="*/ 276226 h 276226"/>
                      <a:gd name="connsiteX3" fmla="*/ 11128 w 458802"/>
                      <a:gd name="connsiteY3" fmla="*/ 59531 h 276226"/>
                      <a:gd name="connsiteX4" fmla="*/ 39703 w 458802"/>
                      <a:gd name="connsiteY4" fmla="*/ 0 h 276226"/>
                      <a:gd name="connsiteX0" fmla="*/ 42178 w 461277"/>
                      <a:gd name="connsiteY0" fmla="*/ 0 h 276226"/>
                      <a:gd name="connsiteX1" fmla="*/ 461277 w 461277"/>
                      <a:gd name="connsiteY1" fmla="*/ 183357 h 276226"/>
                      <a:gd name="connsiteX2" fmla="*/ 406507 w 461277"/>
                      <a:gd name="connsiteY2" fmla="*/ 276226 h 276226"/>
                      <a:gd name="connsiteX3" fmla="*/ 13603 w 461277"/>
                      <a:gd name="connsiteY3" fmla="*/ 59531 h 276226"/>
                      <a:gd name="connsiteX4" fmla="*/ 42178 w 461277"/>
                      <a:gd name="connsiteY4" fmla="*/ 0 h 276226"/>
                      <a:gd name="connsiteX0" fmla="*/ 45081 w 464180"/>
                      <a:gd name="connsiteY0" fmla="*/ 0 h 276226"/>
                      <a:gd name="connsiteX1" fmla="*/ 464180 w 464180"/>
                      <a:gd name="connsiteY1" fmla="*/ 183357 h 276226"/>
                      <a:gd name="connsiteX2" fmla="*/ 409410 w 464180"/>
                      <a:gd name="connsiteY2" fmla="*/ 276226 h 276226"/>
                      <a:gd name="connsiteX3" fmla="*/ 16506 w 464180"/>
                      <a:gd name="connsiteY3" fmla="*/ 59531 h 276226"/>
                      <a:gd name="connsiteX4" fmla="*/ 45081 w 464180"/>
                      <a:gd name="connsiteY4" fmla="*/ 0 h 276226"/>
                      <a:gd name="connsiteX0" fmla="*/ 40883 w 459982"/>
                      <a:gd name="connsiteY0" fmla="*/ 50 h 276276"/>
                      <a:gd name="connsiteX1" fmla="*/ 459982 w 459982"/>
                      <a:gd name="connsiteY1" fmla="*/ 183407 h 276276"/>
                      <a:gd name="connsiteX2" fmla="*/ 405212 w 459982"/>
                      <a:gd name="connsiteY2" fmla="*/ 276276 h 276276"/>
                      <a:gd name="connsiteX3" fmla="*/ 12308 w 459982"/>
                      <a:gd name="connsiteY3" fmla="*/ 59581 h 276276"/>
                      <a:gd name="connsiteX4" fmla="*/ 40883 w 459982"/>
                      <a:gd name="connsiteY4" fmla="*/ 50 h 276276"/>
                      <a:gd name="connsiteX0" fmla="*/ 45081 w 464180"/>
                      <a:gd name="connsiteY0" fmla="*/ 0 h 276226"/>
                      <a:gd name="connsiteX1" fmla="*/ 464180 w 464180"/>
                      <a:gd name="connsiteY1" fmla="*/ 183357 h 276226"/>
                      <a:gd name="connsiteX2" fmla="*/ 409410 w 464180"/>
                      <a:gd name="connsiteY2" fmla="*/ 276226 h 276226"/>
                      <a:gd name="connsiteX3" fmla="*/ 16506 w 464180"/>
                      <a:gd name="connsiteY3" fmla="*/ 59531 h 276226"/>
                      <a:gd name="connsiteX4" fmla="*/ 45081 w 464180"/>
                      <a:gd name="connsiteY4" fmla="*/ 0 h 276226"/>
                      <a:gd name="connsiteX0" fmla="*/ 48073 w 467172"/>
                      <a:gd name="connsiteY0" fmla="*/ 0 h 276226"/>
                      <a:gd name="connsiteX1" fmla="*/ 467172 w 467172"/>
                      <a:gd name="connsiteY1" fmla="*/ 183357 h 276226"/>
                      <a:gd name="connsiteX2" fmla="*/ 412402 w 467172"/>
                      <a:gd name="connsiteY2" fmla="*/ 276226 h 276226"/>
                      <a:gd name="connsiteX3" fmla="*/ 19498 w 467172"/>
                      <a:gd name="connsiteY3" fmla="*/ 59531 h 276226"/>
                      <a:gd name="connsiteX4" fmla="*/ 48073 w 467172"/>
                      <a:gd name="connsiteY4" fmla="*/ 0 h 276226"/>
                      <a:gd name="connsiteX0" fmla="*/ 45289 w 464388"/>
                      <a:gd name="connsiteY0" fmla="*/ 0 h 276226"/>
                      <a:gd name="connsiteX1" fmla="*/ 464388 w 464388"/>
                      <a:gd name="connsiteY1" fmla="*/ 183357 h 276226"/>
                      <a:gd name="connsiteX2" fmla="*/ 409618 w 464388"/>
                      <a:gd name="connsiteY2" fmla="*/ 276226 h 276226"/>
                      <a:gd name="connsiteX3" fmla="*/ 16714 w 464388"/>
                      <a:gd name="connsiteY3" fmla="*/ 59531 h 276226"/>
                      <a:gd name="connsiteX4" fmla="*/ 45289 w 464388"/>
                      <a:gd name="connsiteY4" fmla="*/ 0 h 276226"/>
                      <a:gd name="connsiteX0" fmla="*/ 43442 w 462541"/>
                      <a:gd name="connsiteY0" fmla="*/ 0 h 276226"/>
                      <a:gd name="connsiteX1" fmla="*/ 462541 w 462541"/>
                      <a:gd name="connsiteY1" fmla="*/ 183357 h 276226"/>
                      <a:gd name="connsiteX2" fmla="*/ 407771 w 462541"/>
                      <a:gd name="connsiteY2" fmla="*/ 276226 h 276226"/>
                      <a:gd name="connsiteX3" fmla="*/ 14867 w 462541"/>
                      <a:gd name="connsiteY3" fmla="*/ 59531 h 276226"/>
                      <a:gd name="connsiteX4" fmla="*/ 43442 w 462541"/>
                      <a:gd name="connsiteY4" fmla="*/ 0 h 276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541" h="276226">
                        <a:moveTo>
                          <a:pt x="43442" y="0"/>
                        </a:moveTo>
                        <a:lnTo>
                          <a:pt x="462541" y="183357"/>
                        </a:lnTo>
                        <a:cubicBezTo>
                          <a:pt x="461748" y="233364"/>
                          <a:pt x="429996" y="271462"/>
                          <a:pt x="407771" y="276226"/>
                        </a:cubicBezTo>
                        <a:lnTo>
                          <a:pt x="14867" y="59531"/>
                        </a:lnTo>
                        <a:cubicBezTo>
                          <a:pt x="-13709" y="34924"/>
                          <a:pt x="580" y="793"/>
                          <a:pt x="43442" y="0"/>
                        </a:cubicBezTo>
                        <a:close/>
                      </a:path>
                    </a:pathLst>
                  </a:custGeom>
                  <a:solidFill>
                    <a:srgbClr val="D9D9D9"/>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67" name="Rectangle 16"/>
                  <p:cNvSpPr/>
                  <p:nvPr/>
                </p:nvSpPr>
                <p:spPr>
                  <a:xfrm rot="1545906" flipH="1">
                    <a:off x="6975673" y="3149300"/>
                    <a:ext cx="99211" cy="132601"/>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4368"/>
                      <a:gd name="connsiteY0" fmla="*/ 0 h 368300"/>
                      <a:gd name="connsiteX1" fmla="*/ 664368 w 664368"/>
                      <a:gd name="connsiteY1" fmla="*/ 235744 h 368300"/>
                      <a:gd name="connsiteX2" fmla="*/ 571500 w 664368"/>
                      <a:gd name="connsiteY2" fmla="*/ 368300 h 368300"/>
                      <a:gd name="connsiteX3" fmla="*/ 0 w 664368"/>
                      <a:gd name="connsiteY3" fmla="*/ 368300 h 368300"/>
                      <a:gd name="connsiteX4" fmla="*/ 0 w 664368"/>
                      <a:gd name="connsiteY4" fmla="*/ 0 h 368300"/>
                      <a:gd name="connsiteX0" fmla="*/ 0 w 671347"/>
                      <a:gd name="connsiteY0" fmla="*/ 0 h 368300"/>
                      <a:gd name="connsiteX1" fmla="*/ 664368 w 671347"/>
                      <a:gd name="connsiteY1" fmla="*/ 235744 h 368300"/>
                      <a:gd name="connsiteX2" fmla="*/ 571500 w 671347"/>
                      <a:gd name="connsiteY2" fmla="*/ 368300 h 368300"/>
                      <a:gd name="connsiteX3" fmla="*/ 0 w 671347"/>
                      <a:gd name="connsiteY3" fmla="*/ 368300 h 368300"/>
                      <a:gd name="connsiteX4" fmla="*/ 0 w 671347"/>
                      <a:gd name="connsiteY4" fmla="*/ 0 h 368300"/>
                      <a:gd name="connsiteX0" fmla="*/ 0 w 664610"/>
                      <a:gd name="connsiteY0" fmla="*/ 0 h 368300"/>
                      <a:gd name="connsiteX1" fmla="*/ 664368 w 664610"/>
                      <a:gd name="connsiteY1" fmla="*/ 235744 h 368300"/>
                      <a:gd name="connsiteX2" fmla="*/ 571500 w 664610"/>
                      <a:gd name="connsiteY2" fmla="*/ 368300 h 368300"/>
                      <a:gd name="connsiteX3" fmla="*/ 0 w 664610"/>
                      <a:gd name="connsiteY3" fmla="*/ 368300 h 368300"/>
                      <a:gd name="connsiteX4" fmla="*/ 0 w 664610"/>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490538 w 664748"/>
                      <a:gd name="connsiteY0" fmla="*/ 0 h 215900"/>
                      <a:gd name="connsiteX1" fmla="*/ 664368 w 664748"/>
                      <a:gd name="connsiteY1" fmla="*/ 83344 h 215900"/>
                      <a:gd name="connsiteX2" fmla="*/ 571500 w 664748"/>
                      <a:gd name="connsiteY2" fmla="*/ 215900 h 215900"/>
                      <a:gd name="connsiteX3" fmla="*/ 0 w 664748"/>
                      <a:gd name="connsiteY3" fmla="*/ 215900 h 215900"/>
                      <a:gd name="connsiteX4" fmla="*/ 490538 w 664748"/>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5251 w 271842"/>
                      <a:gd name="connsiteY0" fmla="*/ 0 h 225425"/>
                      <a:gd name="connsiteX1" fmla="*/ 271462 w 271842"/>
                      <a:gd name="connsiteY1" fmla="*/ 92869 h 225425"/>
                      <a:gd name="connsiteX2" fmla="*/ 178594 w 271842"/>
                      <a:gd name="connsiteY2" fmla="*/ 225425 h 225425"/>
                      <a:gd name="connsiteX3" fmla="*/ 0 w 271842"/>
                      <a:gd name="connsiteY3" fmla="*/ 139700 h 225425"/>
                      <a:gd name="connsiteX4" fmla="*/ 95251 w 271842"/>
                      <a:gd name="connsiteY4" fmla="*/ 0 h 225425"/>
                      <a:gd name="connsiteX0" fmla="*/ 92870 w 271842"/>
                      <a:gd name="connsiteY0" fmla="*/ 0 h 220662"/>
                      <a:gd name="connsiteX1" fmla="*/ 271462 w 271842"/>
                      <a:gd name="connsiteY1" fmla="*/ 88106 h 220662"/>
                      <a:gd name="connsiteX2" fmla="*/ 178594 w 271842"/>
                      <a:gd name="connsiteY2" fmla="*/ 220662 h 220662"/>
                      <a:gd name="connsiteX3" fmla="*/ 0 w 271842"/>
                      <a:gd name="connsiteY3" fmla="*/ 134937 h 220662"/>
                      <a:gd name="connsiteX4" fmla="*/ 92870 w 271842"/>
                      <a:gd name="connsiteY4" fmla="*/ 0 h 220662"/>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85726 w 271842"/>
                      <a:gd name="connsiteY0" fmla="*/ 0 h 230186"/>
                      <a:gd name="connsiteX1" fmla="*/ 271462 w 271842"/>
                      <a:gd name="connsiteY1" fmla="*/ 97630 h 230186"/>
                      <a:gd name="connsiteX2" fmla="*/ 178594 w 271842"/>
                      <a:gd name="connsiteY2" fmla="*/ 230186 h 230186"/>
                      <a:gd name="connsiteX3" fmla="*/ 0 w 271842"/>
                      <a:gd name="connsiteY3" fmla="*/ 144461 h 230186"/>
                      <a:gd name="connsiteX4" fmla="*/ 85726 w 271842"/>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2567"/>
                      <a:gd name="connsiteX1" fmla="*/ 285750 w 286111"/>
                      <a:gd name="connsiteY1" fmla="*/ 97630 h 232567"/>
                      <a:gd name="connsiteX2" fmla="*/ 190501 w 286111"/>
                      <a:gd name="connsiteY2" fmla="*/ 232567 h 232567"/>
                      <a:gd name="connsiteX3" fmla="*/ 0 w 286111"/>
                      <a:gd name="connsiteY3" fmla="*/ 153986 h 232567"/>
                      <a:gd name="connsiteX4" fmla="*/ 97633 w 286111"/>
                      <a:gd name="connsiteY4" fmla="*/ 0 h 232567"/>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200027 w 286111"/>
                      <a:gd name="connsiteY0" fmla="*/ 0 h 182561"/>
                      <a:gd name="connsiteX1" fmla="*/ 285750 w 286111"/>
                      <a:gd name="connsiteY1" fmla="*/ 47624 h 182561"/>
                      <a:gd name="connsiteX2" fmla="*/ 190501 w 286111"/>
                      <a:gd name="connsiteY2" fmla="*/ 182561 h 182561"/>
                      <a:gd name="connsiteX3" fmla="*/ 0 w 286111"/>
                      <a:gd name="connsiteY3" fmla="*/ 103980 h 182561"/>
                      <a:gd name="connsiteX4" fmla="*/ 200027 w 286111"/>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2080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66678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66678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6204 w 167050"/>
                      <a:gd name="connsiteY0" fmla="*/ 0 h 182561"/>
                      <a:gd name="connsiteX1" fmla="*/ 166689 w 167050"/>
                      <a:gd name="connsiteY1" fmla="*/ 47624 h 182561"/>
                      <a:gd name="connsiteX2" fmla="*/ 71440 w 167050"/>
                      <a:gd name="connsiteY2" fmla="*/ 182561 h 182561"/>
                      <a:gd name="connsiteX3" fmla="*/ 0 w 167050"/>
                      <a:gd name="connsiteY3" fmla="*/ 144462 h 182561"/>
                      <a:gd name="connsiteX4" fmla="*/ 76204 w 167050"/>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900"/>
                      <a:gd name="connsiteY0" fmla="*/ 0 h 189705"/>
                      <a:gd name="connsiteX1" fmla="*/ 164308 w 164900"/>
                      <a:gd name="connsiteY1" fmla="*/ 47624 h 189705"/>
                      <a:gd name="connsiteX2" fmla="*/ 88109 w 164900"/>
                      <a:gd name="connsiteY2" fmla="*/ 189705 h 189705"/>
                      <a:gd name="connsiteX3" fmla="*/ 0 w 164900"/>
                      <a:gd name="connsiteY3" fmla="*/ 139699 h 189705"/>
                      <a:gd name="connsiteX4" fmla="*/ 73823 w 164900"/>
                      <a:gd name="connsiteY4" fmla="*/ 0 h 189705"/>
                      <a:gd name="connsiteX0" fmla="*/ 73823 w 164711"/>
                      <a:gd name="connsiteY0" fmla="*/ 0 h 189705"/>
                      <a:gd name="connsiteX1" fmla="*/ 164308 w 164711"/>
                      <a:gd name="connsiteY1" fmla="*/ 47624 h 189705"/>
                      <a:gd name="connsiteX2" fmla="*/ 88109 w 164711"/>
                      <a:gd name="connsiteY2" fmla="*/ 189705 h 189705"/>
                      <a:gd name="connsiteX3" fmla="*/ 0 w 164711"/>
                      <a:gd name="connsiteY3" fmla="*/ 139699 h 189705"/>
                      <a:gd name="connsiteX4" fmla="*/ 73823 w 164711"/>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54773 w 164599"/>
                      <a:gd name="connsiteY0" fmla="*/ 0 h 201611"/>
                      <a:gd name="connsiteX1" fmla="*/ 164308 w 164599"/>
                      <a:gd name="connsiteY1" fmla="*/ 59530 h 201611"/>
                      <a:gd name="connsiteX2" fmla="*/ 88109 w 164599"/>
                      <a:gd name="connsiteY2" fmla="*/ 201611 h 201611"/>
                      <a:gd name="connsiteX3" fmla="*/ 0 w 164599"/>
                      <a:gd name="connsiteY3" fmla="*/ 151605 h 201611"/>
                      <a:gd name="connsiteX4" fmla="*/ 54773 w 164599"/>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380"/>
                      <a:gd name="connsiteY0" fmla="*/ 0 h 201611"/>
                      <a:gd name="connsiteX1" fmla="*/ 180977 w 181380"/>
                      <a:gd name="connsiteY1" fmla="*/ 59530 h 201611"/>
                      <a:gd name="connsiteX2" fmla="*/ 104778 w 181380"/>
                      <a:gd name="connsiteY2" fmla="*/ 201611 h 201611"/>
                      <a:gd name="connsiteX3" fmla="*/ 0 w 181380"/>
                      <a:gd name="connsiteY3" fmla="*/ 151605 h 201611"/>
                      <a:gd name="connsiteX4" fmla="*/ 71442 w 181380"/>
                      <a:gd name="connsiteY4" fmla="*/ 0 h 201611"/>
                      <a:gd name="connsiteX0" fmla="*/ 71442 w 180977"/>
                      <a:gd name="connsiteY0" fmla="*/ 0 h 201611"/>
                      <a:gd name="connsiteX1" fmla="*/ 180977 w 180977"/>
                      <a:gd name="connsiteY1" fmla="*/ 59530 h 201611"/>
                      <a:gd name="connsiteX2" fmla="*/ 104778 w 180977"/>
                      <a:gd name="connsiteY2" fmla="*/ 201611 h 201611"/>
                      <a:gd name="connsiteX3" fmla="*/ 0 w 180977"/>
                      <a:gd name="connsiteY3" fmla="*/ 151605 h 201611"/>
                      <a:gd name="connsiteX4" fmla="*/ 71442 w 180977"/>
                      <a:gd name="connsiteY4" fmla="*/ 0 h 201611"/>
                      <a:gd name="connsiteX0" fmla="*/ 73823 w 180977"/>
                      <a:gd name="connsiteY0" fmla="*/ 0 h 199230"/>
                      <a:gd name="connsiteX1" fmla="*/ 180977 w 180977"/>
                      <a:gd name="connsiteY1" fmla="*/ 57149 h 199230"/>
                      <a:gd name="connsiteX2" fmla="*/ 104778 w 180977"/>
                      <a:gd name="connsiteY2" fmla="*/ 199230 h 199230"/>
                      <a:gd name="connsiteX3" fmla="*/ 0 w 180977"/>
                      <a:gd name="connsiteY3" fmla="*/ 149224 h 199230"/>
                      <a:gd name="connsiteX4" fmla="*/ 73823 w 180977"/>
                      <a:gd name="connsiteY4" fmla="*/ 0 h 199230"/>
                      <a:gd name="connsiteX0" fmla="*/ 73823 w 180977"/>
                      <a:gd name="connsiteY0" fmla="*/ 0 h 199230"/>
                      <a:gd name="connsiteX1" fmla="*/ 180977 w 180977"/>
                      <a:gd name="connsiteY1" fmla="*/ 57149 h 199230"/>
                      <a:gd name="connsiteX2" fmla="*/ 104778 w 180977"/>
                      <a:gd name="connsiteY2" fmla="*/ 199230 h 199230"/>
                      <a:gd name="connsiteX3" fmla="*/ 0 w 180977"/>
                      <a:gd name="connsiteY3" fmla="*/ 149224 h 199230"/>
                      <a:gd name="connsiteX4" fmla="*/ 73823 w 180977"/>
                      <a:gd name="connsiteY4" fmla="*/ 0 h 199230"/>
                      <a:gd name="connsiteX0" fmla="*/ 111923 w 180977"/>
                      <a:gd name="connsiteY0" fmla="*/ 0 h 180180"/>
                      <a:gd name="connsiteX1" fmla="*/ 180977 w 180977"/>
                      <a:gd name="connsiteY1" fmla="*/ 38099 h 180180"/>
                      <a:gd name="connsiteX2" fmla="*/ 104778 w 180977"/>
                      <a:gd name="connsiteY2" fmla="*/ 180180 h 180180"/>
                      <a:gd name="connsiteX3" fmla="*/ 0 w 180977"/>
                      <a:gd name="connsiteY3" fmla="*/ 130174 h 180180"/>
                      <a:gd name="connsiteX4" fmla="*/ 111923 w 180977"/>
                      <a:gd name="connsiteY4" fmla="*/ 0 h 180180"/>
                      <a:gd name="connsiteX0" fmla="*/ 111923 w 180977"/>
                      <a:gd name="connsiteY0" fmla="*/ 0 h 180180"/>
                      <a:gd name="connsiteX1" fmla="*/ 180977 w 180977"/>
                      <a:gd name="connsiteY1" fmla="*/ 38099 h 180180"/>
                      <a:gd name="connsiteX2" fmla="*/ 104778 w 180977"/>
                      <a:gd name="connsiteY2" fmla="*/ 180180 h 180180"/>
                      <a:gd name="connsiteX3" fmla="*/ 0 w 180977"/>
                      <a:gd name="connsiteY3" fmla="*/ 130174 h 180180"/>
                      <a:gd name="connsiteX4" fmla="*/ 111923 w 180977"/>
                      <a:gd name="connsiteY4" fmla="*/ 0 h 180180"/>
                      <a:gd name="connsiteX0" fmla="*/ 138117 w 180977"/>
                      <a:gd name="connsiteY0" fmla="*/ 0 h 165892"/>
                      <a:gd name="connsiteX1" fmla="*/ 180977 w 180977"/>
                      <a:gd name="connsiteY1" fmla="*/ 23811 h 165892"/>
                      <a:gd name="connsiteX2" fmla="*/ 104778 w 180977"/>
                      <a:gd name="connsiteY2" fmla="*/ 165892 h 165892"/>
                      <a:gd name="connsiteX3" fmla="*/ 0 w 180977"/>
                      <a:gd name="connsiteY3" fmla="*/ 115886 h 165892"/>
                      <a:gd name="connsiteX4" fmla="*/ 138117 w 180977"/>
                      <a:gd name="connsiteY4" fmla="*/ 0 h 165892"/>
                      <a:gd name="connsiteX0" fmla="*/ 78585 w 121445"/>
                      <a:gd name="connsiteY0" fmla="*/ 0 h 165892"/>
                      <a:gd name="connsiteX1" fmla="*/ 121445 w 121445"/>
                      <a:gd name="connsiteY1" fmla="*/ 23811 h 165892"/>
                      <a:gd name="connsiteX2" fmla="*/ 45246 w 121445"/>
                      <a:gd name="connsiteY2" fmla="*/ 165892 h 165892"/>
                      <a:gd name="connsiteX3" fmla="*/ 0 w 121445"/>
                      <a:gd name="connsiteY3" fmla="*/ 149224 h 165892"/>
                      <a:gd name="connsiteX4" fmla="*/ 78585 w 121445"/>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32609"/>
                      <a:gd name="connsiteY0" fmla="*/ 0 h 173036"/>
                      <a:gd name="connsiteX1" fmla="*/ 132609 w 132609"/>
                      <a:gd name="connsiteY1" fmla="*/ 24092 h 173036"/>
                      <a:gd name="connsiteX2" fmla="*/ 45564 w 132609"/>
                      <a:gd name="connsiteY2" fmla="*/ 173036 h 173036"/>
                      <a:gd name="connsiteX3" fmla="*/ 318 w 132609"/>
                      <a:gd name="connsiteY3" fmla="*/ 149224 h 173036"/>
                      <a:gd name="connsiteX4" fmla="*/ 78903 w 132609"/>
                      <a:gd name="connsiteY4" fmla="*/ 0 h 173036"/>
                      <a:gd name="connsiteX0" fmla="*/ 78903 w 135431"/>
                      <a:gd name="connsiteY0" fmla="*/ 0 h 173036"/>
                      <a:gd name="connsiteX1" fmla="*/ 135431 w 135431"/>
                      <a:gd name="connsiteY1" fmla="*/ 24092 h 173036"/>
                      <a:gd name="connsiteX2" fmla="*/ 45564 w 135431"/>
                      <a:gd name="connsiteY2" fmla="*/ 173036 h 173036"/>
                      <a:gd name="connsiteX3" fmla="*/ 318 w 135431"/>
                      <a:gd name="connsiteY3" fmla="*/ 149224 h 173036"/>
                      <a:gd name="connsiteX4" fmla="*/ 78903 w 135431"/>
                      <a:gd name="connsiteY4" fmla="*/ 0 h 173036"/>
                      <a:gd name="connsiteX0" fmla="*/ 78903 w 129787"/>
                      <a:gd name="connsiteY0" fmla="*/ 0 h 173036"/>
                      <a:gd name="connsiteX1" fmla="*/ 129787 w 129787"/>
                      <a:gd name="connsiteY1" fmla="*/ 18768 h 173036"/>
                      <a:gd name="connsiteX2" fmla="*/ 45564 w 129787"/>
                      <a:gd name="connsiteY2" fmla="*/ 173036 h 173036"/>
                      <a:gd name="connsiteX3" fmla="*/ 318 w 129787"/>
                      <a:gd name="connsiteY3" fmla="*/ 149224 h 173036"/>
                      <a:gd name="connsiteX4" fmla="*/ 78903 w 129787"/>
                      <a:gd name="connsiteY4" fmla="*/ 0 h 173036"/>
                      <a:gd name="connsiteX0" fmla="*/ 78903 w 129787"/>
                      <a:gd name="connsiteY0" fmla="*/ 0 h 173036"/>
                      <a:gd name="connsiteX1" fmla="*/ 129787 w 129787"/>
                      <a:gd name="connsiteY1" fmla="*/ 18768 h 173036"/>
                      <a:gd name="connsiteX2" fmla="*/ 45564 w 129787"/>
                      <a:gd name="connsiteY2" fmla="*/ 173036 h 173036"/>
                      <a:gd name="connsiteX3" fmla="*/ 318 w 129787"/>
                      <a:gd name="connsiteY3" fmla="*/ 149224 h 173036"/>
                      <a:gd name="connsiteX4" fmla="*/ 78903 w 129787"/>
                      <a:gd name="connsiteY4" fmla="*/ 0 h 173036"/>
                      <a:gd name="connsiteX0" fmla="*/ 78903 w 132608"/>
                      <a:gd name="connsiteY0" fmla="*/ 0 h 173036"/>
                      <a:gd name="connsiteX1" fmla="*/ 132608 w 132608"/>
                      <a:gd name="connsiteY1" fmla="*/ 18768 h 173036"/>
                      <a:gd name="connsiteX2" fmla="*/ 45564 w 132608"/>
                      <a:gd name="connsiteY2" fmla="*/ 173036 h 173036"/>
                      <a:gd name="connsiteX3" fmla="*/ 318 w 132608"/>
                      <a:gd name="connsiteY3" fmla="*/ 149224 h 173036"/>
                      <a:gd name="connsiteX4" fmla="*/ 78903 w 132608"/>
                      <a:gd name="connsiteY4" fmla="*/ 0 h 173036"/>
                      <a:gd name="connsiteX0" fmla="*/ 78584 w 132289"/>
                      <a:gd name="connsiteY0" fmla="*/ 0 h 173036"/>
                      <a:gd name="connsiteX1" fmla="*/ 132289 w 132289"/>
                      <a:gd name="connsiteY1" fmla="*/ 18768 h 173036"/>
                      <a:gd name="connsiteX2" fmla="*/ 45245 w 132289"/>
                      <a:gd name="connsiteY2" fmla="*/ 173036 h 173036"/>
                      <a:gd name="connsiteX3" fmla="*/ -1 w 132289"/>
                      <a:gd name="connsiteY3" fmla="*/ 149224 h 173036"/>
                      <a:gd name="connsiteX4" fmla="*/ 78584 w 132289"/>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5672"/>
                      <a:gd name="connsiteX1" fmla="*/ 132290 w 132290"/>
                      <a:gd name="connsiteY1" fmla="*/ 18768 h 175672"/>
                      <a:gd name="connsiteX2" fmla="*/ 50549 w 132290"/>
                      <a:gd name="connsiteY2" fmla="*/ 175672 h 175672"/>
                      <a:gd name="connsiteX3" fmla="*/ 0 w 132290"/>
                      <a:gd name="connsiteY3" fmla="*/ 149224 h 175672"/>
                      <a:gd name="connsiteX4" fmla="*/ 78585 w 132290"/>
                      <a:gd name="connsiteY4" fmla="*/ 0 h 175672"/>
                      <a:gd name="connsiteX0" fmla="*/ 78585 w 132290"/>
                      <a:gd name="connsiteY0" fmla="*/ 0 h 175672"/>
                      <a:gd name="connsiteX1" fmla="*/ 132290 w 132290"/>
                      <a:gd name="connsiteY1" fmla="*/ 18768 h 175672"/>
                      <a:gd name="connsiteX2" fmla="*/ 50549 w 132290"/>
                      <a:gd name="connsiteY2" fmla="*/ 175672 h 175672"/>
                      <a:gd name="connsiteX3" fmla="*/ 0 w 132290"/>
                      <a:gd name="connsiteY3" fmla="*/ 149224 h 175672"/>
                      <a:gd name="connsiteX4" fmla="*/ 78585 w 132290"/>
                      <a:gd name="connsiteY4" fmla="*/ 0 h 175672"/>
                      <a:gd name="connsiteX0" fmla="*/ 78585 w 132290"/>
                      <a:gd name="connsiteY0" fmla="*/ 0 h 175672"/>
                      <a:gd name="connsiteX1" fmla="*/ 132290 w 132290"/>
                      <a:gd name="connsiteY1" fmla="*/ 18768 h 175672"/>
                      <a:gd name="connsiteX2" fmla="*/ 47898 w 132290"/>
                      <a:gd name="connsiteY2" fmla="*/ 175672 h 175672"/>
                      <a:gd name="connsiteX3" fmla="*/ 0 w 132290"/>
                      <a:gd name="connsiteY3" fmla="*/ 149224 h 175672"/>
                      <a:gd name="connsiteX4" fmla="*/ 78585 w 132290"/>
                      <a:gd name="connsiteY4" fmla="*/ 0 h 175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90" h="175672">
                        <a:moveTo>
                          <a:pt x="78585" y="0"/>
                        </a:moveTo>
                        <a:cubicBezTo>
                          <a:pt x="103192" y="7939"/>
                          <a:pt x="108125" y="11393"/>
                          <a:pt x="132290" y="18768"/>
                        </a:cubicBezTo>
                        <a:cubicBezTo>
                          <a:pt x="129909" y="115340"/>
                          <a:pt x="90760" y="155300"/>
                          <a:pt x="47898" y="175672"/>
                        </a:cubicBezTo>
                        <a:cubicBezTo>
                          <a:pt x="27510" y="162209"/>
                          <a:pt x="27856" y="162178"/>
                          <a:pt x="0" y="149224"/>
                        </a:cubicBezTo>
                        <a:cubicBezTo>
                          <a:pt x="56717" y="116053"/>
                          <a:pt x="80436" y="78697"/>
                          <a:pt x="78585" y="0"/>
                        </a:cubicBezTo>
                        <a:close/>
                      </a:path>
                    </a:pathLst>
                  </a:custGeom>
                  <a:solidFill>
                    <a:srgbClr val="3186D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68" name="Rectangle 17"/>
                  <p:cNvSpPr/>
                  <p:nvPr/>
                </p:nvSpPr>
                <p:spPr>
                  <a:xfrm rot="1545906" flipH="1">
                    <a:off x="5118366" y="3165232"/>
                    <a:ext cx="95914" cy="124993"/>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14363"/>
                      <a:gd name="connsiteY0" fmla="*/ 0 h 368300"/>
                      <a:gd name="connsiteX1" fmla="*/ 614363 w 614363"/>
                      <a:gd name="connsiteY1" fmla="*/ 254794 h 368300"/>
                      <a:gd name="connsiteX2" fmla="*/ 571500 w 614363"/>
                      <a:gd name="connsiteY2" fmla="*/ 368300 h 368300"/>
                      <a:gd name="connsiteX3" fmla="*/ 0 w 614363"/>
                      <a:gd name="connsiteY3" fmla="*/ 368300 h 368300"/>
                      <a:gd name="connsiteX4" fmla="*/ 0 w 614363"/>
                      <a:gd name="connsiteY4" fmla="*/ 0 h 368300"/>
                      <a:gd name="connsiteX0" fmla="*/ 0 w 614824"/>
                      <a:gd name="connsiteY0" fmla="*/ 0 h 368300"/>
                      <a:gd name="connsiteX1" fmla="*/ 614363 w 614824"/>
                      <a:gd name="connsiteY1" fmla="*/ 254794 h 368300"/>
                      <a:gd name="connsiteX2" fmla="*/ 571500 w 614824"/>
                      <a:gd name="connsiteY2" fmla="*/ 368300 h 368300"/>
                      <a:gd name="connsiteX3" fmla="*/ 0 w 614824"/>
                      <a:gd name="connsiteY3" fmla="*/ 368300 h 368300"/>
                      <a:gd name="connsiteX4" fmla="*/ 0 w 614824"/>
                      <a:gd name="connsiteY4" fmla="*/ 0 h 368300"/>
                      <a:gd name="connsiteX0" fmla="*/ 0 w 614892"/>
                      <a:gd name="connsiteY0" fmla="*/ 0 h 368300"/>
                      <a:gd name="connsiteX1" fmla="*/ 614363 w 614892"/>
                      <a:gd name="connsiteY1" fmla="*/ 254794 h 368300"/>
                      <a:gd name="connsiteX2" fmla="*/ 576263 w 614892"/>
                      <a:gd name="connsiteY2" fmla="*/ 358775 h 368300"/>
                      <a:gd name="connsiteX3" fmla="*/ 0 w 614892"/>
                      <a:gd name="connsiteY3" fmla="*/ 368300 h 368300"/>
                      <a:gd name="connsiteX4" fmla="*/ 0 w 614892"/>
                      <a:gd name="connsiteY4" fmla="*/ 0 h 368300"/>
                      <a:gd name="connsiteX0" fmla="*/ 0 w 615512"/>
                      <a:gd name="connsiteY0" fmla="*/ 0 h 368300"/>
                      <a:gd name="connsiteX1" fmla="*/ 614363 w 615512"/>
                      <a:gd name="connsiteY1" fmla="*/ 254794 h 368300"/>
                      <a:gd name="connsiteX2" fmla="*/ 576263 w 615512"/>
                      <a:gd name="connsiteY2" fmla="*/ 358775 h 368300"/>
                      <a:gd name="connsiteX3" fmla="*/ 0 w 615512"/>
                      <a:gd name="connsiteY3" fmla="*/ 368300 h 368300"/>
                      <a:gd name="connsiteX4" fmla="*/ 0 w 615512"/>
                      <a:gd name="connsiteY4" fmla="*/ 0 h 368300"/>
                      <a:gd name="connsiteX0" fmla="*/ 0 w 615512"/>
                      <a:gd name="connsiteY0" fmla="*/ 0 h 368300"/>
                      <a:gd name="connsiteX1" fmla="*/ 614363 w 615512"/>
                      <a:gd name="connsiteY1" fmla="*/ 254794 h 368300"/>
                      <a:gd name="connsiteX2" fmla="*/ 576263 w 615512"/>
                      <a:gd name="connsiteY2" fmla="*/ 358775 h 368300"/>
                      <a:gd name="connsiteX3" fmla="*/ 0 w 615512"/>
                      <a:gd name="connsiteY3" fmla="*/ 368300 h 368300"/>
                      <a:gd name="connsiteX4" fmla="*/ 0 w 615512"/>
                      <a:gd name="connsiteY4" fmla="*/ 0 h 368300"/>
                      <a:gd name="connsiteX0" fmla="*/ 0 w 615512"/>
                      <a:gd name="connsiteY0" fmla="*/ 0 h 358775"/>
                      <a:gd name="connsiteX1" fmla="*/ 614363 w 615512"/>
                      <a:gd name="connsiteY1" fmla="*/ 254794 h 358775"/>
                      <a:gd name="connsiteX2" fmla="*/ 576263 w 615512"/>
                      <a:gd name="connsiteY2" fmla="*/ 358775 h 358775"/>
                      <a:gd name="connsiteX3" fmla="*/ 500063 w 615512"/>
                      <a:gd name="connsiteY3" fmla="*/ 358775 h 358775"/>
                      <a:gd name="connsiteX4" fmla="*/ 0 w 615512"/>
                      <a:gd name="connsiteY4" fmla="*/ 0 h 358775"/>
                      <a:gd name="connsiteX0" fmla="*/ 80962 w 115449"/>
                      <a:gd name="connsiteY0" fmla="*/ 0 h 123032"/>
                      <a:gd name="connsiteX1" fmla="*/ 114300 w 115449"/>
                      <a:gd name="connsiteY1" fmla="*/ 19051 h 123032"/>
                      <a:gd name="connsiteX2" fmla="*/ 76200 w 115449"/>
                      <a:gd name="connsiteY2" fmla="*/ 123032 h 123032"/>
                      <a:gd name="connsiteX3" fmla="*/ 0 w 115449"/>
                      <a:gd name="connsiteY3" fmla="*/ 123032 h 123032"/>
                      <a:gd name="connsiteX4" fmla="*/ 80962 w 115449"/>
                      <a:gd name="connsiteY4" fmla="*/ 0 h 123032"/>
                      <a:gd name="connsiteX0" fmla="*/ 78581 w 115449"/>
                      <a:gd name="connsiteY0" fmla="*/ 0 h 120651"/>
                      <a:gd name="connsiteX1" fmla="*/ 114300 w 115449"/>
                      <a:gd name="connsiteY1" fmla="*/ 16670 h 120651"/>
                      <a:gd name="connsiteX2" fmla="*/ 76200 w 115449"/>
                      <a:gd name="connsiteY2" fmla="*/ 120651 h 120651"/>
                      <a:gd name="connsiteX3" fmla="*/ 0 w 115449"/>
                      <a:gd name="connsiteY3" fmla="*/ 120651 h 120651"/>
                      <a:gd name="connsiteX4" fmla="*/ 78581 w 115449"/>
                      <a:gd name="connsiteY4" fmla="*/ 0 h 120651"/>
                      <a:gd name="connsiteX0" fmla="*/ 76200 w 113068"/>
                      <a:gd name="connsiteY0" fmla="*/ 0 h 127795"/>
                      <a:gd name="connsiteX1" fmla="*/ 111919 w 113068"/>
                      <a:gd name="connsiteY1" fmla="*/ 16670 h 127795"/>
                      <a:gd name="connsiteX2" fmla="*/ 73819 w 113068"/>
                      <a:gd name="connsiteY2" fmla="*/ 120651 h 127795"/>
                      <a:gd name="connsiteX3" fmla="*/ 0 w 113068"/>
                      <a:gd name="connsiteY3" fmla="*/ 127795 h 127795"/>
                      <a:gd name="connsiteX4" fmla="*/ 76200 w 113068"/>
                      <a:gd name="connsiteY4" fmla="*/ 0 h 127795"/>
                      <a:gd name="connsiteX0" fmla="*/ 76200 w 113068"/>
                      <a:gd name="connsiteY0" fmla="*/ 0 h 132040"/>
                      <a:gd name="connsiteX1" fmla="*/ 111919 w 113068"/>
                      <a:gd name="connsiteY1" fmla="*/ 16670 h 132040"/>
                      <a:gd name="connsiteX2" fmla="*/ 73819 w 113068"/>
                      <a:gd name="connsiteY2" fmla="*/ 120651 h 132040"/>
                      <a:gd name="connsiteX3" fmla="*/ 0 w 113068"/>
                      <a:gd name="connsiteY3" fmla="*/ 127795 h 132040"/>
                      <a:gd name="connsiteX4" fmla="*/ 76200 w 113068"/>
                      <a:gd name="connsiteY4" fmla="*/ 0 h 132040"/>
                      <a:gd name="connsiteX0" fmla="*/ 76200 w 113068"/>
                      <a:gd name="connsiteY0" fmla="*/ 0 h 135236"/>
                      <a:gd name="connsiteX1" fmla="*/ 111919 w 113068"/>
                      <a:gd name="connsiteY1" fmla="*/ 16670 h 135236"/>
                      <a:gd name="connsiteX2" fmla="*/ 73819 w 113068"/>
                      <a:gd name="connsiteY2" fmla="*/ 120651 h 135236"/>
                      <a:gd name="connsiteX3" fmla="*/ 0 w 113068"/>
                      <a:gd name="connsiteY3" fmla="*/ 127795 h 135236"/>
                      <a:gd name="connsiteX4" fmla="*/ 76200 w 113068"/>
                      <a:gd name="connsiteY4" fmla="*/ 0 h 135236"/>
                      <a:gd name="connsiteX0" fmla="*/ 76200 w 113068"/>
                      <a:gd name="connsiteY0" fmla="*/ 0 h 135236"/>
                      <a:gd name="connsiteX1" fmla="*/ 111919 w 113068"/>
                      <a:gd name="connsiteY1" fmla="*/ 16670 h 135236"/>
                      <a:gd name="connsiteX2" fmla="*/ 73819 w 113068"/>
                      <a:gd name="connsiteY2" fmla="*/ 120651 h 135236"/>
                      <a:gd name="connsiteX3" fmla="*/ 0 w 113068"/>
                      <a:gd name="connsiteY3" fmla="*/ 127795 h 135236"/>
                      <a:gd name="connsiteX4" fmla="*/ 76200 w 113068"/>
                      <a:gd name="connsiteY4" fmla="*/ 0 h 135236"/>
                      <a:gd name="connsiteX0" fmla="*/ 76200 w 113068"/>
                      <a:gd name="connsiteY0" fmla="*/ 0 h 135236"/>
                      <a:gd name="connsiteX1" fmla="*/ 111919 w 113068"/>
                      <a:gd name="connsiteY1" fmla="*/ 16670 h 135236"/>
                      <a:gd name="connsiteX2" fmla="*/ 73819 w 113068"/>
                      <a:gd name="connsiteY2" fmla="*/ 120651 h 135236"/>
                      <a:gd name="connsiteX3" fmla="*/ 0 w 113068"/>
                      <a:gd name="connsiteY3" fmla="*/ 127795 h 135236"/>
                      <a:gd name="connsiteX4" fmla="*/ 76200 w 113068"/>
                      <a:gd name="connsiteY4" fmla="*/ 0 h 135236"/>
                      <a:gd name="connsiteX0" fmla="*/ 76200 w 113068"/>
                      <a:gd name="connsiteY0" fmla="*/ 0 h 135236"/>
                      <a:gd name="connsiteX1" fmla="*/ 111919 w 113068"/>
                      <a:gd name="connsiteY1" fmla="*/ 16670 h 135236"/>
                      <a:gd name="connsiteX2" fmla="*/ 73819 w 113068"/>
                      <a:gd name="connsiteY2" fmla="*/ 120651 h 135236"/>
                      <a:gd name="connsiteX3" fmla="*/ 0 w 113068"/>
                      <a:gd name="connsiteY3" fmla="*/ 127795 h 135236"/>
                      <a:gd name="connsiteX4" fmla="*/ 76200 w 113068"/>
                      <a:gd name="connsiteY4" fmla="*/ 0 h 135236"/>
                      <a:gd name="connsiteX0" fmla="*/ 76200 w 113068"/>
                      <a:gd name="connsiteY0" fmla="*/ 0 h 137617"/>
                      <a:gd name="connsiteX1" fmla="*/ 111919 w 113068"/>
                      <a:gd name="connsiteY1" fmla="*/ 19051 h 137617"/>
                      <a:gd name="connsiteX2" fmla="*/ 73819 w 113068"/>
                      <a:gd name="connsiteY2" fmla="*/ 123032 h 137617"/>
                      <a:gd name="connsiteX3" fmla="*/ 0 w 113068"/>
                      <a:gd name="connsiteY3" fmla="*/ 130176 h 137617"/>
                      <a:gd name="connsiteX4" fmla="*/ 76200 w 113068"/>
                      <a:gd name="connsiteY4" fmla="*/ 0 h 137617"/>
                      <a:gd name="connsiteX0" fmla="*/ 76200 w 113068"/>
                      <a:gd name="connsiteY0" fmla="*/ 0 h 137617"/>
                      <a:gd name="connsiteX1" fmla="*/ 111919 w 113068"/>
                      <a:gd name="connsiteY1" fmla="*/ 19051 h 137617"/>
                      <a:gd name="connsiteX2" fmla="*/ 73819 w 113068"/>
                      <a:gd name="connsiteY2" fmla="*/ 123032 h 137617"/>
                      <a:gd name="connsiteX3" fmla="*/ 0 w 113068"/>
                      <a:gd name="connsiteY3" fmla="*/ 130176 h 137617"/>
                      <a:gd name="connsiteX4" fmla="*/ 76200 w 113068"/>
                      <a:gd name="connsiteY4" fmla="*/ 0 h 137617"/>
                      <a:gd name="connsiteX0" fmla="*/ 76200 w 113068"/>
                      <a:gd name="connsiteY0" fmla="*/ 0 h 137617"/>
                      <a:gd name="connsiteX1" fmla="*/ 111919 w 113068"/>
                      <a:gd name="connsiteY1" fmla="*/ 19051 h 137617"/>
                      <a:gd name="connsiteX2" fmla="*/ 73819 w 113068"/>
                      <a:gd name="connsiteY2" fmla="*/ 123032 h 137617"/>
                      <a:gd name="connsiteX3" fmla="*/ 0 w 113068"/>
                      <a:gd name="connsiteY3" fmla="*/ 130176 h 137617"/>
                      <a:gd name="connsiteX4" fmla="*/ 76200 w 113068"/>
                      <a:gd name="connsiteY4" fmla="*/ 0 h 137617"/>
                      <a:gd name="connsiteX0" fmla="*/ 76200 w 113068"/>
                      <a:gd name="connsiteY0" fmla="*/ 0 h 137617"/>
                      <a:gd name="connsiteX1" fmla="*/ 111919 w 113068"/>
                      <a:gd name="connsiteY1" fmla="*/ 19051 h 137617"/>
                      <a:gd name="connsiteX2" fmla="*/ 73819 w 113068"/>
                      <a:gd name="connsiteY2" fmla="*/ 123032 h 137617"/>
                      <a:gd name="connsiteX3" fmla="*/ 0 w 113068"/>
                      <a:gd name="connsiteY3" fmla="*/ 130176 h 137617"/>
                      <a:gd name="connsiteX4" fmla="*/ 76200 w 113068"/>
                      <a:gd name="connsiteY4" fmla="*/ 0 h 137617"/>
                      <a:gd name="connsiteX0" fmla="*/ 76200 w 113068"/>
                      <a:gd name="connsiteY0" fmla="*/ 0 h 139998"/>
                      <a:gd name="connsiteX1" fmla="*/ 111919 w 113068"/>
                      <a:gd name="connsiteY1" fmla="*/ 21432 h 139998"/>
                      <a:gd name="connsiteX2" fmla="*/ 73819 w 113068"/>
                      <a:gd name="connsiteY2" fmla="*/ 125413 h 139998"/>
                      <a:gd name="connsiteX3" fmla="*/ 0 w 113068"/>
                      <a:gd name="connsiteY3" fmla="*/ 132557 h 139998"/>
                      <a:gd name="connsiteX4" fmla="*/ 76200 w 113068"/>
                      <a:gd name="connsiteY4" fmla="*/ 0 h 139998"/>
                      <a:gd name="connsiteX0" fmla="*/ 76200 w 113068"/>
                      <a:gd name="connsiteY0" fmla="*/ 0 h 139998"/>
                      <a:gd name="connsiteX1" fmla="*/ 111919 w 113068"/>
                      <a:gd name="connsiteY1" fmla="*/ 21432 h 139998"/>
                      <a:gd name="connsiteX2" fmla="*/ 73819 w 113068"/>
                      <a:gd name="connsiteY2" fmla="*/ 125413 h 139998"/>
                      <a:gd name="connsiteX3" fmla="*/ 0 w 113068"/>
                      <a:gd name="connsiteY3" fmla="*/ 132557 h 139998"/>
                      <a:gd name="connsiteX4" fmla="*/ 76200 w 113068"/>
                      <a:gd name="connsiteY4" fmla="*/ 0 h 139998"/>
                      <a:gd name="connsiteX0" fmla="*/ 76200 w 113912"/>
                      <a:gd name="connsiteY0" fmla="*/ 0 h 139998"/>
                      <a:gd name="connsiteX1" fmla="*/ 111919 w 113912"/>
                      <a:gd name="connsiteY1" fmla="*/ 21432 h 139998"/>
                      <a:gd name="connsiteX2" fmla="*/ 73819 w 113912"/>
                      <a:gd name="connsiteY2" fmla="*/ 125413 h 139998"/>
                      <a:gd name="connsiteX3" fmla="*/ 0 w 113912"/>
                      <a:gd name="connsiteY3" fmla="*/ 132557 h 139998"/>
                      <a:gd name="connsiteX4" fmla="*/ 76200 w 113912"/>
                      <a:gd name="connsiteY4" fmla="*/ 0 h 139998"/>
                      <a:gd name="connsiteX0" fmla="*/ 76200 w 113912"/>
                      <a:gd name="connsiteY0" fmla="*/ 0 h 139998"/>
                      <a:gd name="connsiteX1" fmla="*/ 111919 w 113912"/>
                      <a:gd name="connsiteY1" fmla="*/ 21432 h 139998"/>
                      <a:gd name="connsiteX2" fmla="*/ 73819 w 113912"/>
                      <a:gd name="connsiteY2" fmla="*/ 125413 h 139998"/>
                      <a:gd name="connsiteX3" fmla="*/ 0 w 113912"/>
                      <a:gd name="connsiteY3" fmla="*/ 132557 h 139998"/>
                      <a:gd name="connsiteX4" fmla="*/ 76200 w 113912"/>
                      <a:gd name="connsiteY4" fmla="*/ 0 h 139998"/>
                      <a:gd name="connsiteX0" fmla="*/ 76200 w 113912"/>
                      <a:gd name="connsiteY0" fmla="*/ 0 h 139998"/>
                      <a:gd name="connsiteX1" fmla="*/ 111919 w 113912"/>
                      <a:gd name="connsiteY1" fmla="*/ 21432 h 139998"/>
                      <a:gd name="connsiteX2" fmla="*/ 73819 w 113912"/>
                      <a:gd name="connsiteY2" fmla="*/ 125413 h 139998"/>
                      <a:gd name="connsiteX3" fmla="*/ 0 w 113912"/>
                      <a:gd name="connsiteY3" fmla="*/ 132557 h 139998"/>
                      <a:gd name="connsiteX4" fmla="*/ 76200 w 113912"/>
                      <a:gd name="connsiteY4" fmla="*/ 0 h 139998"/>
                      <a:gd name="connsiteX0" fmla="*/ 76200 w 113912"/>
                      <a:gd name="connsiteY0" fmla="*/ 0 h 139998"/>
                      <a:gd name="connsiteX1" fmla="*/ 111919 w 113912"/>
                      <a:gd name="connsiteY1" fmla="*/ 21432 h 139998"/>
                      <a:gd name="connsiteX2" fmla="*/ 73819 w 113912"/>
                      <a:gd name="connsiteY2" fmla="*/ 125413 h 139998"/>
                      <a:gd name="connsiteX3" fmla="*/ 0 w 113912"/>
                      <a:gd name="connsiteY3" fmla="*/ 132557 h 139998"/>
                      <a:gd name="connsiteX4" fmla="*/ 76200 w 113912"/>
                      <a:gd name="connsiteY4" fmla="*/ 0 h 139998"/>
                      <a:gd name="connsiteX0" fmla="*/ 76200 w 113912"/>
                      <a:gd name="connsiteY0" fmla="*/ 0 h 139998"/>
                      <a:gd name="connsiteX1" fmla="*/ 111919 w 113912"/>
                      <a:gd name="connsiteY1" fmla="*/ 21432 h 139998"/>
                      <a:gd name="connsiteX2" fmla="*/ 73819 w 113912"/>
                      <a:gd name="connsiteY2" fmla="*/ 125413 h 139998"/>
                      <a:gd name="connsiteX3" fmla="*/ 0 w 113912"/>
                      <a:gd name="connsiteY3" fmla="*/ 132557 h 139998"/>
                      <a:gd name="connsiteX4" fmla="*/ 76200 w 113912"/>
                      <a:gd name="connsiteY4" fmla="*/ 0 h 139998"/>
                      <a:gd name="connsiteX0" fmla="*/ 76200 w 113912"/>
                      <a:gd name="connsiteY0" fmla="*/ 0 h 139998"/>
                      <a:gd name="connsiteX1" fmla="*/ 111919 w 113912"/>
                      <a:gd name="connsiteY1" fmla="*/ 21432 h 139998"/>
                      <a:gd name="connsiteX2" fmla="*/ 73819 w 113912"/>
                      <a:gd name="connsiteY2" fmla="*/ 125413 h 139998"/>
                      <a:gd name="connsiteX3" fmla="*/ 0 w 113912"/>
                      <a:gd name="connsiteY3" fmla="*/ 132557 h 139998"/>
                      <a:gd name="connsiteX4" fmla="*/ 76200 w 113912"/>
                      <a:gd name="connsiteY4" fmla="*/ 0 h 139998"/>
                      <a:gd name="connsiteX0" fmla="*/ 76200 w 113949"/>
                      <a:gd name="connsiteY0" fmla="*/ 0 h 140582"/>
                      <a:gd name="connsiteX1" fmla="*/ 111919 w 113949"/>
                      <a:gd name="connsiteY1" fmla="*/ 21432 h 140582"/>
                      <a:gd name="connsiteX2" fmla="*/ 73819 w 113949"/>
                      <a:gd name="connsiteY2" fmla="*/ 125413 h 140582"/>
                      <a:gd name="connsiteX3" fmla="*/ 0 w 113949"/>
                      <a:gd name="connsiteY3" fmla="*/ 132557 h 140582"/>
                      <a:gd name="connsiteX4" fmla="*/ 76200 w 113949"/>
                      <a:gd name="connsiteY4" fmla="*/ 0 h 140582"/>
                      <a:gd name="connsiteX0" fmla="*/ 76200 w 113949"/>
                      <a:gd name="connsiteY0" fmla="*/ 0 h 141362"/>
                      <a:gd name="connsiteX1" fmla="*/ 111919 w 113949"/>
                      <a:gd name="connsiteY1" fmla="*/ 21432 h 141362"/>
                      <a:gd name="connsiteX2" fmla="*/ 73819 w 113949"/>
                      <a:gd name="connsiteY2" fmla="*/ 125413 h 141362"/>
                      <a:gd name="connsiteX3" fmla="*/ 0 w 113949"/>
                      <a:gd name="connsiteY3" fmla="*/ 132557 h 141362"/>
                      <a:gd name="connsiteX4" fmla="*/ 76200 w 113949"/>
                      <a:gd name="connsiteY4" fmla="*/ 0 h 141362"/>
                      <a:gd name="connsiteX0" fmla="*/ 76200 w 113949"/>
                      <a:gd name="connsiteY0" fmla="*/ 0 h 143745"/>
                      <a:gd name="connsiteX1" fmla="*/ 111919 w 113949"/>
                      <a:gd name="connsiteY1" fmla="*/ 21432 h 143745"/>
                      <a:gd name="connsiteX2" fmla="*/ 73819 w 113949"/>
                      <a:gd name="connsiteY2" fmla="*/ 125413 h 143745"/>
                      <a:gd name="connsiteX3" fmla="*/ 0 w 113949"/>
                      <a:gd name="connsiteY3" fmla="*/ 132557 h 143745"/>
                      <a:gd name="connsiteX4" fmla="*/ 76200 w 113949"/>
                      <a:gd name="connsiteY4" fmla="*/ 0 h 143745"/>
                      <a:gd name="connsiteX0" fmla="*/ 76200 w 112839"/>
                      <a:gd name="connsiteY0" fmla="*/ 0 h 153673"/>
                      <a:gd name="connsiteX1" fmla="*/ 111919 w 112839"/>
                      <a:gd name="connsiteY1" fmla="*/ 21432 h 153673"/>
                      <a:gd name="connsiteX2" fmla="*/ 49586 w 112839"/>
                      <a:gd name="connsiteY2" fmla="*/ 144053 h 153673"/>
                      <a:gd name="connsiteX3" fmla="*/ 0 w 112839"/>
                      <a:gd name="connsiteY3" fmla="*/ 132557 h 153673"/>
                      <a:gd name="connsiteX4" fmla="*/ 76200 w 112839"/>
                      <a:gd name="connsiteY4" fmla="*/ 0 h 153673"/>
                      <a:gd name="connsiteX0" fmla="*/ 76200 w 112839"/>
                      <a:gd name="connsiteY0" fmla="*/ 0 h 144842"/>
                      <a:gd name="connsiteX1" fmla="*/ 111919 w 112839"/>
                      <a:gd name="connsiteY1" fmla="*/ 21432 h 144842"/>
                      <a:gd name="connsiteX2" fmla="*/ 49586 w 112839"/>
                      <a:gd name="connsiteY2" fmla="*/ 144053 h 144842"/>
                      <a:gd name="connsiteX3" fmla="*/ 0 w 112839"/>
                      <a:gd name="connsiteY3" fmla="*/ 132557 h 144842"/>
                      <a:gd name="connsiteX4" fmla="*/ 76200 w 112839"/>
                      <a:gd name="connsiteY4" fmla="*/ 0 h 144842"/>
                      <a:gd name="connsiteX0" fmla="*/ 76200 w 112765"/>
                      <a:gd name="connsiteY0" fmla="*/ 0 h 149645"/>
                      <a:gd name="connsiteX1" fmla="*/ 111919 w 112765"/>
                      <a:gd name="connsiteY1" fmla="*/ 21432 h 149645"/>
                      <a:gd name="connsiteX2" fmla="*/ 45858 w 112765"/>
                      <a:gd name="connsiteY2" fmla="*/ 149645 h 149645"/>
                      <a:gd name="connsiteX3" fmla="*/ 0 w 112765"/>
                      <a:gd name="connsiteY3" fmla="*/ 132557 h 149645"/>
                      <a:gd name="connsiteX4" fmla="*/ 76200 w 112765"/>
                      <a:gd name="connsiteY4" fmla="*/ 0 h 149645"/>
                      <a:gd name="connsiteX0" fmla="*/ 76200 w 112765"/>
                      <a:gd name="connsiteY0" fmla="*/ 0 h 149645"/>
                      <a:gd name="connsiteX1" fmla="*/ 111919 w 112765"/>
                      <a:gd name="connsiteY1" fmla="*/ 21432 h 149645"/>
                      <a:gd name="connsiteX2" fmla="*/ 45858 w 112765"/>
                      <a:gd name="connsiteY2" fmla="*/ 149645 h 149645"/>
                      <a:gd name="connsiteX3" fmla="*/ 0 w 112765"/>
                      <a:gd name="connsiteY3" fmla="*/ 132557 h 149645"/>
                      <a:gd name="connsiteX4" fmla="*/ 76200 w 112765"/>
                      <a:gd name="connsiteY4" fmla="*/ 0 h 149645"/>
                      <a:gd name="connsiteX0" fmla="*/ 76200 w 112765"/>
                      <a:gd name="connsiteY0" fmla="*/ 0 h 149645"/>
                      <a:gd name="connsiteX1" fmla="*/ 111919 w 112765"/>
                      <a:gd name="connsiteY1" fmla="*/ 21432 h 149645"/>
                      <a:gd name="connsiteX2" fmla="*/ 45858 w 112765"/>
                      <a:gd name="connsiteY2" fmla="*/ 149645 h 149645"/>
                      <a:gd name="connsiteX3" fmla="*/ 0 w 112765"/>
                      <a:gd name="connsiteY3" fmla="*/ 132557 h 149645"/>
                      <a:gd name="connsiteX4" fmla="*/ 76200 w 112765"/>
                      <a:gd name="connsiteY4" fmla="*/ 0 h 149645"/>
                      <a:gd name="connsiteX0" fmla="*/ 76200 w 112765"/>
                      <a:gd name="connsiteY0" fmla="*/ 0 h 149645"/>
                      <a:gd name="connsiteX1" fmla="*/ 111919 w 112765"/>
                      <a:gd name="connsiteY1" fmla="*/ 21432 h 149645"/>
                      <a:gd name="connsiteX2" fmla="*/ 45858 w 112765"/>
                      <a:gd name="connsiteY2" fmla="*/ 149645 h 149645"/>
                      <a:gd name="connsiteX3" fmla="*/ 0 w 112765"/>
                      <a:gd name="connsiteY3" fmla="*/ 132557 h 149645"/>
                      <a:gd name="connsiteX4" fmla="*/ 76200 w 112765"/>
                      <a:gd name="connsiteY4" fmla="*/ 0 h 149645"/>
                      <a:gd name="connsiteX0" fmla="*/ 76200 w 112837"/>
                      <a:gd name="connsiteY0" fmla="*/ 0 h 149645"/>
                      <a:gd name="connsiteX1" fmla="*/ 111919 w 112837"/>
                      <a:gd name="connsiteY1" fmla="*/ 21432 h 149645"/>
                      <a:gd name="connsiteX2" fmla="*/ 45858 w 112837"/>
                      <a:gd name="connsiteY2" fmla="*/ 149645 h 149645"/>
                      <a:gd name="connsiteX3" fmla="*/ 0 w 112837"/>
                      <a:gd name="connsiteY3" fmla="*/ 132557 h 149645"/>
                      <a:gd name="connsiteX4" fmla="*/ 76200 w 112837"/>
                      <a:gd name="connsiteY4" fmla="*/ 0 h 149645"/>
                      <a:gd name="connsiteX0" fmla="*/ 76200 w 114829"/>
                      <a:gd name="connsiteY0" fmla="*/ 0 h 149645"/>
                      <a:gd name="connsiteX1" fmla="*/ 111919 w 114829"/>
                      <a:gd name="connsiteY1" fmla="*/ 21432 h 149645"/>
                      <a:gd name="connsiteX2" fmla="*/ 45858 w 114829"/>
                      <a:gd name="connsiteY2" fmla="*/ 149645 h 149645"/>
                      <a:gd name="connsiteX3" fmla="*/ 0 w 114829"/>
                      <a:gd name="connsiteY3" fmla="*/ 132557 h 149645"/>
                      <a:gd name="connsiteX4" fmla="*/ 76200 w 114829"/>
                      <a:gd name="connsiteY4" fmla="*/ 0 h 149645"/>
                      <a:gd name="connsiteX0" fmla="*/ 76200 w 114829"/>
                      <a:gd name="connsiteY0" fmla="*/ 0 h 149645"/>
                      <a:gd name="connsiteX1" fmla="*/ 111919 w 114829"/>
                      <a:gd name="connsiteY1" fmla="*/ 21432 h 149645"/>
                      <a:gd name="connsiteX2" fmla="*/ 45858 w 114829"/>
                      <a:gd name="connsiteY2" fmla="*/ 149645 h 149645"/>
                      <a:gd name="connsiteX3" fmla="*/ 0 w 114829"/>
                      <a:gd name="connsiteY3" fmla="*/ 132557 h 149645"/>
                      <a:gd name="connsiteX4" fmla="*/ 76200 w 114829"/>
                      <a:gd name="connsiteY4" fmla="*/ 0 h 149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829" h="149645">
                        <a:moveTo>
                          <a:pt x="76200" y="0"/>
                        </a:moveTo>
                        <a:cubicBezTo>
                          <a:pt x="92868" y="7144"/>
                          <a:pt x="97632" y="11907"/>
                          <a:pt x="111919" y="21432"/>
                        </a:cubicBezTo>
                        <a:cubicBezTo>
                          <a:pt x="126518" y="57403"/>
                          <a:pt x="83355" y="145360"/>
                          <a:pt x="45858" y="149645"/>
                        </a:cubicBezTo>
                        <a:cubicBezTo>
                          <a:pt x="22286" y="140217"/>
                          <a:pt x="28229" y="144464"/>
                          <a:pt x="0" y="132557"/>
                        </a:cubicBezTo>
                        <a:cubicBezTo>
                          <a:pt x="58737" y="99483"/>
                          <a:pt x="78545" y="55021"/>
                          <a:pt x="76200" y="0"/>
                        </a:cubicBezTo>
                        <a:close/>
                      </a:path>
                    </a:pathLst>
                  </a:custGeom>
                  <a:solidFill>
                    <a:srgbClr val="3186D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69" name="Rectangle 16"/>
                  <p:cNvSpPr/>
                  <p:nvPr/>
                </p:nvSpPr>
                <p:spPr>
                  <a:xfrm rot="1545906" flipH="1">
                    <a:off x="5694877" y="3132649"/>
                    <a:ext cx="161013" cy="170622"/>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4368"/>
                      <a:gd name="connsiteY0" fmla="*/ 0 h 368300"/>
                      <a:gd name="connsiteX1" fmla="*/ 664368 w 664368"/>
                      <a:gd name="connsiteY1" fmla="*/ 235744 h 368300"/>
                      <a:gd name="connsiteX2" fmla="*/ 571500 w 664368"/>
                      <a:gd name="connsiteY2" fmla="*/ 368300 h 368300"/>
                      <a:gd name="connsiteX3" fmla="*/ 0 w 664368"/>
                      <a:gd name="connsiteY3" fmla="*/ 368300 h 368300"/>
                      <a:gd name="connsiteX4" fmla="*/ 0 w 664368"/>
                      <a:gd name="connsiteY4" fmla="*/ 0 h 368300"/>
                      <a:gd name="connsiteX0" fmla="*/ 0 w 671347"/>
                      <a:gd name="connsiteY0" fmla="*/ 0 h 368300"/>
                      <a:gd name="connsiteX1" fmla="*/ 664368 w 671347"/>
                      <a:gd name="connsiteY1" fmla="*/ 235744 h 368300"/>
                      <a:gd name="connsiteX2" fmla="*/ 571500 w 671347"/>
                      <a:gd name="connsiteY2" fmla="*/ 368300 h 368300"/>
                      <a:gd name="connsiteX3" fmla="*/ 0 w 671347"/>
                      <a:gd name="connsiteY3" fmla="*/ 368300 h 368300"/>
                      <a:gd name="connsiteX4" fmla="*/ 0 w 671347"/>
                      <a:gd name="connsiteY4" fmla="*/ 0 h 368300"/>
                      <a:gd name="connsiteX0" fmla="*/ 0 w 664610"/>
                      <a:gd name="connsiteY0" fmla="*/ 0 h 368300"/>
                      <a:gd name="connsiteX1" fmla="*/ 664368 w 664610"/>
                      <a:gd name="connsiteY1" fmla="*/ 235744 h 368300"/>
                      <a:gd name="connsiteX2" fmla="*/ 571500 w 664610"/>
                      <a:gd name="connsiteY2" fmla="*/ 368300 h 368300"/>
                      <a:gd name="connsiteX3" fmla="*/ 0 w 664610"/>
                      <a:gd name="connsiteY3" fmla="*/ 368300 h 368300"/>
                      <a:gd name="connsiteX4" fmla="*/ 0 w 664610"/>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490538 w 664748"/>
                      <a:gd name="connsiteY0" fmla="*/ 0 h 215900"/>
                      <a:gd name="connsiteX1" fmla="*/ 664368 w 664748"/>
                      <a:gd name="connsiteY1" fmla="*/ 83344 h 215900"/>
                      <a:gd name="connsiteX2" fmla="*/ 571500 w 664748"/>
                      <a:gd name="connsiteY2" fmla="*/ 215900 h 215900"/>
                      <a:gd name="connsiteX3" fmla="*/ 0 w 664748"/>
                      <a:gd name="connsiteY3" fmla="*/ 215900 h 215900"/>
                      <a:gd name="connsiteX4" fmla="*/ 490538 w 664748"/>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5251 w 271842"/>
                      <a:gd name="connsiteY0" fmla="*/ 0 h 225425"/>
                      <a:gd name="connsiteX1" fmla="*/ 271462 w 271842"/>
                      <a:gd name="connsiteY1" fmla="*/ 92869 h 225425"/>
                      <a:gd name="connsiteX2" fmla="*/ 178594 w 271842"/>
                      <a:gd name="connsiteY2" fmla="*/ 225425 h 225425"/>
                      <a:gd name="connsiteX3" fmla="*/ 0 w 271842"/>
                      <a:gd name="connsiteY3" fmla="*/ 139700 h 225425"/>
                      <a:gd name="connsiteX4" fmla="*/ 95251 w 271842"/>
                      <a:gd name="connsiteY4" fmla="*/ 0 h 225425"/>
                      <a:gd name="connsiteX0" fmla="*/ 92870 w 271842"/>
                      <a:gd name="connsiteY0" fmla="*/ 0 h 220662"/>
                      <a:gd name="connsiteX1" fmla="*/ 271462 w 271842"/>
                      <a:gd name="connsiteY1" fmla="*/ 88106 h 220662"/>
                      <a:gd name="connsiteX2" fmla="*/ 178594 w 271842"/>
                      <a:gd name="connsiteY2" fmla="*/ 220662 h 220662"/>
                      <a:gd name="connsiteX3" fmla="*/ 0 w 271842"/>
                      <a:gd name="connsiteY3" fmla="*/ 134937 h 220662"/>
                      <a:gd name="connsiteX4" fmla="*/ 92870 w 271842"/>
                      <a:gd name="connsiteY4" fmla="*/ 0 h 220662"/>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85726 w 271842"/>
                      <a:gd name="connsiteY0" fmla="*/ 0 h 230186"/>
                      <a:gd name="connsiteX1" fmla="*/ 271462 w 271842"/>
                      <a:gd name="connsiteY1" fmla="*/ 97630 h 230186"/>
                      <a:gd name="connsiteX2" fmla="*/ 178594 w 271842"/>
                      <a:gd name="connsiteY2" fmla="*/ 230186 h 230186"/>
                      <a:gd name="connsiteX3" fmla="*/ 0 w 271842"/>
                      <a:gd name="connsiteY3" fmla="*/ 144461 h 230186"/>
                      <a:gd name="connsiteX4" fmla="*/ 85726 w 271842"/>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2567"/>
                      <a:gd name="connsiteX1" fmla="*/ 285750 w 286111"/>
                      <a:gd name="connsiteY1" fmla="*/ 97630 h 232567"/>
                      <a:gd name="connsiteX2" fmla="*/ 190501 w 286111"/>
                      <a:gd name="connsiteY2" fmla="*/ 232567 h 232567"/>
                      <a:gd name="connsiteX3" fmla="*/ 0 w 286111"/>
                      <a:gd name="connsiteY3" fmla="*/ 153986 h 232567"/>
                      <a:gd name="connsiteX4" fmla="*/ 97633 w 286111"/>
                      <a:gd name="connsiteY4" fmla="*/ 0 h 232567"/>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200027 w 286111"/>
                      <a:gd name="connsiteY0" fmla="*/ 0 h 182561"/>
                      <a:gd name="connsiteX1" fmla="*/ 285750 w 286111"/>
                      <a:gd name="connsiteY1" fmla="*/ 47624 h 182561"/>
                      <a:gd name="connsiteX2" fmla="*/ 190501 w 286111"/>
                      <a:gd name="connsiteY2" fmla="*/ 182561 h 182561"/>
                      <a:gd name="connsiteX3" fmla="*/ 0 w 286111"/>
                      <a:gd name="connsiteY3" fmla="*/ 103980 h 182561"/>
                      <a:gd name="connsiteX4" fmla="*/ 200027 w 286111"/>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2080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66678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66678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6204 w 167050"/>
                      <a:gd name="connsiteY0" fmla="*/ 0 h 182561"/>
                      <a:gd name="connsiteX1" fmla="*/ 166689 w 167050"/>
                      <a:gd name="connsiteY1" fmla="*/ 47624 h 182561"/>
                      <a:gd name="connsiteX2" fmla="*/ 71440 w 167050"/>
                      <a:gd name="connsiteY2" fmla="*/ 182561 h 182561"/>
                      <a:gd name="connsiteX3" fmla="*/ 0 w 167050"/>
                      <a:gd name="connsiteY3" fmla="*/ 144462 h 182561"/>
                      <a:gd name="connsiteX4" fmla="*/ 76204 w 167050"/>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900"/>
                      <a:gd name="connsiteY0" fmla="*/ 0 h 189705"/>
                      <a:gd name="connsiteX1" fmla="*/ 164308 w 164900"/>
                      <a:gd name="connsiteY1" fmla="*/ 47624 h 189705"/>
                      <a:gd name="connsiteX2" fmla="*/ 88109 w 164900"/>
                      <a:gd name="connsiteY2" fmla="*/ 189705 h 189705"/>
                      <a:gd name="connsiteX3" fmla="*/ 0 w 164900"/>
                      <a:gd name="connsiteY3" fmla="*/ 139699 h 189705"/>
                      <a:gd name="connsiteX4" fmla="*/ 73823 w 164900"/>
                      <a:gd name="connsiteY4" fmla="*/ 0 h 189705"/>
                      <a:gd name="connsiteX0" fmla="*/ 73823 w 164711"/>
                      <a:gd name="connsiteY0" fmla="*/ 0 h 189705"/>
                      <a:gd name="connsiteX1" fmla="*/ 164308 w 164711"/>
                      <a:gd name="connsiteY1" fmla="*/ 47624 h 189705"/>
                      <a:gd name="connsiteX2" fmla="*/ 88109 w 164711"/>
                      <a:gd name="connsiteY2" fmla="*/ 189705 h 189705"/>
                      <a:gd name="connsiteX3" fmla="*/ 0 w 164711"/>
                      <a:gd name="connsiteY3" fmla="*/ 139699 h 189705"/>
                      <a:gd name="connsiteX4" fmla="*/ 73823 w 164711"/>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54773 w 164599"/>
                      <a:gd name="connsiteY0" fmla="*/ 0 h 201611"/>
                      <a:gd name="connsiteX1" fmla="*/ 164308 w 164599"/>
                      <a:gd name="connsiteY1" fmla="*/ 59530 h 201611"/>
                      <a:gd name="connsiteX2" fmla="*/ 88109 w 164599"/>
                      <a:gd name="connsiteY2" fmla="*/ 201611 h 201611"/>
                      <a:gd name="connsiteX3" fmla="*/ 0 w 164599"/>
                      <a:gd name="connsiteY3" fmla="*/ 151605 h 201611"/>
                      <a:gd name="connsiteX4" fmla="*/ 54773 w 164599"/>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8586 w 181268"/>
                      <a:gd name="connsiteY0" fmla="*/ 0 h 196848"/>
                      <a:gd name="connsiteX1" fmla="*/ 180977 w 181268"/>
                      <a:gd name="connsiteY1" fmla="*/ 54767 h 196848"/>
                      <a:gd name="connsiteX2" fmla="*/ 104778 w 181268"/>
                      <a:gd name="connsiteY2" fmla="*/ 196848 h 196848"/>
                      <a:gd name="connsiteX3" fmla="*/ 0 w 181268"/>
                      <a:gd name="connsiteY3" fmla="*/ 146842 h 196848"/>
                      <a:gd name="connsiteX4" fmla="*/ 78586 w 181268"/>
                      <a:gd name="connsiteY4" fmla="*/ 0 h 196848"/>
                      <a:gd name="connsiteX0" fmla="*/ 78586 w 181268"/>
                      <a:gd name="connsiteY0" fmla="*/ 0 h 196848"/>
                      <a:gd name="connsiteX1" fmla="*/ 180977 w 181268"/>
                      <a:gd name="connsiteY1" fmla="*/ 54767 h 196848"/>
                      <a:gd name="connsiteX2" fmla="*/ 104778 w 181268"/>
                      <a:gd name="connsiteY2" fmla="*/ 196848 h 196848"/>
                      <a:gd name="connsiteX3" fmla="*/ 0 w 181268"/>
                      <a:gd name="connsiteY3" fmla="*/ 146842 h 196848"/>
                      <a:gd name="connsiteX4" fmla="*/ 78586 w 181268"/>
                      <a:gd name="connsiteY4" fmla="*/ 0 h 196848"/>
                      <a:gd name="connsiteX0" fmla="*/ 78586 w 181268"/>
                      <a:gd name="connsiteY0" fmla="*/ 0 h 196848"/>
                      <a:gd name="connsiteX1" fmla="*/ 180977 w 181268"/>
                      <a:gd name="connsiteY1" fmla="*/ 54767 h 196848"/>
                      <a:gd name="connsiteX2" fmla="*/ 104778 w 181268"/>
                      <a:gd name="connsiteY2" fmla="*/ 196848 h 196848"/>
                      <a:gd name="connsiteX3" fmla="*/ 0 w 181268"/>
                      <a:gd name="connsiteY3" fmla="*/ 146842 h 196848"/>
                      <a:gd name="connsiteX4" fmla="*/ 78586 w 181268"/>
                      <a:gd name="connsiteY4" fmla="*/ 0 h 196848"/>
                      <a:gd name="connsiteX0" fmla="*/ 76205 w 178887"/>
                      <a:gd name="connsiteY0" fmla="*/ 0 h 196848"/>
                      <a:gd name="connsiteX1" fmla="*/ 178596 w 178887"/>
                      <a:gd name="connsiteY1" fmla="*/ 54767 h 196848"/>
                      <a:gd name="connsiteX2" fmla="*/ 102397 w 178887"/>
                      <a:gd name="connsiteY2" fmla="*/ 196848 h 196848"/>
                      <a:gd name="connsiteX3" fmla="*/ 0 w 178887"/>
                      <a:gd name="connsiteY3" fmla="*/ 149223 h 196848"/>
                      <a:gd name="connsiteX4" fmla="*/ 76205 w 178887"/>
                      <a:gd name="connsiteY4" fmla="*/ 0 h 196848"/>
                      <a:gd name="connsiteX0" fmla="*/ 76205 w 178887"/>
                      <a:gd name="connsiteY0" fmla="*/ 0 h 196848"/>
                      <a:gd name="connsiteX1" fmla="*/ 178596 w 178887"/>
                      <a:gd name="connsiteY1" fmla="*/ 54767 h 196848"/>
                      <a:gd name="connsiteX2" fmla="*/ 102397 w 178887"/>
                      <a:gd name="connsiteY2" fmla="*/ 196848 h 196848"/>
                      <a:gd name="connsiteX3" fmla="*/ 0 w 178887"/>
                      <a:gd name="connsiteY3" fmla="*/ 149223 h 196848"/>
                      <a:gd name="connsiteX4" fmla="*/ 76205 w 178887"/>
                      <a:gd name="connsiteY4" fmla="*/ 0 h 196848"/>
                      <a:gd name="connsiteX0" fmla="*/ 76205 w 178887"/>
                      <a:gd name="connsiteY0" fmla="*/ 0 h 196848"/>
                      <a:gd name="connsiteX1" fmla="*/ 178596 w 178887"/>
                      <a:gd name="connsiteY1" fmla="*/ 54767 h 196848"/>
                      <a:gd name="connsiteX2" fmla="*/ 102397 w 178887"/>
                      <a:gd name="connsiteY2" fmla="*/ 196848 h 196848"/>
                      <a:gd name="connsiteX3" fmla="*/ 0 w 178887"/>
                      <a:gd name="connsiteY3" fmla="*/ 149223 h 196848"/>
                      <a:gd name="connsiteX4" fmla="*/ 76205 w 178887"/>
                      <a:gd name="connsiteY4" fmla="*/ 0 h 196848"/>
                      <a:gd name="connsiteX0" fmla="*/ 76205 w 178887"/>
                      <a:gd name="connsiteY0" fmla="*/ 0 h 196848"/>
                      <a:gd name="connsiteX1" fmla="*/ 178596 w 178887"/>
                      <a:gd name="connsiteY1" fmla="*/ 54767 h 196848"/>
                      <a:gd name="connsiteX2" fmla="*/ 102397 w 178887"/>
                      <a:gd name="connsiteY2" fmla="*/ 196848 h 196848"/>
                      <a:gd name="connsiteX3" fmla="*/ 0 w 178887"/>
                      <a:gd name="connsiteY3" fmla="*/ 149223 h 196848"/>
                      <a:gd name="connsiteX4" fmla="*/ 76205 w 178887"/>
                      <a:gd name="connsiteY4" fmla="*/ 0 h 196848"/>
                      <a:gd name="connsiteX0" fmla="*/ 76205 w 178913"/>
                      <a:gd name="connsiteY0" fmla="*/ 0 h 196848"/>
                      <a:gd name="connsiteX1" fmla="*/ 178596 w 178913"/>
                      <a:gd name="connsiteY1" fmla="*/ 54767 h 196848"/>
                      <a:gd name="connsiteX2" fmla="*/ 102397 w 178913"/>
                      <a:gd name="connsiteY2" fmla="*/ 196848 h 196848"/>
                      <a:gd name="connsiteX3" fmla="*/ 0 w 178913"/>
                      <a:gd name="connsiteY3" fmla="*/ 149223 h 196848"/>
                      <a:gd name="connsiteX4" fmla="*/ 76205 w 178913"/>
                      <a:gd name="connsiteY4" fmla="*/ 0 h 196848"/>
                      <a:gd name="connsiteX0" fmla="*/ 76205 w 178887"/>
                      <a:gd name="connsiteY0" fmla="*/ 0 h 196848"/>
                      <a:gd name="connsiteX1" fmla="*/ 178596 w 178887"/>
                      <a:gd name="connsiteY1" fmla="*/ 54767 h 196848"/>
                      <a:gd name="connsiteX2" fmla="*/ 102397 w 178887"/>
                      <a:gd name="connsiteY2" fmla="*/ 196848 h 196848"/>
                      <a:gd name="connsiteX3" fmla="*/ 0 w 178887"/>
                      <a:gd name="connsiteY3" fmla="*/ 149223 h 196848"/>
                      <a:gd name="connsiteX4" fmla="*/ 76205 w 178887"/>
                      <a:gd name="connsiteY4" fmla="*/ 0 h 196848"/>
                      <a:gd name="connsiteX0" fmla="*/ 76205 w 178913"/>
                      <a:gd name="connsiteY0" fmla="*/ 0 h 196848"/>
                      <a:gd name="connsiteX1" fmla="*/ 178596 w 178913"/>
                      <a:gd name="connsiteY1" fmla="*/ 54767 h 196848"/>
                      <a:gd name="connsiteX2" fmla="*/ 102397 w 178913"/>
                      <a:gd name="connsiteY2" fmla="*/ 196848 h 196848"/>
                      <a:gd name="connsiteX3" fmla="*/ 0 w 178913"/>
                      <a:gd name="connsiteY3" fmla="*/ 149223 h 196848"/>
                      <a:gd name="connsiteX4" fmla="*/ 76205 w 178913"/>
                      <a:gd name="connsiteY4" fmla="*/ 0 h 196848"/>
                      <a:gd name="connsiteX0" fmla="*/ 76205 w 178913"/>
                      <a:gd name="connsiteY0" fmla="*/ 0 h 199230"/>
                      <a:gd name="connsiteX1" fmla="*/ 178596 w 178913"/>
                      <a:gd name="connsiteY1" fmla="*/ 54767 h 199230"/>
                      <a:gd name="connsiteX2" fmla="*/ 102397 w 178913"/>
                      <a:gd name="connsiteY2" fmla="*/ 199230 h 199230"/>
                      <a:gd name="connsiteX3" fmla="*/ 0 w 178913"/>
                      <a:gd name="connsiteY3" fmla="*/ 149223 h 199230"/>
                      <a:gd name="connsiteX4" fmla="*/ 76205 w 178913"/>
                      <a:gd name="connsiteY4" fmla="*/ 0 h 199230"/>
                      <a:gd name="connsiteX0" fmla="*/ 78587 w 181295"/>
                      <a:gd name="connsiteY0" fmla="*/ 0 h 199230"/>
                      <a:gd name="connsiteX1" fmla="*/ 180978 w 181295"/>
                      <a:gd name="connsiteY1" fmla="*/ 54767 h 199230"/>
                      <a:gd name="connsiteX2" fmla="*/ 104779 w 181295"/>
                      <a:gd name="connsiteY2" fmla="*/ 199230 h 199230"/>
                      <a:gd name="connsiteX3" fmla="*/ 0 w 181295"/>
                      <a:gd name="connsiteY3" fmla="*/ 151605 h 199230"/>
                      <a:gd name="connsiteX4" fmla="*/ 78587 w 181295"/>
                      <a:gd name="connsiteY4" fmla="*/ 0 h 199230"/>
                      <a:gd name="connsiteX0" fmla="*/ 78587 w 181309"/>
                      <a:gd name="connsiteY0" fmla="*/ 0 h 203993"/>
                      <a:gd name="connsiteX1" fmla="*/ 180978 w 181309"/>
                      <a:gd name="connsiteY1" fmla="*/ 54767 h 203993"/>
                      <a:gd name="connsiteX2" fmla="*/ 107160 w 181309"/>
                      <a:gd name="connsiteY2" fmla="*/ 203993 h 203993"/>
                      <a:gd name="connsiteX3" fmla="*/ 0 w 181309"/>
                      <a:gd name="connsiteY3" fmla="*/ 151605 h 203993"/>
                      <a:gd name="connsiteX4" fmla="*/ 78587 w 181309"/>
                      <a:gd name="connsiteY4" fmla="*/ 0 h 203993"/>
                      <a:gd name="connsiteX0" fmla="*/ 78587 w 181309"/>
                      <a:gd name="connsiteY0" fmla="*/ 0 h 203993"/>
                      <a:gd name="connsiteX1" fmla="*/ 180978 w 181309"/>
                      <a:gd name="connsiteY1" fmla="*/ 54767 h 203993"/>
                      <a:gd name="connsiteX2" fmla="*/ 107160 w 181309"/>
                      <a:gd name="connsiteY2" fmla="*/ 203993 h 203993"/>
                      <a:gd name="connsiteX3" fmla="*/ 0 w 181309"/>
                      <a:gd name="connsiteY3" fmla="*/ 151605 h 203993"/>
                      <a:gd name="connsiteX4" fmla="*/ 78587 w 181309"/>
                      <a:gd name="connsiteY4" fmla="*/ 0 h 203993"/>
                      <a:gd name="connsiteX0" fmla="*/ 78587 w 183676"/>
                      <a:gd name="connsiteY0" fmla="*/ 0 h 203993"/>
                      <a:gd name="connsiteX1" fmla="*/ 183359 w 183676"/>
                      <a:gd name="connsiteY1" fmla="*/ 54767 h 203993"/>
                      <a:gd name="connsiteX2" fmla="*/ 107160 w 183676"/>
                      <a:gd name="connsiteY2" fmla="*/ 203993 h 203993"/>
                      <a:gd name="connsiteX3" fmla="*/ 0 w 183676"/>
                      <a:gd name="connsiteY3" fmla="*/ 151605 h 203993"/>
                      <a:gd name="connsiteX4" fmla="*/ 78587 w 183676"/>
                      <a:gd name="connsiteY4" fmla="*/ 0 h 203993"/>
                      <a:gd name="connsiteX0" fmla="*/ 78587 w 183676"/>
                      <a:gd name="connsiteY0" fmla="*/ 0 h 203993"/>
                      <a:gd name="connsiteX1" fmla="*/ 183359 w 183676"/>
                      <a:gd name="connsiteY1" fmla="*/ 54767 h 203993"/>
                      <a:gd name="connsiteX2" fmla="*/ 107160 w 183676"/>
                      <a:gd name="connsiteY2" fmla="*/ 203993 h 203993"/>
                      <a:gd name="connsiteX3" fmla="*/ 0 w 183676"/>
                      <a:gd name="connsiteY3" fmla="*/ 151605 h 203993"/>
                      <a:gd name="connsiteX4" fmla="*/ 78587 w 183676"/>
                      <a:gd name="connsiteY4" fmla="*/ 0 h 203993"/>
                      <a:gd name="connsiteX0" fmla="*/ 78587 w 183676"/>
                      <a:gd name="connsiteY0" fmla="*/ 0 h 203993"/>
                      <a:gd name="connsiteX1" fmla="*/ 183359 w 183676"/>
                      <a:gd name="connsiteY1" fmla="*/ 54767 h 203993"/>
                      <a:gd name="connsiteX2" fmla="*/ 107160 w 183676"/>
                      <a:gd name="connsiteY2" fmla="*/ 203993 h 203993"/>
                      <a:gd name="connsiteX3" fmla="*/ 0 w 183676"/>
                      <a:gd name="connsiteY3" fmla="*/ 151605 h 203993"/>
                      <a:gd name="connsiteX4" fmla="*/ 78587 w 183676"/>
                      <a:gd name="connsiteY4" fmla="*/ 0 h 203993"/>
                      <a:gd name="connsiteX0" fmla="*/ 78587 w 184965"/>
                      <a:gd name="connsiteY0" fmla="*/ 0 h 203993"/>
                      <a:gd name="connsiteX1" fmla="*/ 183359 w 184965"/>
                      <a:gd name="connsiteY1" fmla="*/ 54767 h 203993"/>
                      <a:gd name="connsiteX2" fmla="*/ 107160 w 184965"/>
                      <a:gd name="connsiteY2" fmla="*/ 203993 h 203993"/>
                      <a:gd name="connsiteX3" fmla="*/ 0 w 184965"/>
                      <a:gd name="connsiteY3" fmla="*/ 151605 h 203993"/>
                      <a:gd name="connsiteX4" fmla="*/ 78587 w 184965"/>
                      <a:gd name="connsiteY4" fmla="*/ 0 h 203993"/>
                      <a:gd name="connsiteX0" fmla="*/ 78587 w 185083"/>
                      <a:gd name="connsiteY0" fmla="*/ 0 h 203993"/>
                      <a:gd name="connsiteX1" fmla="*/ 183359 w 185083"/>
                      <a:gd name="connsiteY1" fmla="*/ 54767 h 203993"/>
                      <a:gd name="connsiteX2" fmla="*/ 107160 w 185083"/>
                      <a:gd name="connsiteY2" fmla="*/ 203993 h 203993"/>
                      <a:gd name="connsiteX3" fmla="*/ 0 w 185083"/>
                      <a:gd name="connsiteY3" fmla="*/ 151605 h 203993"/>
                      <a:gd name="connsiteX4" fmla="*/ 78587 w 185083"/>
                      <a:gd name="connsiteY4" fmla="*/ 0 h 203993"/>
                      <a:gd name="connsiteX0" fmla="*/ 78587 w 185083"/>
                      <a:gd name="connsiteY0" fmla="*/ 0 h 204007"/>
                      <a:gd name="connsiteX1" fmla="*/ 183359 w 185083"/>
                      <a:gd name="connsiteY1" fmla="*/ 54767 h 204007"/>
                      <a:gd name="connsiteX2" fmla="*/ 107160 w 185083"/>
                      <a:gd name="connsiteY2" fmla="*/ 203993 h 204007"/>
                      <a:gd name="connsiteX3" fmla="*/ 0 w 185083"/>
                      <a:gd name="connsiteY3" fmla="*/ 151605 h 204007"/>
                      <a:gd name="connsiteX4" fmla="*/ 78587 w 185083"/>
                      <a:gd name="connsiteY4" fmla="*/ 0 h 204007"/>
                      <a:gd name="connsiteX0" fmla="*/ 78587 w 185373"/>
                      <a:gd name="connsiteY0" fmla="*/ 0 h 204364"/>
                      <a:gd name="connsiteX1" fmla="*/ 183359 w 185373"/>
                      <a:gd name="connsiteY1" fmla="*/ 54767 h 204364"/>
                      <a:gd name="connsiteX2" fmla="*/ 107160 w 185373"/>
                      <a:gd name="connsiteY2" fmla="*/ 203993 h 204364"/>
                      <a:gd name="connsiteX3" fmla="*/ 0 w 185373"/>
                      <a:gd name="connsiteY3" fmla="*/ 151605 h 204364"/>
                      <a:gd name="connsiteX4" fmla="*/ 78587 w 185373"/>
                      <a:gd name="connsiteY4" fmla="*/ 0 h 204364"/>
                      <a:gd name="connsiteX0" fmla="*/ 78587 w 188308"/>
                      <a:gd name="connsiteY0" fmla="*/ 0 h 204263"/>
                      <a:gd name="connsiteX1" fmla="*/ 183359 w 188308"/>
                      <a:gd name="connsiteY1" fmla="*/ 54767 h 204263"/>
                      <a:gd name="connsiteX2" fmla="*/ 107160 w 188308"/>
                      <a:gd name="connsiteY2" fmla="*/ 203993 h 204263"/>
                      <a:gd name="connsiteX3" fmla="*/ 0 w 188308"/>
                      <a:gd name="connsiteY3" fmla="*/ 151605 h 204263"/>
                      <a:gd name="connsiteX4" fmla="*/ 78587 w 188308"/>
                      <a:gd name="connsiteY4" fmla="*/ 0 h 204263"/>
                      <a:gd name="connsiteX0" fmla="*/ 78587 w 188308"/>
                      <a:gd name="connsiteY0" fmla="*/ 0 h 204263"/>
                      <a:gd name="connsiteX1" fmla="*/ 183359 w 188308"/>
                      <a:gd name="connsiteY1" fmla="*/ 54767 h 204263"/>
                      <a:gd name="connsiteX2" fmla="*/ 107160 w 188308"/>
                      <a:gd name="connsiteY2" fmla="*/ 203993 h 204263"/>
                      <a:gd name="connsiteX3" fmla="*/ 0 w 188308"/>
                      <a:gd name="connsiteY3" fmla="*/ 151605 h 204263"/>
                      <a:gd name="connsiteX4" fmla="*/ 78587 w 188308"/>
                      <a:gd name="connsiteY4" fmla="*/ 0 h 204263"/>
                      <a:gd name="connsiteX0" fmla="*/ 78587 w 188308"/>
                      <a:gd name="connsiteY0" fmla="*/ 0 h 204263"/>
                      <a:gd name="connsiteX1" fmla="*/ 183359 w 188308"/>
                      <a:gd name="connsiteY1" fmla="*/ 54767 h 204263"/>
                      <a:gd name="connsiteX2" fmla="*/ 107160 w 188308"/>
                      <a:gd name="connsiteY2" fmla="*/ 203993 h 204263"/>
                      <a:gd name="connsiteX3" fmla="*/ 0 w 188308"/>
                      <a:gd name="connsiteY3" fmla="*/ 151605 h 204263"/>
                      <a:gd name="connsiteX4" fmla="*/ 78587 w 188308"/>
                      <a:gd name="connsiteY4" fmla="*/ 0 h 204263"/>
                      <a:gd name="connsiteX0" fmla="*/ 78587 w 188308"/>
                      <a:gd name="connsiteY0" fmla="*/ 0 h 204263"/>
                      <a:gd name="connsiteX1" fmla="*/ 183359 w 188308"/>
                      <a:gd name="connsiteY1" fmla="*/ 54767 h 204263"/>
                      <a:gd name="connsiteX2" fmla="*/ 107160 w 188308"/>
                      <a:gd name="connsiteY2" fmla="*/ 203993 h 204263"/>
                      <a:gd name="connsiteX3" fmla="*/ 0 w 188308"/>
                      <a:gd name="connsiteY3" fmla="*/ 151605 h 204263"/>
                      <a:gd name="connsiteX4" fmla="*/ 78587 w 188308"/>
                      <a:gd name="connsiteY4" fmla="*/ 0 h 204263"/>
                      <a:gd name="connsiteX0" fmla="*/ 78587 w 188308"/>
                      <a:gd name="connsiteY0" fmla="*/ 0 h 204263"/>
                      <a:gd name="connsiteX1" fmla="*/ 183359 w 188308"/>
                      <a:gd name="connsiteY1" fmla="*/ 54767 h 204263"/>
                      <a:gd name="connsiteX2" fmla="*/ 107160 w 188308"/>
                      <a:gd name="connsiteY2" fmla="*/ 203993 h 204263"/>
                      <a:gd name="connsiteX3" fmla="*/ 0 w 188308"/>
                      <a:gd name="connsiteY3" fmla="*/ 151605 h 204263"/>
                      <a:gd name="connsiteX4" fmla="*/ 78587 w 188308"/>
                      <a:gd name="connsiteY4" fmla="*/ 0 h 204263"/>
                      <a:gd name="connsiteX0" fmla="*/ 78587 w 186094"/>
                      <a:gd name="connsiteY0" fmla="*/ 0 h 204256"/>
                      <a:gd name="connsiteX1" fmla="*/ 180978 w 186094"/>
                      <a:gd name="connsiteY1" fmla="*/ 52386 h 204256"/>
                      <a:gd name="connsiteX2" fmla="*/ 107160 w 186094"/>
                      <a:gd name="connsiteY2" fmla="*/ 203993 h 204256"/>
                      <a:gd name="connsiteX3" fmla="*/ 0 w 186094"/>
                      <a:gd name="connsiteY3" fmla="*/ 151605 h 204256"/>
                      <a:gd name="connsiteX4" fmla="*/ 78587 w 186094"/>
                      <a:gd name="connsiteY4" fmla="*/ 0 h 204256"/>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1605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1605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1605 h 204270"/>
                      <a:gd name="connsiteX4" fmla="*/ 80451 w 194631"/>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49740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49740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49740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3 h 204270"/>
                      <a:gd name="connsiteX4" fmla="*/ 78587 w 192767"/>
                      <a:gd name="connsiteY4" fmla="*/ 0 h 204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7" h="204270">
                        <a:moveTo>
                          <a:pt x="78587" y="0"/>
                        </a:moveTo>
                        <a:cubicBezTo>
                          <a:pt x="127006" y="24607"/>
                          <a:pt x="151922" y="38135"/>
                          <a:pt x="188122" y="57149"/>
                        </a:cubicBezTo>
                        <a:cubicBezTo>
                          <a:pt x="209554" y="122766"/>
                          <a:pt x="152403" y="209814"/>
                          <a:pt x="107160" y="203993"/>
                        </a:cubicBezTo>
                        <a:cubicBezTo>
                          <a:pt x="72683" y="187152"/>
                          <a:pt x="40069" y="168444"/>
                          <a:pt x="0" y="151603"/>
                        </a:cubicBezTo>
                        <a:cubicBezTo>
                          <a:pt x="64537" y="155117"/>
                          <a:pt x="96048" y="43391"/>
                          <a:pt x="78587" y="0"/>
                        </a:cubicBezTo>
                        <a:close/>
                      </a:path>
                    </a:pathLst>
                  </a:custGeom>
                  <a:solidFill>
                    <a:srgbClr val="3186D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70" name="Rectangle 16"/>
                  <p:cNvSpPr/>
                  <p:nvPr/>
                </p:nvSpPr>
                <p:spPr>
                  <a:xfrm rot="1545906" flipH="1">
                    <a:off x="5838213" y="3102726"/>
                    <a:ext cx="276663" cy="234238"/>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4368"/>
                      <a:gd name="connsiteY0" fmla="*/ 0 h 368300"/>
                      <a:gd name="connsiteX1" fmla="*/ 664368 w 664368"/>
                      <a:gd name="connsiteY1" fmla="*/ 235744 h 368300"/>
                      <a:gd name="connsiteX2" fmla="*/ 571500 w 664368"/>
                      <a:gd name="connsiteY2" fmla="*/ 368300 h 368300"/>
                      <a:gd name="connsiteX3" fmla="*/ 0 w 664368"/>
                      <a:gd name="connsiteY3" fmla="*/ 368300 h 368300"/>
                      <a:gd name="connsiteX4" fmla="*/ 0 w 664368"/>
                      <a:gd name="connsiteY4" fmla="*/ 0 h 368300"/>
                      <a:gd name="connsiteX0" fmla="*/ 0 w 671347"/>
                      <a:gd name="connsiteY0" fmla="*/ 0 h 368300"/>
                      <a:gd name="connsiteX1" fmla="*/ 664368 w 671347"/>
                      <a:gd name="connsiteY1" fmla="*/ 235744 h 368300"/>
                      <a:gd name="connsiteX2" fmla="*/ 571500 w 671347"/>
                      <a:gd name="connsiteY2" fmla="*/ 368300 h 368300"/>
                      <a:gd name="connsiteX3" fmla="*/ 0 w 671347"/>
                      <a:gd name="connsiteY3" fmla="*/ 368300 h 368300"/>
                      <a:gd name="connsiteX4" fmla="*/ 0 w 671347"/>
                      <a:gd name="connsiteY4" fmla="*/ 0 h 368300"/>
                      <a:gd name="connsiteX0" fmla="*/ 0 w 664610"/>
                      <a:gd name="connsiteY0" fmla="*/ 0 h 368300"/>
                      <a:gd name="connsiteX1" fmla="*/ 664368 w 664610"/>
                      <a:gd name="connsiteY1" fmla="*/ 235744 h 368300"/>
                      <a:gd name="connsiteX2" fmla="*/ 571500 w 664610"/>
                      <a:gd name="connsiteY2" fmla="*/ 368300 h 368300"/>
                      <a:gd name="connsiteX3" fmla="*/ 0 w 664610"/>
                      <a:gd name="connsiteY3" fmla="*/ 368300 h 368300"/>
                      <a:gd name="connsiteX4" fmla="*/ 0 w 664610"/>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490538 w 664748"/>
                      <a:gd name="connsiteY0" fmla="*/ 0 h 215900"/>
                      <a:gd name="connsiteX1" fmla="*/ 664368 w 664748"/>
                      <a:gd name="connsiteY1" fmla="*/ 83344 h 215900"/>
                      <a:gd name="connsiteX2" fmla="*/ 571500 w 664748"/>
                      <a:gd name="connsiteY2" fmla="*/ 215900 h 215900"/>
                      <a:gd name="connsiteX3" fmla="*/ 0 w 664748"/>
                      <a:gd name="connsiteY3" fmla="*/ 215900 h 215900"/>
                      <a:gd name="connsiteX4" fmla="*/ 490538 w 664748"/>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5251 w 271842"/>
                      <a:gd name="connsiteY0" fmla="*/ 0 h 225425"/>
                      <a:gd name="connsiteX1" fmla="*/ 271462 w 271842"/>
                      <a:gd name="connsiteY1" fmla="*/ 92869 h 225425"/>
                      <a:gd name="connsiteX2" fmla="*/ 178594 w 271842"/>
                      <a:gd name="connsiteY2" fmla="*/ 225425 h 225425"/>
                      <a:gd name="connsiteX3" fmla="*/ 0 w 271842"/>
                      <a:gd name="connsiteY3" fmla="*/ 139700 h 225425"/>
                      <a:gd name="connsiteX4" fmla="*/ 95251 w 271842"/>
                      <a:gd name="connsiteY4" fmla="*/ 0 h 225425"/>
                      <a:gd name="connsiteX0" fmla="*/ 92870 w 271842"/>
                      <a:gd name="connsiteY0" fmla="*/ 0 h 220662"/>
                      <a:gd name="connsiteX1" fmla="*/ 271462 w 271842"/>
                      <a:gd name="connsiteY1" fmla="*/ 88106 h 220662"/>
                      <a:gd name="connsiteX2" fmla="*/ 178594 w 271842"/>
                      <a:gd name="connsiteY2" fmla="*/ 220662 h 220662"/>
                      <a:gd name="connsiteX3" fmla="*/ 0 w 271842"/>
                      <a:gd name="connsiteY3" fmla="*/ 134937 h 220662"/>
                      <a:gd name="connsiteX4" fmla="*/ 92870 w 271842"/>
                      <a:gd name="connsiteY4" fmla="*/ 0 h 220662"/>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85726 w 271842"/>
                      <a:gd name="connsiteY0" fmla="*/ 0 h 230186"/>
                      <a:gd name="connsiteX1" fmla="*/ 271462 w 271842"/>
                      <a:gd name="connsiteY1" fmla="*/ 97630 h 230186"/>
                      <a:gd name="connsiteX2" fmla="*/ 178594 w 271842"/>
                      <a:gd name="connsiteY2" fmla="*/ 230186 h 230186"/>
                      <a:gd name="connsiteX3" fmla="*/ 0 w 271842"/>
                      <a:gd name="connsiteY3" fmla="*/ 144461 h 230186"/>
                      <a:gd name="connsiteX4" fmla="*/ 85726 w 271842"/>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2567"/>
                      <a:gd name="connsiteX1" fmla="*/ 285750 w 286111"/>
                      <a:gd name="connsiteY1" fmla="*/ 97630 h 232567"/>
                      <a:gd name="connsiteX2" fmla="*/ 190501 w 286111"/>
                      <a:gd name="connsiteY2" fmla="*/ 232567 h 232567"/>
                      <a:gd name="connsiteX3" fmla="*/ 0 w 286111"/>
                      <a:gd name="connsiteY3" fmla="*/ 153986 h 232567"/>
                      <a:gd name="connsiteX4" fmla="*/ 97633 w 286111"/>
                      <a:gd name="connsiteY4" fmla="*/ 0 h 232567"/>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200027 w 286111"/>
                      <a:gd name="connsiteY0" fmla="*/ 0 h 182561"/>
                      <a:gd name="connsiteX1" fmla="*/ 285750 w 286111"/>
                      <a:gd name="connsiteY1" fmla="*/ 47624 h 182561"/>
                      <a:gd name="connsiteX2" fmla="*/ 190501 w 286111"/>
                      <a:gd name="connsiteY2" fmla="*/ 182561 h 182561"/>
                      <a:gd name="connsiteX3" fmla="*/ 0 w 286111"/>
                      <a:gd name="connsiteY3" fmla="*/ 103980 h 182561"/>
                      <a:gd name="connsiteX4" fmla="*/ 200027 w 286111"/>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2080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66678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66678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6204 w 167050"/>
                      <a:gd name="connsiteY0" fmla="*/ 0 h 182561"/>
                      <a:gd name="connsiteX1" fmla="*/ 166689 w 167050"/>
                      <a:gd name="connsiteY1" fmla="*/ 47624 h 182561"/>
                      <a:gd name="connsiteX2" fmla="*/ 71440 w 167050"/>
                      <a:gd name="connsiteY2" fmla="*/ 182561 h 182561"/>
                      <a:gd name="connsiteX3" fmla="*/ 0 w 167050"/>
                      <a:gd name="connsiteY3" fmla="*/ 144462 h 182561"/>
                      <a:gd name="connsiteX4" fmla="*/ 76204 w 167050"/>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900"/>
                      <a:gd name="connsiteY0" fmla="*/ 0 h 189705"/>
                      <a:gd name="connsiteX1" fmla="*/ 164308 w 164900"/>
                      <a:gd name="connsiteY1" fmla="*/ 47624 h 189705"/>
                      <a:gd name="connsiteX2" fmla="*/ 88109 w 164900"/>
                      <a:gd name="connsiteY2" fmla="*/ 189705 h 189705"/>
                      <a:gd name="connsiteX3" fmla="*/ 0 w 164900"/>
                      <a:gd name="connsiteY3" fmla="*/ 139699 h 189705"/>
                      <a:gd name="connsiteX4" fmla="*/ 73823 w 164900"/>
                      <a:gd name="connsiteY4" fmla="*/ 0 h 189705"/>
                      <a:gd name="connsiteX0" fmla="*/ 73823 w 164711"/>
                      <a:gd name="connsiteY0" fmla="*/ 0 h 189705"/>
                      <a:gd name="connsiteX1" fmla="*/ 164308 w 164711"/>
                      <a:gd name="connsiteY1" fmla="*/ 47624 h 189705"/>
                      <a:gd name="connsiteX2" fmla="*/ 88109 w 164711"/>
                      <a:gd name="connsiteY2" fmla="*/ 189705 h 189705"/>
                      <a:gd name="connsiteX3" fmla="*/ 0 w 164711"/>
                      <a:gd name="connsiteY3" fmla="*/ 139699 h 189705"/>
                      <a:gd name="connsiteX4" fmla="*/ 73823 w 164711"/>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54773 w 164599"/>
                      <a:gd name="connsiteY0" fmla="*/ 0 h 201611"/>
                      <a:gd name="connsiteX1" fmla="*/ 164308 w 164599"/>
                      <a:gd name="connsiteY1" fmla="*/ 59530 h 201611"/>
                      <a:gd name="connsiteX2" fmla="*/ 88109 w 164599"/>
                      <a:gd name="connsiteY2" fmla="*/ 201611 h 201611"/>
                      <a:gd name="connsiteX3" fmla="*/ 0 w 164599"/>
                      <a:gd name="connsiteY3" fmla="*/ 151605 h 201611"/>
                      <a:gd name="connsiteX4" fmla="*/ 54773 w 164599"/>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725"/>
                      <a:gd name="connsiteY0" fmla="*/ 0 h 201611"/>
                      <a:gd name="connsiteX1" fmla="*/ 180977 w 181725"/>
                      <a:gd name="connsiteY1" fmla="*/ 59530 h 201611"/>
                      <a:gd name="connsiteX2" fmla="*/ 104778 w 181725"/>
                      <a:gd name="connsiteY2" fmla="*/ 201611 h 201611"/>
                      <a:gd name="connsiteX3" fmla="*/ 0 w 181725"/>
                      <a:gd name="connsiteY3" fmla="*/ 151605 h 201611"/>
                      <a:gd name="connsiteX4" fmla="*/ 71442 w 181725"/>
                      <a:gd name="connsiteY4" fmla="*/ 0 h 201611"/>
                      <a:gd name="connsiteX0" fmla="*/ 71442 w 183091"/>
                      <a:gd name="connsiteY0" fmla="*/ 0 h 201611"/>
                      <a:gd name="connsiteX1" fmla="*/ 180977 w 183091"/>
                      <a:gd name="connsiteY1" fmla="*/ 59530 h 201611"/>
                      <a:gd name="connsiteX2" fmla="*/ 104778 w 183091"/>
                      <a:gd name="connsiteY2" fmla="*/ 201611 h 201611"/>
                      <a:gd name="connsiteX3" fmla="*/ 0 w 183091"/>
                      <a:gd name="connsiteY3" fmla="*/ 151605 h 201611"/>
                      <a:gd name="connsiteX4" fmla="*/ 71442 w 183091"/>
                      <a:gd name="connsiteY4" fmla="*/ 0 h 201611"/>
                      <a:gd name="connsiteX0" fmla="*/ 0 w 224645"/>
                      <a:gd name="connsiteY0" fmla="*/ 0 h 254016"/>
                      <a:gd name="connsiteX1" fmla="*/ 222531 w 224645"/>
                      <a:gd name="connsiteY1" fmla="*/ 111935 h 254016"/>
                      <a:gd name="connsiteX2" fmla="*/ 146332 w 224645"/>
                      <a:gd name="connsiteY2" fmla="*/ 254016 h 254016"/>
                      <a:gd name="connsiteX3" fmla="*/ 41554 w 224645"/>
                      <a:gd name="connsiteY3" fmla="*/ 204010 h 254016"/>
                      <a:gd name="connsiteX4" fmla="*/ 0 w 224645"/>
                      <a:gd name="connsiteY4" fmla="*/ 0 h 254016"/>
                      <a:gd name="connsiteX0" fmla="*/ 94983 w 319628"/>
                      <a:gd name="connsiteY0" fmla="*/ 0 h 254016"/>
                      <a:gd name="connsiteX1" fmla="*/ 317514 w 319628"/>
                      <a:gd name="connsiteY1" fmla="*/ 111935 h 254016"/>
                      <a:gd name="connsiteX2" fmla="*/ 241315 w 319628"/>
                      <a:gd name="connsiteY2" fmla="*/ 254016 h 254016"/>
                      <a:gd name="connsiteX3" fmla="*/ 0 w 319628"/>
                      <a:gd name="connsiteY3" fmla="*/ 160339 h 254016"/>
                      <a:gd name="connsiteX4" fmla="*/ 94983 w 319628"/>
                      <a:gd name="connsiteY4" fmla="*/ 0 h 254016"/>
                      <a:gd name="connsiteX0" fmla="*/ 97337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97337 w 321982"/>
                      <a:gd name="connsiteY4" fmla="*/ 0 h 254016"/>
                      <a:gd name="connsiteX0" fmla="*/ 97337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97337 w 321982"/>
                      <a:gd name="connsiteY4" fmla="*/ 0 h 254016"/>
                      <a:gd name="connsiteX0" fmla="*/ 97337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97337 w 321982"/>
                      <a:gd name="connsiteY4" fmla="*/ 0 h 254016"/>
                      <a:gd name="connsiteX0" fmla="*/ 85565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85565 w 321982"/>
                      <a:gd name="connsiteY4" fmla="*/ 0 h 254016"/>
                      <a:gd name="connsiteX0" fmla="*/ 85565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85565 w 321982"/>
                      <a:gd name="connsiteY4" fmla="*/ 0 h 254016"/>
                      <a:gd name="connsiteX0" fmla="*/ 85565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85565 w 321982"/>
                      <a:gd name="connsiteY4" fmla="*/ 0 h 254016"/>
                      <a:gd name="connsiteX0" fmla="*/ 85565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85565 w 321982"/>
                      <a:gd name="connsiteY4" fmla="*/ 0 h 254016"/>
                      <a:gd name="connsiteX0" fmla="*/ 78504 w 321982"/>
                      <a:gd name="connsiteY0" fmla="*/ 0 h 251833"/>
                      <a:gd name="connsiteX1" fmla="*/ 319868 w 321982"/>
                      <a:gd name="connsiteY1" fmla="*/ 109752 h 251833"/>
                      <a:gd name="connsiteX2" fmla="*/ 243669 w 321982"/>
                      <a:gd name="connsiteY2" fmla="*/ 251833 h 251833"/>
                      <a:gd name="connsiteX3" fmla="*/ 0 w 321982"/>
                      <a:gd name="connsiteY3" fmla="*/ 158156 h 251833"/>
                      <a:gd name="connsiteX4" fmla="*/ 78504 w 321982"/>
                      <a:gd name="connsiteY4" fmla="*/ 0 h 251833"/>
                      <a:gd name="connsiteX0" fmla="*/ 83212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83212 w 321982"/>
                      <a:gd name="connsiteY4" fmla="*/ 0 h 254016"/>
                      <a:gd name="connsiteX0" fmla="*/ 78504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78504 w 321982"/>
                      <a:gd name="connsiteY4" fmla="*/ 0 h 254016"/>
                      <a:gd name="connsiteX0" fmla="*/ 78504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78504 w 321982"/>
                      <a:gd name="connsiteY4" fmla="*/ 0 h 254016"/>
                      <a:gd name="connsiteX0" fmla="*/ 78504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78504 w 321982"/>
                      <a:gd name="connsiteY4" fmla="*/ 0 h 254016"/>
                      <a:gd name="connsiteX0" fmla="*/ 78504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78504 w 321982"/>
                      <a:gd name="connsiteY4" fmla="*/ 0 h 254016"/>
                      <a:gd name="connsiteX0" fmla="*/ 78504 w 321982"/>
                      <a:gd name="connsiteY0" fmla="*/ 0 h 256200"/>
                      <a:gd name="connsiteX1" fmla="*/ 319868 w 321982"/>
                      <a:gd name="connsiteY1" fmla="*/ 114119 h 256200"/>
                      <a:gd name="connsiteX2" fmla="*/ 243669 w 321982"/>
                      <a:gd name="connsiteY2" fmla="*/ 256200 h 256200"/>
                      <a:gd name="connsiteX3" fmla="*/ 0 w 321982"/>
                      <a:gd name="connsiteY3" fmla="*/ 162523 h 256200"/>
                      <a:gd name="connsiteX4" fmla="*/ 78504 w 321982"/>
                      <a:gd name="connsiteY4" fmla="*/ 0 h 256200"/>
                      <a:gd name="connsiteX0" fmla="*/ 78504 w 321982"/>
                      <a:gd name="connsiteY0" fmla="*/ 0 h 256200"/>
                      <a:gd name="connsiteX1" fmla="*/ 319868 w 321982"/>
                      <a:gd name="connsiteY1" fmla="*/ 114119 h 256200"/>
                      <a:gd name="connsiteX2" fmla="*/ 243669 w 321982"/>
                      <a:gd name="connsiteY2" fmla="*/ 256200 h 256200"/>
                      <a:gd name="connsiteX3" fmla="*/ 0 w 321982"/>
                      <a:gd name="connsiteY3" fmla="*/ 162523 h 256200"/>
                      <a:gd name="connsiteX4" fmla="*/ 78504 w 321982"/>
                      <a:gd name="connsiteY4" fmla="*/ 0 h 256200"/>
                      <a:gd name="connsiteX0" fmla="*/ 78504 w 321982"/>
                      <a:gd name="connsiteY0" fmla="*/ 0 h 258383"/>
                      <a:gd name="connsiteX1" fmla="*/ 319868 w 321982"/>
                      <a:gd name="connsiteY1" fmla="*/ 114119 h 258383"/>
                      <a:gd name="connsiteX2" fmla="*/ 243669 w 321982"/>
                      <a:gd name="connsiteY2" fmla="*/ 258383 h 258383"/>
                      <a:gd name="connsiteX3" fmla="*/ 0 w 321982"/>
                      <a:gd name="connsiteY3" fmla="*/ 162523 h 258383"/>
                      <a:gd name="connsiteX4" fmla="*/ 78504 w 321982"/>
                      <a:gd name="connsiteY4" fmla="*/ 0 h 258383"/>
                      <a:gd name="connsiteX0" fmla="*/ 78504 w 321982"/>
                      <a:gd name="connsiteY0" fmla="*/ 0 h 258383"/>
                      <a:gd name="connsiteX1" fmla="*/ 319868 w 321982"/>
                      <a:gd name="connsiteY1" fmla="*/ 114119 h 258383"/>
                      <a:gd name="connsiteX2" fmla="*/ 243669 w 321982"/>
                      <a:gd name="connsiteY2" fmla="*/ 258383 h 258383"/>
                      <a:gd name="connsiteX3" fmla="*/ 0 w 321982"/>
                      <a:gd name="connsiteY3" fmla="*/ 162523 h 258383"/>
                      <a:gd name="connsiteX4" fmla="*/ 78504 w 321982"/>
                      <a:gd name="connsiteY4" fmla="*/ 0 h 258383"/>
                      <a:gd name="connsiteX0" fmla="*/ 78504 w 321982"/>
                      <a:gd name="connsiteY0" fmla="*/ 0 h 258383"/>
                      <a:gd name="connsiteX1" fmla="*/ 319868 w 321982"/>
                      <a:gd name="connsiteY1" fmla="*/ 114119 h 258383"/>
                      <a:gd name="connsiteX2" fmla="*/ 243669 w 321982"/>
                      <a:gd name="connsiteY2" fmla="*/ 258383 h 258383"/>
                      <a:gd name="connsiteX3" fmla="*/ 0 w 321982"/>
                      <a:gd name="connsiteY3" fmla="*/ 160339 h 258383"/>
                      <a:gd name="connsiteX4" fmla="*/ 78504 w 321982"/>
                      <a:gd name="connsiteY4" fmla="*/ 0 h 258383"/>
                      <a:gd name="connsiteX0" fmla="*/ 76150 w 319628"/>
                      <a:gd name="connsiteY0" fmla="*/ 0 h 258383"/>
                      <a:gd name="connsiteX1" fmla="*/ 317514 w 319628"/>
                      <a:gd name="connsiteY1" fmla="*/ 114119 h 258383"/>
                      <a:gd name="connsiteX2" fmla="*/ 241315 w 319628"/>
                      <a:gd name="connsiteY2" fmla="*/ 258383 h 258383"/>
                      <a:gd name="connsiteX3" fmla="*/ 0 w 319628"/>
                      <a:gd name="connsiteY3" fmla="*/ 158155 h 258383"/>
                      <a:gd name="connsiteX4" fmla="*/ 76150 w 319628"/>
                      <a:gd name="connsiteY4" fmla="*/ 0 h 258383"/>
                      <a:gd name="connsiteX0" fmla="*/ 76150 w 319628"/>
                      <a:gd name="connsiteY0" fmla="*/ 0 h 258383"/>
                      <a:gd name="connsiteX1" fmla="*/ 317514 w 319628"/>
                      <a:gd name="connsiteY1" fmla="*/ 114119 h 258383"/>
                      <a:gd name="connsiteX2" fmla="*/ 241315 w 319628"/>
                      <a:gd name="connsiteY2" fmla="*/ 258383 h 258383"/>
                      <a:gd name="connsiteX3" fmla="*/ 0 w 319628"/>
                      <a:gd name="connsiteY3" fmla="*/ 158155 h 258383"/>
                      <a:gd name="connsiteX4" fmla="*/ 76150 w 319628"/>
                      <a:gd name="connsiteY4" fmla="*/ 0 h 258383"/>
                      <a:gd name="connsiteX0" fmla="*/ 76150 w 319628"/>
                      <a:gd name="connsiteY0" fmla="*/ 0 h 258383"/>
                      <a:gd name="connsiteX1" fmla="*/ 317514 w 319628"/>
                      <a:gd name="connsiteY1" fmla="*/ 114119 h 258383"/>
                      <a:gd name="connsiteX2" fmla="*/ 241315 w 319628"/>
                      <a:gd name="connsiteY2" fmla="*/ 258383 h 258383"/>
                      <a:gd name="connsiteX3" fmla="*/ 0 w 319628"/>
                      <a:gd name="connsiteY3" fmla="*/ 158155 h 258383"/>
                      <a:gd name="connsiteX4" fmla="*/ 76150 w 319628"/>
                      <a:gd name="connsiteY4" fmla="*/ 0 h 258383"/>
                      <a:gd name="connsiteX0" fmla="*/ 78504 w 321982"/>
                      <a:gd name="connsiteY0" fmla="*/ 0 h 258383"/>
                      <a:gd name="connsiteX1" fmla="*/ 319868 w 321982"/>
                      <a:gd name="connsiteY1" fmla="*/ 114119 h 258383"/>
                      <a:gd name="connsiteX2" fmla="*/ 243669 w 321982"/>
                      <a:gd name="connsiteY2" fmla="*/ 258383 h 258383"/>
                      <a:gd name="connsiteX3" fmla="*/ 0 w 321982"/>
                      <a:gd name="connsiteY3" fmla="*/ 158155 h 258383"/>
                      <a:gd name="connsiteX4" fmla="*/ 78504 w 321982"/>
                      <a:gd name="connsiteY4" fmla="*/ 0 h 258383"/>
                      <a:gd name="connsiteX0" fmla="*/ 78504 w 322129"/>
                      <a:gd name="connsiteY0" fmla="*/ 0 h 260566"/>
                      <a:gd name="connsiteX1" fmla="*/ 319868 w 322129"/>
                      <a:gd name="connsiteY1" fmla="*/ 114119 h 260566"/>
                      <a:gd name="connsiteX2" fmla="*/ 246023 w 322129"/>
                      <a:gd name="connsiteY2" fmla="*/ 260566 h 260566"/>
                      <a:gd name="connsiteX3" fmla="*/ 0 w 322129"/>
                      <a:gd name="connsiteY3" fmla="*/ 158155 h 260566"/>
                      <a:gd name="connsiteX4" fmla="*/ 78504 w 322129"/>
                      <a:gd name="connsiteY4" fmla="*/ 0 h 260566"/>
                      <a:gd name="connsiteX0" fmla="*/ 78504 w 322129"/>
                      <a:gd name="connsiteY0" fmla="*/ 0 h 260566"/>
                      <a:gd name="connsiteX1" fmla="*/ 319868 w 322129"/>
                      <a:gd name="connsiteY1" fmla="*/ 114119 h 260566"/>
                      <a:gd name="connsiteX2" fmla="*/ 246023 w 322129"/>
                      <a:gd name="connsiteY2" fmla="*/ 260566 h 260566"/>
                      <a:gd name="connsiteX3" fmla="*/ 0 w 322129"/>
                      <a:gd name="connsiteY3" fmla="*/ 158155 h 260566"/>
                      <a:gd name="connsiteX4" fmla="*/ 78504 w 322129"/>
                      <a:gd name="connsiteY4" fmla="*/ 0 h 260566"/>
                      <a:gd name="connsiteX0" fmla="*/ 78504 w 322129"/>
                      <a:gd name="connsiteY0" fmla="*/ 0 h 260566"/>
                      <a:gd name="connsiteX1" fmla="*/ 319868 w 322129"/>
                      <a:gd name="connsiteY1" fmla="*/ 114119 h 260566"/>
                      <a:gd name="connsiteX2" fmla="*/ 246023 w 322129"/>
                      <a:gd name="connsiteY2" fmla="*/ 260566 h 260566"/>
                      <a:gd name="connsiteX3" fmla="*/ 0 w 322129"/>
                      <a:gd name="connsiteY3" fmla="*/ 158155 h 260566"/>
                      <a:gd name="connsiteX4" fmla="*/ 78504 w 322129"/>
                      <a:gd name="connsiteY4" fmla="*/ 0 h 260566"/>
                      <a:gd name="connsiteX0" fmla="*/ 78504 w 321553"/>
                      <a:gd name="connsiteY0" fmla="*/ 0 h 260566"/>
                      <a:gd name="connsiteX1" fmla="*/ 319868 w 321553"/>
                      <a:gd name="connsiteY1" fmla="*/ 114119 h 260566"/>
                      <a:gd name="connsiteX2" fmla="*/ 246023 w 321553"/>
                      <a:gd name="connsiteY2" fmla="*/ 260566 h 260566"/>
                      <a:gd name="connsiteX3" fmla="*/ 0 w 321553"/>
                      <a:gd name="connsiteY3" fmla="*/ 158155 h 260566"/>
                      <a:gd name="connsiteX4" fmla="*/ 78504 w 321553"/>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1553"/>
                      <a:gd name="connsiteY0" fmla="*/ 0 h 260566"/>
                      <a:gd name="connsiteX1" fmla="*/ 319868 w 321553"/>
                      <a:gd name="connsiteY1" fmla="*/ 114119 h 260566"/>
                      <a:gd name="connsiteX2" fmla="*/ 246023 w 321553"/>
                      <a:gd name="connsiteY2" fmla="*/ 260566 h 260566"/>
                      <a:gd name="connsiteX3" fmla="*/ 0 w 321553"/>
                      <a:gd name="connsiteY3" fmla="*/ 158155 h 260566"/>
                      <a:gd name="connsiteX4" fmla="*/ 78504 w 321553"/>
                      <a:gd name="connsiteY4" fmla="*/ 0 h 260566"/>
                      <a:gd name="connsiteX0" fmla="*/ 78504 w 321553"/>
                      <a:gd name="connsiteY0" fmla="*/ 0 h 260566"/>
                      <a:gd name="connsiteX1" fmla="*/ 319868 w 321553"/>
                      <a:gd name="connsiteY1" fmla="*/ 114119 h 260566"/>
                      <a:gd name="connsiteX2" fmla="*/ 246023 w 321553"/>
                      <a:gd name="connsiteY2" fmla="*/ 260566 h 260566"/>
                      <a:gd name="connsiteX3" fmla="*/ 0 w 321553"/>
                      <a:gd name="connsiteY3" fmla="*/ 158155 h 260566"/>
                      <a:gd name="connsiteX4" fmla="*/ 78504 w 321553"/>
                      <a:gd name="connsiteY4" fmla="*/ 0 h 260566"/>
                      <a:gd name="connsiteX0" fmla="*/ 78504 w 321553"/>
                      <a:gd name="connsiteY0" fmla="*/ 0 h 260566"/>
                      <a:gd name="connsiteX1" fmla="*/ 319868 w 321553"/>
                      <a:gd name="connsiteY1" fmla="*/ 114119 h 260566"/>
                      <a:gd name="connsiteX2" fmla="*/ 246023 w 321553"/>
                      <a:gd name="connsiteY2" fmla="*/ 260566 h 260566"/>
                      <a:gd name="connsiteX3" fmla="*/ 0 w 321553"/>
                      <a:gd name="connsiteY3" fmla="*/ 158155 h 260566"/>
                      <a:gd name="connsiteX4" fmla="*/ 78504 w 321553"/>
                      <a:gd name="connsiteY4" fmla="*/ 0 h 260566"/>
                      <a:gd name="connsiteX0" fmla="*/ 78504 w 322980"/>
                      <a:gd name="connsiteY0" fmla="*/ 0 h 260566"/>
                      <a:gd name="connsiteX1" fmla="*/ 319868 w 322980"/>
                      <a:gd name="connsiteY1" fmla="*/ 114119 h 260566"/>
                      <a:gd name="connsiteX2" fmla="*/ 246023 w 322980"/>
                      <a:gd name="connsiteY2" fmla="*/ 260566 h 260566"/>
                      <a:gd name="connsiteX3" fmla="*/ 0 w 322980"/>
                      <a:gd name="connsiteY3" fmla="*/ 158155 h 260566"/>
                      <a:gd name="connsiteX4" fmla="*/ 78504 w 322980"/>
                      <a:gd name="connsiteY4" fmla="*/ 0 h 260566"/>
                      <a:gd name="connsiteX0" fmla="*/ 78504 w 322980"/>
                      <a:gd name="connsiteY0" fmla="*/ 0 h 260566"/>
                      <a:gd name="connsiteX1" fmla="*/ 319868 w 322980"/>
                      <a:gd name="connsiteY1" fmla="*/ 114119 h 260566"/>
                      <a:gd name="connsiteX2" fmla="*/ 246023 w 322980"/>
                      <a:gd name="connsiteY2" fmla="*/ 260566 h 260566"/>
                      <a:gd name="connsiteX3" fmla="*/ 0 w 322980"/>
                      <a:gd name="connsiteY3" fmla="*/ 158155 h 260566"/>
                      <a:gd name="connsiteX4" fmla="*/ 78504 w 322980"/>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58857"/>
                      <a:gd name="connsiteX1" fmla="*/ 319868 w 323761"/>
                      <a:gd name="connsiteY1" fmla="*/ 112410 h 258857"/>
                      <a:gd name="connsiteX2" fmla="*/ 246023 w 323761"/>
                      <a:gd name="connsiteY2" fmla="*/ 258857 h 258857"/>
                      <a:gd name="connsiteX3" fmla="*/ 0 w 323761"/>
                      <a:gd name="connsiteY3" fmla="*/ 156446 h 258857"/>
                      <a:gd name="connsiteX4" fmla="*/ 78504 w 323761"/>
                      <a:gd name="connsiteY4" fmla="*/ 0 h 258857"/>
                      <a:gd name="connsiteX0" fmla="*/ 78504 w 323761"/>
                      <a:gd name="connsiteY0" fmla="*/ 0 h 258857"/>
                      <a:gd name="connsiteX1" fmla="*/ 319868 w 323761"/>
                      <a:gd name="connsiteY1" fmla="*/ 112410 h 258857"/>
                      <a:gd name="connsiteX2" fmla="*/ 246023 w 323761"/>
                      <a:gd name="connsiteY2" fmla="*/ 258857 h 258857"/>
                      <a:gd name="connsiteX3" fmla="*/ 0 w 323761"/>
                      <a:gd name="connsiteY3" fmla="*/ 156446 h 258857"/>
                      <a:gd name="connsiteX4" fmla="*/ 78504 w 323761"/>
                      <a:gd name="connsiteY4" fmla="*/ 0 h 258857"/>
                      <a:gd name="connsiteX0" fmla="*/ 78504 w 323761"/>
                      <a:gd name="connsiteY0" fmla="*/ 0 h 258857"/>
                      <a:gd name="connsiteX1" fmla="*/ 319868 w 323761"/>
                      <a:gd name="connsiteY1" fmla="*/ 112410 h 258857"/>
                      <a:gd name="connsiteX2" fmla="*/ 246023 w 323761"/>
                      <a:gd name="connsiteY2" fmla="*/ 258857 h 258857"/>
                      <a:gd name="connsiteX3" fmla="*/ 0 w 323761"/>
                      <a:gd name="connsiteY3" fmla="*/ 156446 h 258857"/>
                      <a:gd name="connsiteX4" fmla="*/ 78504 w 323761"/>
                      <a:gd name="connsiteY4" fmla="*/ 0 h 258857"/>
                      <a:gd name="connsiteX0" fmla="*/ 78504 w 323761"/>
                      <a:gd name="connsiteY0" fmla="*/ 0 h 258857"/>
                      <a:gd name="connsiteX1" fmla="*/ 319868 w 323761"/>
                      <a:gd name="connsiteY1" fmla="*/ 112410 h 258857"/>
                      <a:gd name="connsiteX2" fmla="*/ 246023 w 323761"/>
                      <a:gd name="connsiteY2" fmla="*/ 258857 h 258857"/>
                      <a:gd name="connsiteX3" fmla="*/ 0 w 323761"/>
                      <a:gd name="connsiteY3" fmla="*/ 156446 h 258857"/>
                      <a:gd name="connsiteX4" fmla="*/ 78504 w 323761"/>
                      <a:gd name="connsiteY4" fmla="*/ 0 h 258857"/>
                      <a:gd name="connsiteX0" fmla="*/ 78504 w 323761"/>
                      <a:gd name="connsiteY0" fmla="*/ 0 h 257148"/>
                      <a:gd name="connsiteX1" fmla="*/ 319868 w 323761"/>
                      <a:gd name="connsiteY1" fmla="*/ 110701 h 257148"/>
                      <a:gd name="connsiteX2" fmla="*/ 246023 w 323761"/>
                      <a:gd name="connsiteY2" fmla="*/ 257148 h 257148"/>
                      <a:gd name="connsiteX3" fmla="*/ 0 w 323761"/>
                      <a:gd name="connsiteY3" fmla="*/ 154737 h 257148"/>
                      <a:gd name="connsiteX4" fmla="*/ 78504 w 323761"/>
                      <a:gd name="connsiteY4" fmla="*/ 0 h 257148"/>
                      <a:gd name="connsiteX0" fmla="*/ 78504 w 323761"/>
                      <a:gd name="connsiteY0" fmla="*/ 0 h 257148"/>
                      <a:gd name="connsiteX1" fmla="*/ 319868 w 323761"/>
                      <a:gd name="connsiteY1" fmla="*/ 110701 h 257148"/>
                      <a:gd name="connsiteX2" fmla="*/ 246023 w 323761"/>
                      <a:gd name="connsiteY2" fmla="*/ 257148 h 257148"/>
                      <a:gd name="connsiteX3" fmla="*/ 0 w 323761"/>
                      <a:gd name="connsiteY3" fmla="*/ 154737 h 257148"/>
                      <a:gd name="connsiteX4" fmla="*/ 78504 w 323761"/>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446" h="257148">
                        <a:moveTo>
                          <a:pt x="82189" y="0"/>
                        </a:moveTo>
                        <a:cubicBezTo>
                          <a:pt x="149658" y="30436"/>
                          <a:pt x="260847" y="78951"/>
                          <a:pt x="323553" y="110701"/>
                        </a:cubicBezTo>
                        <a:cubicBezTo>
                          <a:pt x="340086" y="165391"/>
                          <a:pt x="301797" y="246903"/>
                          <a:pt x="249708" y="257148"/>
                        </a:cubicBezTo>
                        <a:lnTo>
                          <a:pt x="0" y="151318"/>
                        </a:lnTo>
                        <a:cubicBezTo>
                          <a:pt x="59038" y="130554"/>
                          <a:pt x="105578" y="55930"/>
                          <a:pt x="82189" y="0"/>
                        </a:cubicBezTo>
                        <a:close/>
                      </a:path>
                    </a:pathLst>
                  </a:custGeom>
                  <a:solidFill>
                    <a:srgbClr val="3186D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grpSp>
            <p:grpSp>
              <p:nvGrpSpPr>
                <p:cNvPr id="34" name="Group 33"/>
                <p:cNvGrpSpPr/>
                <p:nvPr/>
              </p:nvGrpSpPr>
              <p:grpSpPr>
                <a:xfrm rot="19137690" flipH="1">
                  <a:off x="695695" y="2658444"/>
                  <a:ext cx="1179901" cy="418558"/>
                  <a:chOff x="4824756" y="2527524"/>
                  <a:chExt cx="3663419" cy="1298140"/>
                </a:xfrm>
              </p:grpSpPr>
              <p:sp>
                <p:nvSpPr>
                  <p:cNvPr id="35" name="Rectangle 14"/>
                  <p:cNvSpPr/>
                  <p:nvPr/>
                </p:nvSpPr>
                <p:spPr>
                  <a:xfrm rot="1545906" flipH="1">
                    <a:off x="5377672" y="3108738"/>
                    <a:ext cx="307886" cy="228553"/>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9131"/>
                      <a:gd name="connsiteY0" fmla="*/ 0 h 368300"/>
                      <a:gd name="connsiteX1" fmla="*/ 669131 w 669131"/>
                      <a:gd name="connsiteY1" fmla="*/ 223837 h 368300"/>
                      <a:gd name="connsiteX2" fmla="*/ 571500 w 669131"/>
                      <a:gd name="connsiteY2" fmla="*/ 368300 h 368300"/>
                      <a:gd name="connsiteX3" fmla="*/ 0 w 669131"/>
                      <a:gd name="connsiteY3" fmla="*/ 368300 h 368300"/>
                      <a:gd name="connsiteX4" fmla="*/ 0 w 669131"/>
                      <a:gd name="connsiteY4" fmla="*/ 0 h 368300"/>
                      <a:gd name="connsiteX0" fmla="*/ 0 w 683551"/>
                      <a:gd name="connsiteY0" fmla="*/ 0 h 368300"/>
                      <a:gd name="connsiteX1" fmla="*/ 669131 w 683551"/>
                      <a:gd name="connsiteY1" fmla="*/ 223837 h 368300"/>
                      <a:gd name="connsiteX2" fmla="*/ 571500 w 683551"/>
                      <a:gd name="connsiteY2" fmla="*/ 368300 h 368300"/>
                      <a:gd name="connsiteX3" fmla="*/ 0 w 683551"/>
                      <a:gd name="connsiteY3" fmla="*/ 368300 h 368300"/>
                      <a:gd name="connsiteX4" fmla="*/ 0 w 683551"/>
                      <a:gd name="connsiteY4" fmla="*/ 0 h 368300"/>
                      <a:gd name="connsiteX0" fmla="*/ 0 w 672707"/>
                      <a:gd name="connsiteY0" fmla="*/ 0 h 368300"/>
                      <a:gd name="connsiteX1" fmla="*/ 669131 w 672707"/>
                      <a:gd name="connsiteY1" fmla="*/ 223837 h 368300"/>
                      <a:gd name="connsiteX2" fmla="*/ 571500 w 672707"/>
                      <a:gd name="connsiteY2" fmla="*/ 368300 h 368300"/>
                      <a:gd name="connsiteX3" fmla="*/ 0 w 672707"/>
                      <a:gd name="connsiteY3" fmla="*/ 368300 h 368300"/>
                      <a:gd name="connsiteX4" fmla="*/ 0 w 672707"/>
                      <a:gd name="connsiteY4" fmla="*/ 0 h 368300"/>
                      <a:gd name="connsiteX0" fmla="*/ 0 w 673449"/>
                      <a:gd name="connsiteY0" fmla="*/ 0 h 370698"/>
                      <a:gd name="connsiteX1" fmla="*/ 669131 w 673449"/>
                      <a:gd name="connsiteY1" fmla="*/ 223837 h 370698"/>
                      <a:gd name="connsiteX2" fmla="*/ 571500 w 673449"/>
                      <a:gd name="connsiteY2" fmla="*/ 368300 h 370698"/>
                      <a:gd name="connsiteX3" fmla="*/ 0 w 673449"/>
                      <a:gd name="connsiteY3" fmla="*/ 368300 h 370698"/>
                      <a:gd name="connsiteX4" fmla="*/ 0 w 673449"/>
                      <a:gd name="connsiteY4" fmla="*/ 0 h 370698"/>
                      <a:gd name="connsiteX0" fmla="*/ 0 w 672956"/>
                      <a:gd name="connsiteY0" fmla="*/ 0 h 371937"/>
                      <a:gd name="connsiteX1" fmla="*/ 669131 w 672956"/>
                      <a:gd name="connsiteY1" fmla="*/ 223837 h 371937"/>
                      <a:gd name="connsiteX2" fmla="*/ 571500 w 672956"/>
                      <a:gd name="connsiteY2" fmla="*/ 368300 h 371937"/>
                      <a:gd name="connsiteX3" fmla="*/ 0 w 672956"/>
                      <a:gd name="connsiteY3" fmla="*/ 368300 h 371937"/>
                      <a:gd name="connsiteX4" fmla="*/ 0 w 672956"/>
                      <a:gd name="connsiteY4" fmla="*/ 0 h 371937"/>
                      <a:gd name="connsiteX0" fmla="*/ 0 w 671150"/>
                      <a:gd name="connsiteY0" fmla="*/ 0 h 371937"/>
                      <a:gd name="connsiteX1" fmla="*/ 669131 w 671150"/>
                      <a:gd name="connsiteY1" fmla="*/ 223837 h 371937"/>
                      <a:gd name="connsiteX2" fmla="*/ 571500 w 671150"/>
                      <a:gd name="connsiteY2" fmla="*/ 368300 h 371937"/>
                      <a:gd name="connsiteX3" fmla="*/ 0 w 671150"/>
                      <a:gd name="connsiteY3" fmla="*/ 368300 h 371937"/>
                      <a:gd name="connsiteX4" fmla="*/ 0 w 671150"/>
                      <a:gd name="connsiteY4" fmla="*/ 0 h 371937"/>
                      <a:gd name="connsiteX0" fmla="*/ 0 w 671778"/>
                      <a:gd name="connsiteY0" fmla="*/ 0 h 369189"/>
                      <a:gd name="connsiteX1" fmla="*/ 669131 w 671778"/>
                      <a:gd name="connsiteY1" fmla="*/ 223837 h 369189"/>
                      <a:gd name="connsiteX2" fmla="*/ 571500 w 671778"/>
                      <a:gd name="connsiteY2" fmla="*/ 368300 h 369189"/>
                      <a:gd name="connsiteX3" fmla="*/ 0 w 671778"/>
                      <a:gd name="connsiteY3" fmla="*/ 368300 h 369189"/>
                      <a:gd name="connsiteX4" fmla="*/ 0 w 671778"/>
                      <a:gd name="connsiteY4" fmla="*/ 0 h 369189"/>
                      <a:gd name="connsiteX0" fmla="*/ 0 w 671391"/>
                      <a:gd name="connsiteY0" fmla="*/ 0 h 369635"/>
                      <a:gd name="connsiteX1" fmla="*/ 669131 w 671391"/>
                      <a:gd name="connsiteY1" fmla="*/ 223837 h 369635"/>
                      <a:gd name="connsiteX2" fmla="*/ 571500 w 671391"/>
                      <a:gd name="connsiteY2" fmla="*/ 368300 h 369635"/>
                      <a:gd name="connsiteX3" fmla="*/ 0 w 671391"/>
                      <a:gd name="connsiteY3" fmla="*/ 368300 h 369635"/>
                      <a:gd name="connsiteX4" fmla="*/ 0 w 671391"/>
                      <a:gd name="connsiteY4" fmla="*/ 0 h 369635"/>
                      <a:gd name="connsiteX0" fmla="*/ 390525 w 671391"/>
                      <a:gd name="connsiteY0" fmla="*/ 0 h 276766"/>
                      <a:gd name="connsiteX1" fmla="*/ 669131 w 671391"/>
                      <a:gd name="connsiteY1" fmla="*/ 130968 h 276766"/>
                      <a:gd name="connsiteX2" fmla="*/ 571500 w 671391"/>
                      <a:gd name="connsiteY2" fmla="*/ 275431 h 276766"/>
                      <a:gd name="connsiteX3" fmla="*/ 0 w 671391"/>
                      <a:gd name="connsiteY3" fmla="*/ 275431 h 276766"/>
                      <a:gd name="connsiteX4" fmla="*/ 390525 w 671391"/>
                      <a:gd name="connsiteY4" fmla="*/ 0 h 276766"/>
                      <a:gd name="connsiteX0" fmla="*/ 92869 w 373735"/>
                      <a:gd name="connsiteY0" fmla="*/ 0 h 276766"/>
                      <a:gd name="connsiteX1" fmla="*/ 371475 w 373735"/>
                      <a:gd name="connsiteY1" fmla="*/ 130968 h 276766"/>
                      <a:gd name="connsiteX2" fmla="*/ 273844 w 373735"/>
                      <a:gd name="connsiteY2" fmla="*/ 275431 h 276766"/>
                      <a:gd name="connsiteX3" fmla="*/ 0 w 373735"/>
                      <a:gd name="connsiteY3" fmla="*/ 132556 h 276766"/>
                      <a:gd name="connsiteX4" fmla="*/ 92869 w 373735"/>
                      <a:gd name="connsiteY4" fmla="*/ 0 h 276766"/>
                      <a:gd name="connsiteX0" fmla="*/ 100013 w 380879"/>
                      <a:gd name="connsiteY0" fmla="*/ 0 h 276766"/>
                      <a:gd name="connsiteX1" fmla="*/ 378619 w 380879"/>
                      <a:gd name="connsiteY1" fmla="*/ 130968 h 276766"/>
                      <a:gd name="connsiteX2" fmla="*/ 280988 w 380879"/>
                      <a:gd name="connsiteY2" fmla="*/ 275431 h 276766"/>
                      <a:gd name="connsiteX3" fmla="*/ 0 w 380879"/>
                      <a:gd name="connsiteY3" fmla="*/ 134938 h 276766"/>
                      <a:gd name="connsiteX4" fmla="*/ 100013 w 380879"/>
                      <a:gd name="connsiteY4" fmla="*/ 0 h 276766"/>
                      <a:gd name="connsiteX0" fmla="*/ 80963 w 361829"/>
                      <a:gd name="connsiteY0" fmla="*/ 0 h 276766"/>
                      <a:gd name="connsiteX1" fmla="*/ 359569 w 361829"/>
                      <a:gd name="connsiteY1" fmla="*/ 130968 h 276766"/>
                      <a:gd name="connsiteX2" fmla="*/ 261938 w 361829"/>
                      <a:gd name="connsiteY2" fmla="*/ 275431 h 276766"/>
                      <a:gd name="connsiteX3" fmla="*/ 0 w 361829"/>
                      <a:gd name="connsiteY3" fmla="*/ 142081 h 276766"/>
                      <a:gd name="connsiteX4" fmla="*/ 80963 w 361829"/>
                      <a:gd name="connsiteY4" fmla="*/ 0 h 276766"/>
                      <a:gd name="connsiteX0" fmla="*/ 80963 w 361829"/>
                      <a:gd name="connsiteY0" fmla="*/ 0 h 276766"/>
                      <a:gd name="connsiteX1" fmla="*/ 359569 w 361829"/>
                      <a:gd name="connsiteY1" fmla="*/ 130968 h 276766"/>
                      <a:gd name="connsiteX2" fmla="*/ 261938 w 361829"/>
                      <a:gd name="connsiteY2" fmla="*/ 275431 h 276766"/>
                      <a:gd name="connsiteX3" fmla="*/ 0 w 361829"/>
                      <a:gd name="connsiteY3" fmla="*/ 142081 h 276766"/>
                      <a:gd name="connsiteX4" fmla="*/ 80963 w 361829"/>
                      <a:gd name="connsiteY4" fmla="*/ 0 h 276766"/>
                      <a:gd name="connsiteX0" fmla="*/ 83344 w 364210"/>
                      <a:gd name="connsiteY0" fmla="*/ 0 h 276766"/>
                      <a:gd name="connsiteX1" fmla="*/ 361950 w 364210"/>
                      <a:gd name="connsiteY1" fmla="*/ 130968 h 276766"/>
                      <a:gd name="connsiteX2" fmla="*/ 264319 w 364210"/>
                      <a:gd name="connsiteY2" fmla="*/ 275431 h 276766"/>
                      <a:gd name="connsiteX3" fmla="*/ 0 w 364210"/>
                      <a:gd name="connsiteY3" fmla="*/ 144463 h 276766"/>
                      <a:gd name="connsiteX4" fmla="*/ 83344 w 364210"/>
                      <a:gd name="connsiteY4" fmla="*/ 0 h 276766"/>
                      <a:gd name="connsiteX0" fmla="*/ 83344 w 364210"/>
                      <a:gd name="connsiteY0" fmla="*/ 0 h 276766"/>
                      <a:gd name="connsiteX1" fmla="*/ 361950 w 364210"/>
                      <a:gd name="connsiteY1" fmla="*/ 130968 h 276766"/>
                      <a:gd name="connsiteX2" fmla="*/ 264319 w 364210"/>
                      <a:gd name="connsiteY2" fmla="*/ 275431 h 276766"/>
                      <a:gd name="connsiteX3" fmla="*/ 0 w 364210"/>
                      <a:gd name="connsiteY3" fmla="*/ 144463 h 276766"/>
                      <a:gd name="connsiteX4" fmla="*/ 83344 w 364210"/>
                      <a:gd name="connsiteY4" fmla="*/ 0 h 276766"/>
                      <a:gd name="connsiteX0" fmla="*/ 76200 w 357066"/>
                      <a:gd name="connsiteY0" fmla="*/ 0 h 276766"/>
                      <a:gd name="connsiteX1" fmla="*/ 354806 w 357066"/>
                      <a:gd name="connsiteY1" fmla="*/ 130968 h 276766"/>
                      <a:gd name="connsiteX2" fmla="*/ 257175 w 357066"/>
                      <a:gd name="connsiteY2" fmla="*/ 275431 h 276766"/>
                      <a:gd name="connsiteX3" fmla="*/ 0 w 357066"/>
                      <a:gd name="connsiteY3" fmla="*/ 123032 h 276766"/>
                      <a:gd name="connsiteX4" fmla="*/ 76200 w 357066"/>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8306"/>
                      <a:gd name="connsiteY0" fmla="*/ 0 h 276766"/>
                      <a:gd name="connsiteX1" fmla="*/ 376237 w 378306"/>
                      <a:gd name="connsiteY1" fmla="*/ 130968 h 276766"/>
                      <a:gd name="connsiteX2" fmla="*/ 271462 w 378306"/>
                      <a:gd name="connsiteY2" fmla="*/ 275431 h 276766"/>
                      <a:gd name="connsiteX3" fmla="*/ 0 w 378306"/>
                      <a:gd name="connsiteY3" fmla="*/ 134938 h 276766"/>
                      <a:gd name="connsiteX4" fmla="*/ 90487 w 378306"/>
                      <a:gd name="connsiteY4" fmla="*/ 0 h 276766"/>
                      <a:gd name="connsiteX0" fmla="*/ 90487 w 376245"/>
                      <a:gd name="connsiteY0" fmla="*/ 0 h 277332"/>
                      <a:gd name="connsiteX1" fmla="*/ 376237 w 376245"/>
                      <a:gd name="connsiteY1" fmla="*/ 130968 h 277332"/>
                      <a:gd name="connsiteX2" fmla="*/ 271462 w 376245"/>
                      <a:gd name="connsiteY2" fmla="*/ 275431 h 277332"/>
                      <a:gd name="connsiteX3" fmla="*/ 0 w 376245"/>
                      <a:gd name="connsiteY3" fmla="*/ 134938 h 277332"/>
                      <a:gd name="connsiteX4" fmla="*/ 90487 w 376245"/>
                      <a:gd name="connsiteY4" fmla="*/ 0 h 277332"/>
                      <a:gd name="connsiteX0" fmla="*/ 90487 w 376245"/>
                      <a:gd name="connsiteY0" fmla="*/ 0 h 277257"/>
                      <a:gd name="connsiteX1" fmla="*/ 376237 w 376245"/>
                      <a:gd name="connsiteY1" fmla="*/ 130968 h 277257"/>
                      <a:gd name="connsiteX2" fmla="*/ 271462 w 376245"/>
                      <a:gd name="connsiteY2" fmla="*/ 275431 h 277257"/>
                      <a:gd name="connsiteX3" fmla="*/ 0 w 376245"/>
                      <a:gd name="connsiteY3" fmla="*/ 134938 h 277257"/>
                      <a:gd name="connsiteX4" fmla="*/ 90487 w 376245"/>
                      <a:gd name="connsiteY4" fmla="*/ 0 h 277257"/>
                      <a:gd name="connsiteX0" fmla="*/ 90487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0487 w 376244"/>
                      <a:gd name="connsiteY4" fmla="*/ 0 h 277257"/>
                      <a:gd name="connsiteX0" fmla="*/ 95249 w 376244"/>
                      <a:gd name="connsiteY0" fmla="*/ 0 h 279638"/>
                      <a:gd name="connsiteX1" fmla="*/ 376237 w 376244"/>
                      <a:gd name="connsiteY1" fmla="*/ 133349 h 279638"/>
                      <a:gd name="connsiteX2" fmla="*/ 271462 w 376244"/>
                      <a:gd name="connsiteY2" fmla="*/ 277812 h 279638"/>
                      <a:gd name="connsiteX3" fmla="*/ 0 w 376244"/>
                      <a:gd name="connsiteY3" fmla="*/ 137319 h 279638"/>
                      <a:gd name="connsiteX4" fmla="*/ 95249 w 376244"/>
                      <a:gd name="connsiteY4" fmla="*/ 0 h 279638"/>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8625"/>
                      <a:gd name="connsiteY0" fmla="*/ 0 h 277335"/>
                      <a:gd name="connsiteX1" fmla="*/ 378618 w 378625"/>
                      <a:gd name="connsiteY1" fmla="*/ 133349 h 277335"/>
                      <a:gd name="connsiteX2" fmla="*/ 271462 w 378625"/>
                      <a:gd name="connsiteY2" fmla="*/ 275431 h 277335"/>
                      <a:gd name="connsiteX3" fmla="*/ 0 w 378625"/>
                      <a:gd name="connsiteY3" fmla="*/ 134938 h 277335"/>
                      <a:gd name="connsiteX4" fmla="*/ 97630 w 378625"/>
                      <a:gd name="connsiteY4" fmla="*/ 0 h 277335"/>
                      <a:gd name="connsiteX0" fmla="*/ 97630 w 378625"/>
                      <a:gd name="connsiteY0" fmla="*/ 0 h 277335"/>
                      <a:gd name="connsiteX1" fmla="*/ 378618 w 378625"/>
                      <a:gd name="connsiteY1" fmla="*/ 133349 h 277335"/>
                      <a:gd name="connsiteX2" fmla="*/ 271462 w 378625"/>
                      <a:gd name="connsiteY2" fmla="*/ 275431 h 277335"/>
                      <a:gd name="connsiteX3" fmla="*/ 0 w 378625"/>
                      <a:gd name="connsiteY3" fmla="*/ 134938 h 277335"/>
                      <a:gd name="connsiteX4" fmla="*/ 97630 w 378625"/>
                      <a:gd name="connsiteY4" fmla="*/ 0 h 277335"/>
                      <a:gd name="connsiteX0" fmla="*/ 97630 w 378618"/>
                      <a:gd name="connsiteY0" fmla="*/ 0 h 279249"/>
                      <a:gd name="connsiteX1" fmla="*/ 378618 w 378618"/>
                      <a:gd name="connsiteY1" fmla="*/ 133349 h 279249"/>
                      <a:gd name="connsiteX2" fmla="*/ 271462 w 378618"/>
                      <a:gd name="connsiteY2" fmla="*/ 275431 h 279249"/>
                      <a:gd name="connsiteX3" fmla="*/ 0 w 378618"/>
                      <a:gd name="connsiteY3" fmla="*/ 134938 h 279249"/>
                      <a:gd name="connsiteX4" fmla="*/ 97630 w 378618"/>
                      <a:gd name="connsiteY4" fmla="*/ 0 h 279249"/>
                      <a:gd name="connsiteX0" fmla="*/ 97630 w 378618"/>
                      <a:gd name="connsiteY0" fmla="*/ 0 h 278045"/>
                      <a:gd name="connsiteX1" fmla="*/ 378618 w 378618"/>
                      <a:gd name="connsiteY1" fmla="*/ 133349 h 278045"/>
                      <a:gd name="connsiteX2" fmla="*/ 271462 w 378618"/>
                      <a:gd name="connsiteY2" fmla="*/ 275431 h 278045"/>
                      <a:gd name="connsiteX3" fmla="*/ 0 w 378618"/>
                      <a:gd name="connsiteY3" fmla="*/ 134938 h 278045"/>
                      <a:gd name="connsiteX4" fmla="*/ 97630 w 378618"/>
                      <a:gd name="connsiteY4" fmla="*/ 0 h 278045"/>
                      <a:gd name="connsiteX0" fmla="*/ 97630 w 378618"/>
                      <a:gd name="connsiteY0" fmla="*/ 0 h 278045"/>
                      <a:gd name="connsiteX1" fmla="*/ 378618 w 378618"/>
                      <a:gd name="connsiteY1" fmla="*/ 133349 h 278045"/>
                      <a:gd name="connsiteX2" fmla="*/ 271462 w 378618"/>
                      <a:gd name="connsiteY2" fmla="*/ 275431 h 278045"/>
                      <a:gd name="connsiteX3" fmla="*/ 0 w 378618"/>
                      <a:gd name="connsiteY3" fmla="*/ 134938 h 278045"/>
                      <a:gd name="connsiteX4" fmla="*/ 97630 w 378618"/>
                      <a:gd name="connsiteY4" fmla="*/ 0 h 278045"/>
                      <a:gd name="connsiteX0" fmla="*/ 97630 w 378618"/>
                      <a:gd name="connsiteY0" fmla="*/ 0 h 278045"/>
                      <a:gd name="connsiteX1" fmla="*/ 378618 w 378618"/>
                      <a:gd name="connsiteY1" fmla="*/ 133349 h 278045"/>
                      <a:gd name="connsiteX2" fmla="*/ 271462 w 378618"/>
                      <a:gd name="connsiteY2" fmla="*/ 275431 h 278045"/>
                      <a:gd name="connsiteX3" fmla="*/ 0 w 378618"/>
                      <a:gd name="connsiteY3" fmla="*/ 134938 h 278045"/>
                      <a:gd name="connsiteX4" fmla="*/ 97630 w 378618"/>
                      <a:gd name="connsiteY4" fmla="*/ 0 h 278045"/>
                      <a:gd name="connsiteX0" fmla="*/ 97630 w 378618"/>
                      <a:gd name="connsiteY0" fmla="*/ 0 h 278045"/>
                      <a:gd name="connsiteX1" fmla="*/ 378618 w 378618"/>
                      <a:gd name="connsiteY1" fmla="*/ 133349 h 278045"/>
                      <a:gd name="connsiteX2" fmla="*/ 271462 w 378618"/>
                      <a:gd name="connsiteY2" fmla="*/ 275431 h 278045"/>
                      <a:gd name="connsiteX3" fmla="*/ 0 w 378618"/>
                      <a:gd name="connsiteY3" fmla="*/ 134938 h 278045"/>
                      <a:gd name="connsiteX4" fmla="*/ 97630 w 378618"/>
                      <a:gd name="connsiteY4" fmla="*/ 0 h 278045"/>
                      <a:gd name="connsiteX0" fmla="*/ 97630 w 378618"/>
                      <a:gd name="connsiteY0" fmla="*/ 0 h 278045"/>
                      <a:gd name="connsiteX1" fmla="*/ 378618 w 378618"/>
                      <a:gd name="connsiteY1" fmla="*/ 133349 h 278045"/>
                      <a:gd name="connsiteX2" fmla="*/ 271462 w 378618"/>
                      <a:gd name="connsiteY2" fmla="*/ 275431 h 278045"/>
                      <a:gd name="connsiteX3" fmla="*/ 0 w 378618"/>
                      <a:gd name="connsiteY3" fmla="*/ 134938 h 278045"/>
                      <a:gd name="connsiteX4" fmla="*/ 97630 w 378618"/>
                      <a:gd name="connsiteY4" fmla="*/ 0 h 278045"/>
                      <a:gd name="connsiteX0" fmla="*/ 97630 w 380999"/>
                      <a:gd name="connsiteY0" fmla="*/ 0 h 278189"/>
                      <a:gd name="connsiteX1" fmla="*/ 380999 w 380999"/>
                      <a:gd name="connsiteY1" fmla="*/ 135730 h 278189"/>
                      <a:gd name="connsiteX2" fmla="*/ 271462 w 380999"/>
                      <a:gd name="connsiteY2" fmla="*/ 275431 h 278189"/>
                      <a:gd name="connsiteX3" fmla="*/ 0 w 380999"/>
                      <a:gd name="connsiteY3" fmla="*/ 134938 h 278189"/>
                      <a:gd name="connsiteX4" fmla="*/ 97630 w 380999"/>
                      <a:gd name="connsiteY4" fmla="*/ 0 h 278189"/>
                      <a:gd name="connsiteX0" fmla="*/ 97630 w 380999"/>
                      <a:gd name="connsiteY0" fmla="*/ 0 h 278667"/>
                      <a:gd name="connsiteX1" fmla="*/ 380999 w 380999"/>
                      <a:gd name="connsiteY1" fmla="*/ 135730 h 278667"/>
                      <a:gd name="connsiteX2" fmla="*/ 271462 w 380999"/>
                      <a:gd name="connsiteY2" fmla="*/ 275431 h 278667"/>
                      <a:gd name="connsiteX3" fmla="*/ 0 w 380999"/>
                      <a:gd name="connsiteY3" fmla="*/ 134938 h 278667"/>
                      <a:gd name="connsiteX4" fmla="*/ 97630 w 380999"/>
                      <a:gd name="connsiteY4" fmla="*/ 0 h 278667"/>
                      <a:gd name="connsiteX0" fmla="*/ 97630 w 380999"/>
                      <a:gd name="connsiteY0" fmla="*/ 0 h 277506"/>
                      <a:gd name="connsiteX1" fmla="*/ 380999 w 380999"/>
                      <a:gd name="connsiteY1" fmla="*/ 135730 h 277506"/>
                      <a:gd name="connsiteX2" fmla="*/ 271462 w 380999"/>
                      <a:gd name="connsiteY2" fmla="*/ 275431 h 277506"/>
                      <a:gd name="connsiteX3" fmla="*/ 0 w 380999"/>
                      <a:gd name="connsiteY3" fmla="*/ 134938 h 277506"/>
                      <a:gd name="connsiteX4" fmla="*/ 97630 w 380999"/>
                      <a:gd name="connsiteY4" fmla="*/ 0 h 277506"/>
                      <a:gd name="connsiteX0" fmla="*/ 97630 w 380999"/>
                      <a:gd name="connsiteY0" fmla="*/ 0 h 277506"/>
                      <a:gd name="connsiteX1" fmla="*/ 380999 w 380999"/>
                      <a:gd name="connsiteY1" fmla="*/ 135730 h 277506"/>
                      <a:gd name="connsiteX2" fmla="*/ 271462 w 380999"/>
                      <a:gd name="connsiteY2" fmla="*/ 275431 h 277506"/>
                      <a:gd name="connsiteX3" fmla="*/ 0 w 380999"/>
                      <a:gd name="connsiteY3" fmla="*/ 134938 h 277506"/>
                      <a:gd name="connsiteX4" fmla="*/ 97630 w 380999"/>
                      <a:gd name="connsiteY4" fmla="*/ 0 h 277506"/>
                      <a:gd name="connsiteX0" fmla="*/ 97630 w 380999"/>
                      <a:gd name="connsiteY0" fmla="*/ 0 h 278925"/>
                      <a:gd name="connsiteX1" fmla="*/ 380999 w 380999"/>
                      <a:gd name="connsiteY1" fmla="*/ 135730 h 278925"/>
                      <a:gd name="connsiteX2" fmla="*/ 271462 w 380999"/>
                      <a:gd name="connsiteY2" fmla="*/ 275431 h 278925"/>
                      <a:gd name="connsiteX3" fmla="*/ 0 w 380999"/>
                      <a:gd name="connsiteY3" fmla="*/ 134938 h 278925"/>
                      <a:gd name="connsiteX4" fmla="*/ 97630 w 380999"/>
                      <a:gd name="connsiteY4" fmla="*/ 0 h 278925"/>
                      <a:gd name="connsiteX0" fmla="*/ 97630 w 376236"/>
                      <a:gd name="connsiteY0" fmla="*/ 0 h 278797"/>
                      <a:gd name="connsiteX1" fmla="*/ 376236 w 376236"/>
                      <a:gd name="connsiteY1" fmla="*/ 133349 h 278797"/>
                      <a:gd name="connsiteX2" fmla="*/ 271462 w 376236"/>
                      <a:gd name="connsiteY2" fmla="*/ 275431 h 278797"/>
                      <a:gd name="connsiteX3" fmla="*/ 0 w 376236"/>
                      <a:gd name="connsiteY3" fmla="*/ 134938 h 278797"/>
                      <a:gd name="connsiteX4" fmla="*/ 97630 w 376236"/>
                      <a:gd name="connsiteY4" fmla="*/ 0 h 278797"/>
                      <a:gd name="connsiteX0" fmla="*/ 97630 w 376241"/>
                      <a:gd name="connsiteY0" fmla="*/ 0 h 278918"/>
                      <a:gd name="connsiteX1" fmla="*/ 376236 w 376241"/>
                      <a:gd name="connsiteY1" fmla="*/ 133349 h 278918"/>
                      <a:gd name="connsiteX2" fmla="*/ 271462 w 376241"/>
                      <a:gd name="connsiteY2" fmla="*/ 275431 h 278918"/>
                      <a:gd name="connsiteX3" fmla="*/ 0 w 376241"/>
                      <a:gd name="connsiteY3" fmla="*/ 134938 h 278918"/>
                      <a:gd name="connsiteX4" fmla="*/ 97630 w 376241"/>
                      <a:gd name="connsiteY4" fmla="*/ 0 h 278918"/>
                      <a:gd name="connsiteX0" fmla="*/ 97630 w 376236"/>
                      <a:gd name="connsiteY0" fmla="*/ 0 h 279326"/>
                      <a:gd name="connsiteX1" fmla="*/ 376236 w 376236"/>
                      <a:gd name="connsiteY1" fmla="*/ 133349 h 279326"/>
                      <a:gd name="connsiteX2" fmla="*/ 271462 w 376236"/>
                      <a:gd name="connsiteY2" fmla="*/ 275431 h 279326"/>
                      <a:gd name="connsiteX3" fmla="*/ 0 w 376236"/>
                      <a:gd name="connsiteY3" fmla="*/ 134938 h 279326"/>
                      <a:gd name="connsiteX4" fmla="*/ 97630 w 376236"/>
                      <a:gd name="connsiteY4" fmla="*/ 0 h 279326"/>
                      <a:gd name="connsiteX0" fmla="*/ 97630 w 376236"/>
                      <a:gd name="connsiteY0" fmla="*/ 0 h 277109"/>
                      <a:gd name="connsiteX1" fmla="*/ 376236 w 376236"/>
                      <a:gd name="connsiteY1" fmla="*/ 133349 h 277109"/>
                      <a:gd name="connsiteX2" fmla="*/ 271462 w 376236"/>
                      <a:gd name="connsiteY2" fmla="*/ 275431 h 277109"/>
                      <a:gd name="connsiteX3" fmla="*/ 0 w 376236"/>
                      <a:gd name="connsiteY3" fmla="*/ 134938 h 277109"/>
                      <a:gd name="connsiteX4" fmla="*/ 97630 w 376236"/>
                      <a:gd name="connsiteY4" fmla="*/ 0 h 277109"/>
                      <a:gd name="connsiteX0" fmla="*/ 97630 w 376236"/>
                      <a:gd name="connsiteY0" fmla="*/ 0 h 277109"/>
                      <a:gd name="connsiteX1" fmla="*/ 376236 w 376236"/>
                      <a:gd name="connsiteY1" fmla="*/ 133349 h 277109"/>
                      <a:gd name="connsiteX2" fmla="*/ 271462 w 376236"/>
                      <a:gd name="connsiteY2" fmla="*/ 275431 h 277109"/>
                      <a:gd name="connsiteX3" fmla="*/ 0 w 376236"/>
                      <a:gd name="connsiteY3" fmla="*/ 134938 h 277109"/>
                      <a:gd name="connsiteX4" fmla="*/ 97630 w 376236"/>
                      <a:gd name="connsiteY4" fmla="*/ 0 h 277109"/>
                      <a:gd name="connsiteX0" fmla="*/ 97630 w 376236"/>
                      <a:gd name="connsiteY0" fmla="*/ 0 h 277803"/>
                      <a:gd name="connsiteX1" fmla="*/ 376236 w 376236"/>
                      <a:gd name="connsiteY1" fmla="*/ 133349 h 277803"/>
                      <a:gd name="connsiteX2" fmla="*/ 271462 w 376236"/>
                      <a:gd name="connsiteY2" fmla="*/ 275431 h 277803"/>
                      <a:gd name="connsiteX3" fmla="*/ 0 w 376236"/>
                      <a:gd name="connsiteY3" fmla="*/ 134938 h 277803"/>
                      <a:gd name="connsiteX4" fmla="*/ 97630 w 376236"/>
                      <a:gd name="connsiteY4" fmla="*/ 0 h 277803"/>
                      <a:gd name="connsiteX0" fmla="*/ 97630 w 376236"/>
                      <a:gd name="connsiteY0" fmla="*/ 0 h 277803"/>
                      <a:gd name="connsiteX1" fmla="*/ 376236 w 376236"/>
                      <a:gd name="connsiteY1" fmla="*/ 133349 h 277803"/>
                      <a:gd name="connsiteX2" fmla="*/ 276225 w 376236"/>
                      <a:gd name="connsiteY2" fmla="*/ 275431 h 277803"/>
                      <a:gd name="connsiteX3" fmla="*/ 0 w 376236"/>
                      <a:gd name="connsiteY3" fmla="*/ 134938 h 277803"/>
                      <a:gd name="connsiteX4" fmla="*/ 97630 w 376236"/>
                      <a:gd name="connsiteY4" fmla="*/ 0 h 277803"/>
                      <a:gd name="connsiteX0" fmla="*/ 97630 w 376236"/>
                      <a:gd name="connsiteY0" fmla="*/ 0 h 277803"/>
                      <a:gd name="connsiteX1" fmla="*/ 376236 w 376236"/>
                      <a:gd name="connsiteY1" fmla="*/ 133349 h 277803"/>
                      <a:gd name="connsiteX2" fmla="*/ 276225 w 376236"/>
                      <a:gd name="connsiteY2" fmla="*/ 275431 h 277803"/>
                      <a:gd name="connsiteX3" fmla="*/ 0 w 376236"/>
                      <a:gd name="connsiteY3" fmla="*/ 134938 h 277803"/>
                      <a:gd name="connsiteX4" fmla="*/ 97630 w 376236"/>
                      <a:gd name="connsiteY4" fmla="*/ 0 h 277803"/>
                      <a:gd name="connsiteX0" fmla="*/ 97630 w 376236"/>
                      <a:gd name="connsiteY0" fmla="*/ 0 h 275947"/>
                      <a:gd name="connsiteX1" fmla="*/ 376236 w 376236"/>
                      <a:gd name="connsiteY1" fmla="*/ 133349 h 275947"/>
                      <a:gd name="connsiteX2" fmla="*/ 276225 w 376236"/>
                      <a:gd name="connsiteY2" fmla="*/ 275431 h 275947"/>
                      <a:gd name="connsiteX3" fmla="*/ 0 w 376236"/>
                      <a:gd name="connsiteY3" fmla="*/ 134938 h 275947"/>
                      <a:gd name="connsiteX4" fmla="*/ 97630 w 376236"/>
                      <a:gd name="connsiteY4" fmla="*/ 0 h 275947"/>
                      <a:gd name="connsiteX0" fmla="*/ 97630 w 376236"/>
                      <a:gd name="connsiteY0" fmla="*/ 0 h 275947"/>
                      <a:gd name="connsiteX1" fmla="*/ 376236 w 376236"/>
                      <a:gd name="connsiteY1" fmla="*/ 133349 h 275947"/>
                      <a:gd name="connsiteX2" fmla="*/ 280987 w 376236"/>
                      <a:gd name="connsiteY2" fmla="*/ 275431 h 275947"/>
                      <a:gd name="connsiteX3" fmla="*/ 0 w 376236"/>
                      <a:gd name="connsiteY3" fmla="*/ 134938 h 275947"/>
                      <a:gd name="connsiteX4" fmla="*/ 97630 w 376236"/>
                      <a:gd name="connsiteY4" fmla="*/ 0 h 275947"/>
                      <a:gd name="connsiteX0" fmla="*/ 97630 w 376236"/>
                      <a:gd name="connsiteY0" fmla="*/ 0 h 248851"/>
                      <a:gd name="connsiteX1" fmla="*/ 376236 w 376236"/>
                      <a:gd name="connsiteY1" fmla="*/ 133349 h 248851"/>
                      <a:gd name="connsiteX2" fmla="*/ 300037 w 376236"/>
                      <a:gd name="connsiteY2" fmla="*/ 246856 h 248851"/>
                      <a:gd name="connsiteX3" fmla="*/ 0 w 376236"/>
                      <a:gd name="connsiteY3" fmla="*/ 134938 h 248851"/>
                      <a:gd name="connsiteX4" fmla="*/ 97630 w 376236"/>
                      <a:gd name="connsiteY4" fmla="*/ 0 h 248851"/>
                      <a:gd name="connsiteX0" fmla="*/ 97630 w 376236"/>
                      <a:gd name="connsiteY0" fmla="*/ 0 h 271281"/>
                      <a:gd name="connsiteX1" fmla="*/ 376236 w 376236"/>
                      <a:gd name="connsiteY1" fmla="*/ 133349 h 271281"/>
                      <a:gd name="connsiteX2" fmla="*/ 283368 w 376236"/>
                      <a:gd name="connsiteY2" fmla="*/ 270669 h 271281"/>
                      <a:gd name="connsiteX3" fmla="*/ 0 w 376236"/>
                      <a:gd name="connsiteY3" fmla="*/ 134938 h 271281"/>
                      <a:gd name="connsiteX4" fmla="*/ 97630 w 376236"/>
                      <a:gd name="connsiteY4" fmla="*/ 0 h 271281"/>
                      <a:gd name="connsiteX0" fmla="*/ 97630 w 376236"/>
                      <a:gd name="connsiteY0" fmla="*/ 0 h 271281"/>
                      <a:gd name="connsiteX1" fmla="*/ 376236 w 376236"/>
                      <a:gd name="connsiteY1" fmla="*/ 133349 h 271281"/>
                      <a:gd name="connsiteX2" fmla="*/ 283368 w 376236"/>
                      <a:gd name="connsiteY2" fmla="*/ 270669 h 271281"/>
                      <a:gd name="connsiteX3" fmla="*/ 0 w 376236"/>
                      <a:gd name="connsiteY3" fmla="*/ 134938 h 271281"/>
                      <a:gd name="connsiteX4" fmla="*/ 97630 w 376236"/>
                      <a:gd name="connsiteY4" fmla="*/ 0 h 271281"/>
                      <a:gd name="connsiteX0" fmla="*/ 97630 w 376236"/>
                      <a:gd name="connsiteY0" fmla="*/ 0 h 271339"/>
                      <a:gd name="connsiteX1" fmla="*/ 376236 w 376236"/>
                      <a:gd name="connsiteY1" fmla="*/ 133349 h 271339"/>
                      <a:gd name="connsiteX2" fmla="*/ 283368 w 376236"/>
                      <a:gd name="connsiteY2" fmla="*/ 270669 h 271339"/>
                      <a:gd name="connsiteX3" fmla="*/ 0 w 376236"/>
                      <a:gd name="connsiteY3" fmla="*/ 134938 h 271339"/>
                      <a:gd name="connsiteX4" fmla="*/ 97630 w 376236"/>
                      <a:gd name="connsiteY4" fmla="*/ 0 h 271339"/>
                      <a:gd name="connsiteX0" fmla="*/ 97630 w 376236"/>
                      <a:gd name="connsiteY0" fmla="*/ 0 h 271231"/>
                      <a:gd name="connsiteX1" fmla="*/ 376236 w 376236"/>
                      <a:gd name="connsiteY1" fmla="*/ 133349 h 271231"/>
                      <a:gd name="connsiteX2" fmla="*/ 283368 w 376236"/>
                      <a:gd name="connsiteY2" fmla="*/ 270669 h 271231"/>
                      <a:gd name="connsiteX3" fmla="*/ 0 w 376236"/>
                      <a:gd name="connsiteY3" fmla="*/ 134938 h 271231"/>
                      <a:gd name="connsiteX4" fmla="*/ 97630 w 376236"/>
                      <a:gd name="connsiteY4" fmla="*/ 0 h 271231"/>
                      <a:gd name="connsiteX0" fmla="*/ 97630 w 376236"/>
                      <a:gd name="connsiteY0" fmla="*/ 0 h 271187"/>
                      <a:gd name="connsiteX1" fmla="*/ 376236 w 376236"/>
                      <a:gd name="connsiteY1" fmla="*/ 133349 h 271187"/>
                      <a:gd name="connsiteX2" fmla="*/ 283368 w 376236"/>
                      <a:gd name="connsiteY2" fmla="*/ 270669 h 271187"/>
                      <a:gd name="connsiteX3" fmla="*/ 0 w 376236"/>
                      <a:gd name="connsiteY3" fmla="*/ 134938 h 271187"/>
                      <a:gd name="connsiteX4" fmla="*/ 97630 w 376236"/>
                      <a:gd name="connsiteY4" fmla="*/ 0 h 271187"/>
                      <a:gd name="connsiteX0" fmla="*/ 97630 w 376236"/>
                      <a:gd name="connsiteY0" fmla="*/ 0 h 271187"/>
                      <a:gd name="connsiteX1" fmla="*/ 376236 w 376236"/>
                      <a:gd name="connsiteY1" fmla="*/ 133349 h 271187"/>
                      <a:gd name="connsiteX2" fmla="*/ 283368 w 376236"/>
                      <a:gd name="connsiteY2" fmla="*/ 270669 h 271187"/>
                      <a:gd name="connsiteX3" fmla="*/ 0 w 376236"/>
                      <a:gd name="connsiteY3" fmla="*/ 134938 h 271187"/>
                      <a:gd name="connsiteX4" fmla="*/ 97630 w 376236"/>
                      <a:gd name="connsiteY4" fmla="*/ 0 h 271187"/>
                      <a:gd name="connsiteX0" fmla="*/ 97630 w 373855"/>
                      <a:gd name="connsiteY0" fmla="*/ 0 h 271148"/>
                      <a:gd name="connsiteX1" fmla="*/ 373855 w 373855"/>
                      <a:gd name="connsiteY1" fmla="*/ 130968 h 271148"/>
                      <a:gd name="connsiteX2" fmla="*/ 283368 w 373855"/>
                      <a:gd name="connsiteY2" fmla="*/ 270669 h 271148"/>
                      <a:gd name="connsiteX3" fmla="*/ 0 w 373855"/>
                      <a:gd name="connsiteY3" fmla="*/ 134938 h 271148"/>
                      <a:gd name="connsiteX4" fmla="*/ 97630 w 373855"/>
                      <a:gd name="connsiteY4" fmla="*/ 0 h 271148"/>
                      <a:gd name="connsiteX0" fmla="*/ 97630 w 373855"/>
                      <a:gd name="connsiteY0" fmla="*/ 0 h 273495"/>
                      <a:gd name="connsiteX1" fmla="*/ 373855 w 373855"/>
                      <a:gd name="connsiteY1" fmla="*/ 130968 h 273495"/>
                      <a:gd name="connsiteX2" fmla="*/ 285750 w 373855"/>
                      <a:gd name="connsiteY2" fmla="*/ 273050 h 273495"/>
                      <a:gd name="connsiteX3" fmla="*/ 0 w 373855"/>
                      <a:gd name="connsiteY3" fmla="*/ 134938 h 273495"/>
                      <a:gd name="connsiteX4" fmla="*/ 97630 w 373855"/>
                      <a:gd name="connsiteY4" fmla="*/ 0 h 273495"/>
                      <a:gd name="connsiteX0" fmla="*/ 97630 w 373862"/>
                      <a:gd name="connsiteY0" fmla="*/ 0 h 273268"/>
                      <a:gd name="connsiteX1" fmla="*/ 373855 w 373862"/>
                      <a:gd name="connsiteY1" fmla="*/ 130968 h 273268"/>
                      <a:gd name="connsiteX2" fmla="*/ 285750 w 373862"/>
                      <a:gd name="connsiteY2" fmla="*/ 273050 h 273268"/>
                      <a:gd name="connsiteX3" fmla="*/ 0 w 373862"/>
                      <a:gd name="connsiteY3" fmla="*/ 134938 h 273268"/>
                      <a:gd name="connsiteX4" fmla="*/ 97630 w 373862"/>
                      <a:gd name="connsiteY4" fmla="*/ 0 h 273268"/>
                      <a:gd name="connsiteX0" fmla="*/ 97630 w 373855"/>
                      <a:gd name="connsiteY0" fmla="*/ 0 h 273331"/>
                      <a:gd name="connsiteX1" fmla="*/ 373855 w 373855"/>
                      <a:gd name="connsiteY1" fmla="*/ 130968 h 273331"/>
                      <a:gd name="connsiteX2" fmla="*/ 285750 w 373855"/>
                      <a:gd name="connsiteY2" fmla="*/ 273050 h 273331"/>
                      <a:gd name="connsiteX3" fmla="*/ 0 w 373855"/>
                      <a:gd name="connsiteY3" fmla="*/ 134938 h 273331"/>
                      <a:gd name="connsiteX4" fmla="*/ 97630 w 373855"/>
                      <a:gd name="connsiteY4" fmla="*/ 0 h 273331"/>
                      <a:gd name="connsiteX0" fmla="*/ 97630 w 373855"/>
                      <a:gd name="connsiteY0" fmla="*/ 0 h 273675"/>
                      <a:gd name="connsiteX1" fmla="*/ 373855 w 373855"/>
                      <a:gd name="connsiteY1" fmla="*/ 130968 h 273675"/>
                      <a:gd name="connsiteX2" fmla="*/ 285750 w 373855"/>
                      <a:gd name="connsiteY2" fmla="*/ 273050 h 273675"/>
                      <a:gd name="connsiteX3" fmla="*/ 0 w 373855"/>
                      <a:gd name="connsiteY3" fmla="*/ 134938 h 273675"/>
                      <a:gd name="connsiteX4" fmla="*/ 97630 w 373855"/>
                      <a:gd name="connsiteY4" fmla="*/ 0 h 273675"/>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97630 w 374197"/>
                      <a:gd name="connsiteY0" fmla="*/ 0 h 273626"/>
                      <a:gd name="connsiteX1" fmla="*/ 373855 w 374197"/>
                      <a:gd name="connsiteY1" fmla="*/ 130968 h 273626"/>
                      <a:gd name="connsiteX2" fmla="*/ 285750 w 374197"/>
                      <a:gd name="connsiteY2" fmla="*/ 273050 h 273626"/>
                      <a:gd name="connsiteX3" fmla="*/ 0 w 374197"/>
                      <a:gd name="connsiteY3" fmla="*/ 134938 h 273626"/>
                      <a:gd name="connsiteX4" fmla="*/ 97630 w 374197"/>
                      <a:gd name="connsiteY4" fmla="*/ 0 h 273626"/>
                      <a:gd name="connsiteX0" fmla="*/ 88310 w 364877"/>
                      <a:gd name="connsiteY0" fmla="*/ 0 h 273626"/>
                      <a:gd name="connsiteX1" fmla="*/ 364535 w 364877"/>
                      <a:gd name="connsiteY1" fmla="*/ 130968 h 273626"/>
                      <a:gd name="connsiteX2" fmla="*/ 276430 w 364877"/>
                      <a:gd name="connsiteY2" fmla="*/ 273050 h 273626"/>
                      <a:gd name="connsiteX3" fmla="*/ 0 w 364877"/>
                      <a:gd name="connsiteY3" fmla="*/ 140530 h 273626"/>
                      <a:gd name="connsiteX4" fmla="*/ 88310 w 364877"/>
                      <a:gd name="connsiteY4" fmla="*/ 0 h 273626"/>
                      <a:gd name="connsiteX0" fmla="*/ 92038 w 368605"/>
                      <a:gd name="connsiteY0" fmla="*/ 0 h 273626"/>
                      <a:gd name="connsiteX1" fmla="*/ 368263 w 368605"/>
                      <a:gd name="connsiteY1" fmla="*/ 130968 h 273626"/>
                      <a:gd name="connsiteX2" fmla="*/ 280158 w 368605"/>
                      <a:gd name="connsiteY2" fmla="*/ 273050 h 273626"/>
                      <a:gd name="connsiteX3" fmla="*/ 0 w 368605"/>
                      <a:gd name="connsiteY3" fmla="*/ 140530 h 273626"/>
                      <a:gd name="connsiteX4" fmla="*/ 92038 w 368605"/>
                      <a:gd name="connsiteY4" fmla="*/ 0 h 273626"/>
                      <a:gd name="connsiteX0" fmla="*/ 92038 w 368605"/>
                      <a:gd name="connsiteY0" fmla="*/ 0 h 273626"/>
                      <a:gd name="connsiteX1" fmla="*/ 368263 w 368605"/>
                      <a:gd name="connsiteY1" fmla="*/ 130968 h 273626"/>
                      <a:gd name="connsiteX2" fmla="*/ 280158 w 368605"/>
                      <a:gd name="connsiteY2" fmla="*/ 273050 h 273626"/>
                      <a:gd name="connsiteX3" fmla="*/ 0 w 368605"/>
                      <a:gd name="connsiteY3" fmla="*/ 140530 h 273626"/>
                      <a:gd name="connsiteX4" fmla="*/ 92038 w 368605"/>
                      <a:gd name="connsiteY4" fmla="*/ 0 h 273626"/>
                      <a:gd name="connsiteX0" fmla="*/ 92038 w 368605"/>
                      <a:gd name="connsiteY0" fmla="*/ 0 h 273626"/>
                      <a:gd name="connsiteX1" fmla="*/ 368263 w 368605"/>
                      <a:gd name="connsiteY1" fmla="*/ 130968 h 273626"/>
                      <a:gd name="connsiteX2" fmla="*/ 280158 w 368605"/>
                      <a:gd name="connsiteY2" fmla="*/ 273050 h 273626"/>
                      <a:gd name="connsiteX3" fmla="*/ 0 w 368605"/>
                      <a:gd name="connsiteY3" fmla="*/ 140530 h 273626"/>
                      <a:gd name="connsiteX4" fmla="*/ 92038 w 368605"/>
                      <a:gd name="connsiteY4" fmla="*/ 0 h 273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605" h="273626">
                        <a:moveTo>
                          <a:pt x="92038" y="0"/>
                        </a:moveTo>
                        <a:lnTo>
                          <a:pt x="368263" y="130968"/>
                        </a:lnTo>
                        <a:cubicBezTo>
                          <a:pt x="373818" y="229125"/>
                          <a:pt x="310317" y="279666"/>
                          <a:pt x="280158" y="273050"/>
                        </a:cubicBezTo>
                        <a:lnTo>
                          <a:pt x="0" y="140530"/>
                        </a:lnTo>
                        <a:cubicBezTo>
                          <a:pt x="68057" y="136997"/>
                          <a:pt x="97594" y="48359"/>
                          <a:pt x="92038" y="0"/>
                        </a:cubicBezTo>
                        <a:close/>
                      </a:path>
                    </a:pathLst>
                  </a:custGeom>
                  <a:solidFill>
                    <a:srgbClr val="D85454"/>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36" name="Rectangle 26"/>
                  <p:cNvSpPr/>
                  <p:nvPr/>
                </p:nvSpPr>
                <p:spPr>
                  <a:xfrm rot="6059" flipH="1">
                    <a:off x="7019342" y="3150478"/>
                    <a:ext cx="183351" cy="129383"/>
                  </a:xfrm>
                  <a:custGeom>
                    <a:avLst/>
                    <a:gdLst>
                      <a:gd name="connsiteX0" fmla="*/ 0 w 178006"/>
                      <a:gd name="connsiteY0" fmla="*/ 0 h 154899"/>
                      <a:gd name="connsiteX1" fmla="*/ 178006 w 178006"/>
                      <a:gd name="connsiteY1" fmla="*/ 0 h 154899"/>
                      <a:gd name="connsiteX2" fmla="*/ 178006 w 178006"/>
                      <a:gd name="connsiteY2" fmla="*/ 154899 h 154899"/>
                      <a:gd name="connsiteX3" fmla="*/ 0 w 178006"/>
                      <a:gd name="connsiteY3" fmla="*/ 154899 h 154899"/>
                      <a:gd name="connsiteX4" fmla="*/ 0 w 178006"/>
                      <a:gd name="connsiteY4" fmla="*/ 0 h 154899"/>
                      <a:gd name="connsiteX0" fmla="*/ 0 w 189837"/>
                      <a:gd name="connsiteY0" fmla="*/ 0 h 154899"/>
                      <a:gd name="connsiteX1" fmla="*/ 178006 w 189837"/>
                      <a:gd name="connsiteY1" fmla="*/ 0 h 154899"/>
                      <a:gd name="connsiteX2" fmla="*/ 178006 w 189837"/>
                      <a:gd name="connsiteY2" fmla="*/ 154899 h 154899"/>
                      <a:gd name="connsiteX3" fmla="*/ 0 w 189837"/>
                      <a:gd name="connsiteY3" fmla="*/ 154899 h 154899"/>
                      <a:gd name="connsiteX4" fmla="*/ 0 w 189837"/>
                      <a:gd name="connsiteY4" fmla="*/ 0 h 154899"/>
                      <a:gd name="connsiteX0" fmla="*/ 0 w 200791"/>
                      <a:gd name="connsiteY0" fmla="*/ 0 h 154899"/>
                      <a:gd name="connsiteX1" fmla="*/ 178006 w 200791"/>
                      <a:gd name="connsiteY1" fmla="*/ 0 h 154899"/>
                      <a:gd name="connsiteX2" fmla="*/ 178006 w 200791"/>
                      <a:gd name="connsiteY2" fmla="*/ 154899 h 154899"/>
                      <a:gd name="connsiteX3" fmla="*/ 0 w 200791"/>
                      <a:gd name="connsiteY3" fmla="*/ 154899 h 154899"/>
                      <a:gd name="connsiteX4" fmla="*/ 0 w 200791"/>
                      <a:gd name="connsiteY4" fmla="*/ 0 h 154899"/>
                      <a:gd name="connsiteX0" fmla="*/ 0 w 198296"/>
                      <a:gd name="connsiteY0" fmla="*/ 0 h 154899"/>
                      <a:gd name="connsiteX1" fmla="*/ 178006 w 198296"/>
                      <a:gd name="connsiteY1" fmla="*/ 0 h 154899"/>
                      <a:gd name="connsiteX2" fmla="*/ 178006 w 198296"/>
                      <a:gd name="connsiteY2" fmla="*/ 154899 h 154899"/>
                      <a:gd name="connsiteX3" fmla="*/ 0 w 198296"/>
                      <a:gd name="connsiteY3" fmla="*/ 154899 h 154899"/>
                      <a:gd name="connsiteX4" fmla="*/ 0 w 198296"/>
                      <a:gd name="connsiteY4" fmla="*/ 0 h 154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296" h="154899">
                        <a:moveTo>
                          <a:pt x="0" y="0"/>
                        </a:moveTo>
                        <a:lnTo>
                          <a:pt x="178006" y="0"/>
                        </a:lnTo>
                        <a:cubicBezTo>
                          <a:pt x="205490" y="64847"/>
                          <a:pt x="204626" y="103685"/>
                          <a:pt x="178006" y="154899"/>
                        </a:cubicBezTo>
                        <a:lnTo>
                          <a:pt x="0" y="154899"/>
                        </a:lnTo>
                        <a:lnTo>
                          <a:pt x="0" y="0"/>
                        </a:lnTo>
                        <a:close/>
                      </a:path>
                    </a:pathLst>
                  </a:custGeom>
                  <a:solidFill>
                    <a:srgbClr val="BFBFB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grpSp>
                <p:nvGrpSpPr>
                  <p:cNvPr id="37" name="Group 36"/>
                  <p:cNvGrpSpPr/>
                  <p:nvPr/>
                </p:nvGrpSpPr>
                <p:grpSpPr>
                  <a:xfrm rot="2700000">
                    <a:off x="7272998" y="2610486"/>
                    <a:ext cx="1298140" cy="1132215"/>
                    <a:chOff x="4084525" y="737296"/>
                    <a:chExt cx="1640544" cy="1430854"/>
                  </a:xfrm>
                </p:grpSpPr>
                <p:grpSp>
                  <p:nvGrpSpPr>
                    <p:cNvPr id="50" name="Group 49"/>
                    <p:cNvGrpSpPr/>
                    <p:nvPr/>
                  </p:nvGrpSpPr>
                  <p:grpSpPr>
                    <a:xfrm rot="18913881">
                      <a:off x="4402009" y="737296"/>
                      <a:ext cx="1323060" cy="1019404"/>
                      <a:chOff x="5687211" y="3859429"/>
                      <a:chExt cx="1323060" cy="1019404"/>
                    </a:xfrm>
                  </p:grpSpPr>
                  <p:sp>
                    <p:nvSpPr>
                      <p:cNvPr id="54" name="Rounded Rectangle 31"/>
                      <p:cNvSpPr/>
                      <p:nvPr/>
                    </p:nvSpPr>
                    <p:spPr>
                      <a:xfrm rot="21431920" flipH="1">
                        <a:off x="5698900" y="3867410"/>
                        <a:ext cx="1311371" cy="1011423"/>
                      </a:xfrm>
                      <a:custGeom>
                        <a:avLst/>
                        <a:gdLst>
                          <a:gd name="connsiteX0" fmla="*/ 0 w 1234463"/>
                          <a:gd name="connsiteY0" fmla="*/ 56234 h 958157"/>
                          <a:gd name="connsiteX1" fmla="*/ 56234 w 1234463"/>
                          <a:gd name="connsiteY1" fmla="*/ 0 h 958157"/>
                          <a:gd name="connsiteX2" fmla="*/ 1178229 w 1234463"/>
                          <a:gd name="connsiteY2" fmla="*/ 0 h 958157"/>
                          <a:gd name="connsiteX3" fmla="*/ 1234463 w 1234463"/>
                          <a:gd name="connsiteY3" fmla="*/ 56234 h 958157"/>
                          <a:gd name="connsiteX4" fmla="*/ 1234463 w 1234463"/>
                          <a:gd name="connsiteY4" fmla="*/ 901923 h 958157"/>
                          <a:gd name="connsiteX5" fmla="*/ 1178229 w 1234463"/>
                          <a:gd name="connsiteY5" fmla="*/ 958157 h 958157"/>
                          <a:gd name="connsiteX6" fmla="*/ 56234 w 1234463"/>
                          <a:gd name="connsiteY6" fmla="*/ 958157 h 958157"/>
                          <a:gd name="connsiteX7" fmla="*/ 0 w 1234463"/>
                          <a:gd name="connsiteY7" fmla="*/ 901923 h 958157"/>
                          <a:gd name="connsiteX8" fmla="*/ 0 w 1234463"/>
                          <a:gd name="connsiteY8" fmla="*/ 56234 h 958157"/>
                          <a:gd name="connsiteX0" fmla="*/ 0 w 1234463"/>
                          <a:gd name="connsiteY0" fmla="*/ 56234 h 958157"/>
                          <a:gd name="connsiteX1" fmla="*/ 56234 w 1234463"/>
                          <a:gd name="connsiteY1" fmla="*/ 0 h 958157"/>
                          <a:gd name="connsiteX2" fmla="*/ 1178229 w 1234463"/>
                          <a:gd name="connsiteY2" fmla="*/ 0 h 958157"/>
                          <a:gd name="connsiteX3" fmla="*/ 1234463 w 1234463"/>
                          <a:gd name="connsiteY3" fmla="*/ 56234 h 958157"/>
                          <a:gd name="connsiteX4" fmla="*/ 1234463 w 1234463"/>
                          <a:gd name="connsiteY4" fmla="*/ 901923 h 958157"/>
                          <a:gd name="connsiteX5" fmla="*/ 1178229 w 1234463"/>
                          <a:gd name="connsiteY5" fmla="*/ 958157 h 958157"/>
                          <a:gd name="connsiteX6" fmla="*/ 56234 w 1234463"/>
                          <a:gd name="connsiteY6" fmla="*/ 958157 h 958157"/>
                          <a:gd name="connsiteX7" fmla="*/ 0 w 1234463"/>
                          <a:gd name="connsiteY7" fmla="*/ 901923 h 958157"/>
                          <a:gd name="connsiteX8" fmla="*/ 10778 w 1234463"/>
                          <a:gd name="connsiteY8" fmla="*/ 506039 h 958157"/>
                          <a:gd name="connsiteX9" fmla="*/ 0 w 1234463"/>
                          <a:gd name="connsiteY9" fmla="*/ 56234 h 958157"/>
                          <a:gd name="connsiteX0" fmla="*/ 0 w 1234463"/>
                          <a:gd name="connsiteY0" fmla="*/ 56234 h 958157"/>
                          <a:gd name="connsiteX1" fmla="*/ 56234 w 1234463"/>
                          <a:gd name="connsiteY1" fmla="*/ 0 h 958157"/>
                          <a:gd name="connsiteX2" fmla="*/ 1178229 w 1234463"/>
                          <a:gd name="connsiteY2" fmla="*/ 0 h 958157"/>
                          <a:gd name="connsiteX3" fmla="*/ 1234463 w 1234463"/>
                          <a:gd name="connsiteY3" fmla="*/ 56234 h 958157"/>
                          <a:gd name="connsiteX4" fmla="*/ 1234463 w 1234463"/>
                          <a:gd name="connsiteY4" fmla="*/ 901923 h 958157"/>
                          <a:gd name="connsiteX5" fmla="*/ 1178229 w 1234463"/>
                          <a:gd name="connsiteY5" fmla="*/ 958157 h 958157"/>
                          <a:gd name="connsiteX6" fmla="*/ 56234 w 1234463"/>
                          <a:gd name="connsiteY6" fmla="*/ 958157 h 958157"/>
                          <a:gd name="connsiteX7" fmla="*/ 0 w 1234463"/>
                          <a:gd name="connsiteY7" fmla="*/ 901923 h 958157"/>
                          <a:gd name="connsiteX8" fmla="*/ 207561 w 1234463"/>
                          <a:gd name="connsiteY8" fmla="*/ 562599 h 958157"/>
                          <a:gd name="connsiteX9" fmla="*/ 0 w 1234463"/>
                          <a:gd name="connsiteY9" fmla="*/ 56234 h 958157"/>
                          <a:gd name="connsiteX0" fmla="*/ 0 w 1234463"/>
                          <a:gd name="connsiteY0" fmla="*/ 56234 h 958157"/>
                          <a:gd name="connsiteX1" fmla="*/ 56234 w 1234463"/>
                          <a:gd name="connsiteY1" fmla="*/ 0 h 958157"/>
                          <a:gd name="connsiteX2" fmla="*/ 1178229 w 1234463"/>
                          <a:gd name="connsiteY2" fmla="*/ 0 h 958157"/>
                          <a:gd name="connsiteX3" fmla="*/ 1234463 w 1234463"/>
                          <a:gd name="connsiteY3" fmla="*/ 56234 h 958157"/>
                          <a:gd name="connsiteX4" fmla="*/ 1234463 w 1234463"/>
                          <a:gd name="connsiteY4" fmla="*/ 901923 h 958157"/>
                          <a:gd name="connsiteX5" fmla="*/ 1178229 w 1234463"/>
                          <a:gd name="connsiteY5" fmla="*/ 958157 h 958157"/>
                          <a:gd name="connsiteX6" fmla="*/ 56234 w 1234463"/>
                          <a:gd name="connsiteY6" fmla="*/ 958157 h 958157"/>
                          <a:gd name="connsiteX7" fmla="*/ 0 w 1234463"/>
                          <a:gd name="connsiteY7" fmla="*/ 901923 h 958157"/>
                          <a:gd name="connsiteX8" fmla="*/ 207561 w 1234463"/>
                          <a:gd name="connsiteY8" fmla="*/ 562599 h 958157"/>
                          <a:gd name="connsiteX9" fmla="*/ 0 w 1234463"/>
                          <a:gd name="connsiteY9" fmla="*/ 56234 h 958157"/>
                          <a:gd name="connsiteX0" fmla="*/ 0 w 1235642"/>
                          <a:gd name="connsiteY0" fmla="*/ 56234 h 958157"/>
                          <a:gd name="connsiteX1" fmla="*/ 56234 w 1235642"/>
                          <a:gd name="connsiteY1" fmla="*/ 0 h 958157"/>
                          <a:gd name="connsiteX2" fmla="*/ 1178229 w 1235642"/>
                          <a:gd name="connsiteY2" fmla="*/ 0 h 958157"/>
                          <a:gd name="connsiteX3" fmla="*/ 1235642 w 1235642"/>
                          <a:gd name="connsiteY3" fmla="*/ 247187 h 958157"/>
                          <a:gd name="connsiteX4" fmla="*/ 1234463 w 1235642"/>
                          <a:gd name="connsiteY4" fmla="*/ 901923 h 958157"/>
                          <a:gd name="connsiteX5" fmla="*/ 1178229 w 1235642"/>
                          <a:gd name="connsiteY5" fmla="*/ 958157 h 958157"/>
                          <a:gd name="connsiteX6" fmla="*/ 56234 w 1235642"/>
                          <a:gd name="connsiteY6" fmla="*/ 958157 h 958157"/>
                          <a:gd name="connsiteX7" fmla="*/ 0 w 1235642"/>
                          <a:gd name="connsiteY7" fmla="*/ 901923 h 958157"/>
                          <a:gd name="connsiteX8" fmla="*/ 207561 w 1235642"/>
                          <a:gd name="connsiteY8" fmla="*/ 562599 h 958157"/>
                          <a:gd name="connsiteX9" fmla="*/ 0 w 1235642"/>
                          <a:gd name="connsiteY9" fmla="*/ 56234 h 958157"/>
                          <a:gd name="connsiteX0" fmla="*/ 0 w 1235642"/>
                          <a:gd name="connsiteY0" fmla="*/ 56234 h 958157"/>
                          <a:gd name="connsiteX1" fmla="*/ 56234 w 1235642"/>
                          <a:gd name="connsiteY1" fmla="*/ 0 h 958157"/>
                          <a:gd name="connsiteX2" fmla="*/ 1001323 w 1235642"/>
                          <a:gd name="connsiteY2" fmla="*/ 10823 h 958157"/>
                          <a:gd name="connsiteX3" fmla="*/ 1235642 w 1235642"/>
                          <a:gd name="connsiteY3" fmla="*/ 247187 h 958157"/>
                          <a:gd name="connsiteX4" fmla="*/ 1234463 w 1235642"/>
                          <a:gd name="connsiteY4" fmla="*/ 901923 h 958157"/>
                          <a:gd name="connsiteX5" fmla="*/ 1178229 w 1235642"/>
                          <a:gd name="connsiteY5" fmla="*/ 958157 h 958157"/>
                          <a:gd name="connsiteX6" fmla="*/ 56234 w 1235642"/>
                          <a:gd name="connsiteY6" fmla="*/ 958157 h 958157"/>
                          <a:gd name="connsiteX7" fmla="*/ 0 w 1235642"/>
                          <a:gd name="connsiteY7" fmla="*/ 901923 h 958157"/>
                          <a:gd name="connsiteX8" fmla="*/ 207561 w 1235642"/>
                          <a:gd name="connsiteY8" fmla="*/ 562599 h 958157"/>
                          <a:gd name="connsiteX9" fmla="*/ 0 w 1235642"/>
                          <a:gd name="connsiteY9" fmla="*/ 56234 h 958157"/>
                          <a:gd name="connsiteX0" fmla="*/ 0 w 1235642"/>
                          <a:gd name="connsiteY0" fmla="*/ 56234 h 958157"/>
                          <a:gd name="connsiteX1" fmla="*/ 56234 w 1235642"/>
                          <a:gd name="connsiteY1" fmla="*/ 0 h 958157"/>
                          <a:gd name="connsiteX2" fmla="*/ 997633 w 1235642"/>
                          <a:gd name="connsiteY2" fmla="*/ 4156 h 958157"/>
                          <a:gd name="connsiteX3" fmla="*/ 1235642 w 1235642"/>
                          <a:gd name="connsiteY3" fmla="*/ 247187 h 958157"/>
                          <a:gd name="connsiteX4" fmla="*/ 1234463 w 1235642"/>
                          <a:gd name="connsiteY4" fmla="*/ 901923 h 958157"/>
                          <a:gd name="connsiteX5" fmla="*/ 1178229 w 1235642"/>
                          <a:gd name="connsiteY5" fmla="*/ 958157 h 958157"/>
                          <a:gd name="connsiteX6" fmla="*/ 56234 w 1235642"/>
                          <a:gd name="connsiteY6" fmla="*/ 958157 h 958157"/>
                          <a:gd name="connsiteX7" fmla="*/ 0 w 1235642"/>
                          <a:gd name="connsiteY7" fmla="*/ 901923 h 958157"/>
                          <a:gd name="connsiteX8" fmla="*/ 207561 w 1235642"/>
                          <a:gd name="connsiteY8" fmla="*/ 562599 h 958157"/>
                          <a:gd name="connsiteX9" fmla="*/ 0 w 1235642"/>
                          <a:gd name="connsiteY9" fmla="*/ 56234 h 958157"/>
                          <a:gd name="connsiteX0" fmla="*/ 0 w 1235642"/>
                          <a:gd name="connsiteY0" fmla="*/ 56234 h 958157"/>
                          <a:gd name="connsiteX1" fmla="*/ 56234 w 1235642"/>
                          <a:gd name="connsiteY1" fmla="*/ 0 h 958157"/>
                          <a:gd name="connsiteX2" fmla="*/ 980609 w 1235642"/>
                          <a:gd name="connsiteY2" fmla="*/ 4869 h 958157"/>
                          <a:gd name="connsiteX3" fmla="*/ 1235642 w 1235642"/>
                          <a:gd name="connsiteY3" fmla="*/ 247187 h 958157"/>
                          <a:gd name="connsiteX4" fmla="*/ 1234463 w 1235642"/>
                          <a:gd name="connsiteY4" fmla="*/ 901923 h 958157"/>
                          <a:gd name="connsiteX5" fmla="*/ 1178229 w 1235642"/>
                          <a:gd name="connsiteY5" fmla="*/ 958157 h 958157"/>
                          <a:gd name="connsiteX6" fmla="*/ 56234 w 1235642"/>
                          <a:gd name="connsiteY6" fmla="*/ 958157 h 958157"/>
                          <a:gd name="connsiteX7" fmla="*/ 0 w 1235642"/>
                          <a:gd name="connsiteY7" fmla="*/ 901923 h 958157"/>
                          <a:gd name="connsiteX8" fmla="*/ 207561 w 1235642"/>
                          <a:gd name="connsiteY8" fmla="*/ 562599 h 958157"/>
                          <a:gd name="connsiteX9" fmla="*/ 0 w 1235642"/>
                          <a:gd name="connsiteY9" fmla="*/ 56234 h 958157"/>
                          <a:gd name="connsiteX0" fmla="*/ 0 w 1235642"/>
                          <a:gd name="connsiteY0" fmla="*/ 56234 h 958157"/>
                          <a:gd name="connsiteX1" fmla="*/ 56234 w 1235642"/>
                          <a:gd name="connsiteY1" fmla="*/ 0 h 958157"/>
                          <a:gd name="connsiteX2" fmla="*/ 980609 w 1235642"/>
                          <a:gd name="connsiteY2" fmla="*/ 4869 h 958157"/>
                          <a:gd name="connsiteX3" fmla="*/ 1235642 w 1235642"/>
                          <a:gd name="connsiteY3" fmla="*/ 247187 h 958157"/>
                          <a:gd name="connsiteX4" fmla="*/ 1234463 w 1235642"/>
                          <a:gd name="connsiteY4" fmla="*/ 901923 h 958157"/>
                          <a:gd name="connsiteX5" fmla="*/ 1178229 w 1235642"/>
                          <a:gd name="connsiteY5" fmla="*/ 958157 h 958157"/>
                          <a:gd name="connsiteX6" fmla="*/ 56234 w 1235642"/>
                          <a:gd name="connsiteY6" fmla="*/ 958157 h 958157"/>
                          <a:gd name="connsiteX7" fmla="*/ 0 w 1235642"/>
                          <a:gd name="connsiteY7" fmla="*/ 901923 h 958157"/>
                          <a:gd name="connsiteX8" fmla="*/ 207561 w 1235642"/>
                          <a:gd name="connsiteY8" fmla="*/ 562599 h 958157"/>
                          <a:gd name="connsiteX9" fmla="*/ 0 w 1235642"/>
                          <a:gd name="connsiteY9" fmla="*/ 56234 h 958157"/>
                          <a:gd name="connsiteX0" fmla="*/ 0 w 1235642"/>
                          <a:gd name="connsiteY0" fmla="*/ 56234 h 958157"/>
                          <a:gd name="connsiteX1" fmla="*/ 56234 w 1235642"/>
                          <a:gd name="connsiteY1" fmla="*/ 0 h 958157"/>
                          <a:gd name="connsiteX2" fmla="*/ 980609 w 1235642"/>
                          <a:gd name="connsiteY2" fmla="*/ 4869 h 958157"/>
                          <a:gd name="connsiteX3" fmla="*/ 1235642 w 1235642"/>
                          <a:gd name="connsiteY3" fmla="*/ 247187 h 958157"/>
                          <a:gd name="connsiteX4" fmla="*/ 1234463 w 1235642"/>
                          <a:gd name="connsiteY4" fmla="*/ 901923 h 958157"/>
                          <a:gd name="connsiteX5" fmla="*/ 1178229 w 1235642"/>
                          <a:gd name="connsiteY5" fmla="*/ 958157 h 958157"/>
                          <a:gd name="connsiteX6" fmla="*/ 56234 w 1235642"/>
                          <a:gd name="connsiteY6" fmla="*/ 958157 h 958157"/>
                          <a:gd name="connsiteX7" fmla="*/ 0 w 1235642"/>
                          <a:gd name="connsiteY7" fmla="*/ 901923 h 958157"/>
                          <a:gd name="connsiteX8" fmla="*/ 207561 w 1235642"/>
                          <a:gd name="connsiteY8" fmla="*/ 562599 h 958157"/>
                          <a:gd name="connsiteX9" fmla="*/ 0 w 1235642"/>
                          <a:gd name="connsiteY9" fmla="*/ 56234 h 958157"/>
                          <a:gd name="connsiteX0" fmla="*/ 0 w 1235642"/>
                          <a:gd name="connsiteY0" fmla="*/ 56234 h 958157"/>
                          <a:gd name="connsiteX1" fmla="*/ 56234 w 1235642"/>
                          <a:gd name="connsiteY1" fmla="*/ 0 h 958157"/>
                          <a:gd name="connsiteX2" fmla="*/ 980609 w 1235642"/>
                          <a:gd name="connsiteY2" fmla="*/ 4869 h 958157"/>
                          <a:gd name="connsiteX3" fmla="*/ 1235642 w 1235642"/>
                          <a:gd name="connsiteY3" fmla="*/ 247187 h 958157"/>
                          <a:gd name="connsiteX4" fmla="*/ 1234463 w 1235642"/>
                          <a:gd name="connsiteY4" fmla="*/ 901923 h 958157"/>
                          <a:gd name="connsiteX5" fmla="*/ 1178229 w 1235642"/>
                          <a:gd name="connsiteY5" fmla="*/ 958157 h 958157"/>
                          <a:gd name="connsiteX6" fmla="*/ 56234 w 1235642"/>
                          <a:gd name="connsiteY6" fmla="*/ 958157 h 958157"/>
                          <a:gd name="connsiteX7" fmla="*/ 0 w 1235642"/>
                          <a:gd name="connsiteY7" fmla="*/ 901923 h 958157"/>
                          <a:gd name="connsiteX8" fmla="*/ 207561 w 1235642"/>
                          <a:gd name="connsiteY8" fmla="*/ 562599 h 958157"/>
                          <a:gd name="connsiteX9" fmla="*/ 0 w 1235642"/>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80609 w 1242309"/>
                          <a:gd name="connsiteY2" fmla="*/ 4869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53228 w 1242309"/>
                          <a:gd name="connsiteY2" fmla="*/ 2606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7561 w 1242309"/>
                          <a:gd name="connsiteY8" fmla="*/ 5625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30538 w 1242309"/>
                          <a:gd name="connsiteY8" fmla="*/ 541172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193514 w 1242309"/>
                          <a:gd name="connsiteY8" fmla="*/ 552956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6848 w 1242309"/>
                          <a:gd name="connsiteY8" fmla="*/ 545577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2961 w 1242309"/>
                          <a:gd name="connsiteY8" fmla="*/ 527699 h 958157"/>
                          <a:gd name="connsiteX9" fmla="*/ 0 w 1242309"/>
                          <a:gd name="connsiteY9" fmla="*/ 56234 h 958157"/>
                          <a:gd name="connsiteX0" fmla="*/ 0 w 1242309"/>
                          <a:gd name="connsiteY0" fmla="*/ 56234 h 958157"/>
                          <a:gd name="connsiteX1" fmla="*/ 56234 w 1242309"/>
                          <a:gd name="connsiteY1" fmla="*/ 0 h 958157"/>
                          <a:gd name="connsiteX2" fmla="*/ 939895 w 1242309"/>
                          <a:gd name="connsiteY2" fmla="*/ 9987 h 958157"/>
                          <a:gd name="connsiteX3" fmla="*/ 1242309 w 1242309"/>
                          <a:gd name="connsiteY3" fmla="*/ 243497 h 958157"/>
                          <a:gd name="connsiteX4" fmla="*/ 1234463 w 1242309"/>
                          <a:gd name="connsiteY4" fmla="*/ 901923 h 958157"/>
                          <a:gd name="connsiteX5" fmla="*/ 1178229 w 1242309"/>
                          <a:gd name="connsiteY5" fmla="*/ 958157 h 958157"/>
                          <a:gd name="connsiteX6" fmla="*/ 56234 w 1242309"/>
                          <a:gd name="connsiteY6" fmla="*/ 958157 h 958157"/>
                          <a:gd name="connsiteX7" fmla="*/ 0 w 1242309"/>
                          <a:gd name="connsiteY7" fmla="*/ 901923 h 958157"/>
                          <a:gd name="connsiteX8" fmla="*/ 202814 w 1242309"/>
                          <a:gd name="connsiteY8" fmla="*/ 524695 h 958157"/>
                          <a:gd name="connsiteX9" fmla="*/ 0 w 1242309"/>
                          <a:gd name="connsiteY9" fmla="*/ 56234 h 958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2309" h="958157">
                            <a:moveTo>
                              <a:pt x="0" y="56234"/>
                            </a:moveTo>
                            <a:cubicBezTo>
                              <a:pt x="0" y="25177"/>
                              <a:pt x="25177" y="0"/>
                              <a:pt x="56234" y="0"/>
                            </a:cubicBezTo>
                            <a:lnTo>
                              <a:pt x="939895" y="9987"/>
                            </a:lnTo>
                            <a:cubicBezTo>
                              <a:pt x="1075235" y="56777"/>
                              <a:pt x="1179580" y="99105"/>
                              <a:pt x="1242309" y="243497"/>
                            </a:cubicBezTo>
                            <a:cubicBezTo>
                              <a:pt x="1239694" y="462972"/>
                              <a:pt x="1237078" y="682448"/>
                              <a:pt x="1234463" y="901923"/>
                            </a:cubicBezTo>
                            <a:cubicBezTo>
                              <a:pt x="1234463" y="932980"/>
                              <a:pt x="1209286" y="958157"/>
                              <a:pt x="1178229" y="958157"/>
                            </a:cubicBezTo>
                            <a:lnTo>
                              <a:pt x="56234" y="958157"/>
                            </a:lnTo>
                            <a:cubicBezTo>
                              <a:pt x="25177" y="958157"/>
                              <a:pt x="0" y="932980"/>
                              <a:pt x="0" y="901923"/>
                            </a:cubicBezTo>
                            <a:lnTo>
                              <a:pt x="202814" y="524695"/>
                            </a:lnTo>
                            <a:cubicBezTo>
                              <a:pt x="133865" y="361581"/>
                              <a:pt x="68949" y="219348"/>
                              <a:pt x="0" y="56234"/>
                            </a:cubicBezTo>
                            <a:close/>
                          </a:path>
                        </a:pathLst>
                      </a:custGeom>
                      <a:solidFill>
                        <a:srgbClr val="A62626"/>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55" name="Freeform 54"/>
                      <p:cNvSpPr/>
                      <p:nvPr/>
                    </p:nvSpPr>
                    <p:spPr>
                      <a:xfrm rot="-120000">
                        <a:off x="5687211" y="3859429"/>
                        <a:ext cx="1308478" cy="553611"/>
                      </a:xfrm>
                      <a:custGeom>
                        <a:avLst/>
                        <a:gdLst>
                          <a:gd name="connsiteX0" fmla="*/ 1248294 w 1308478"/>
                          <a:gd name="connsiteY0" fmla="*/ 5 h 553611"/>
                          <a:gd name="connsiteX1" fmla="*/ 1308478 w 1308478"/>
                          <a:gd name="connsiteY1" fmla="*/ 58529 h 553611"/>
                          <a:gd name="connsiteX2" fmla="*/ 1153485 w 1308478"/>
                          <a:gd name="connsiteY2" fmla="*/ 429545 h 553611"/>
                          <a:gd name="connsiteX3" fmla="*/ 1102303 w 1308478"/>
                          <a:gd name="connsiteY3" fmla="*/ 553611 h 553611"/>
                          <a:gd name="connsiteX4" fmla="*/ 7230 w 1308478"/>
                          <a:gd name="connsiteY4" fmla="*/ 553611 h 553611"/>
                          <a:gd name="connsiteX5" fmla="*/ 0 w 1308478"/>
                          <a:gd name="connsiteY5" fmla="*/ 274524 h 553611"/>
                          <a:gd name="connsiteX6" fmla="*/ 315748 w 1308478"/>
                          <a:gd name="connsiteY6" fmla="*/ 23592 h 553611"/>
                          <a:gd name="connsiteX7" fmla="*/ 1248294 w 1308478"/>
                          <a:gd name="connsiteY7" fmla="*/ 5 h 553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8478" h="553611">
                            <a:moveTo>
                              <a:pt x="1248294" y="5"/>
                            </a:moveTo>
                            <a:cubicBezTo>
                              <a:pt x="1281074" y="-453"/>
                              <a:pt x="1308020" y="25749"/>
                              <a:pt x="1308478" y="58529"/>
                            </a:cubicBezTo>
                            <a:cubicBezTo>
                              <a:pt x="1255703" y="188417"/>
                              <a:pt x="1205149" y="305873"/>
                              <a:pt x="1153485" y="429545"/>
                            </a:cubicBezTo>
                            <a:lnTo>
                              <a:pt x="1102303" y="553611"/>
                            </a:lnTo>
                            <a:lnTo>
                              <a:pt x="7230" y="553611"/>
                            </a:lnTo>
                            <a:lnTo>
                              <a:pt x="0" y="274524"/>
                            </a:lnTo>
                            <a:cubicBezTo>
                              <a:pt x="64078" y="121194"/>
                              <a:pt x="173588" y="74976"/>
                              <a:pt x="315748" y="23592"/>
                            </a:cubicBezTo>
                            <a:lnTo>
                              <a:pt x="1248294" y="5"/>
                            </a:lnTo>
                            <a:close/>
                          </a:path>
                        </a:pathLst>
                      </a:custGeom>
                      <a:solidFill>
                        <a:srgbClr val="D85454"/>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grpSp>
                <p:grpSp>
                  <p:nvGrpSpPr>
                    <p:cNvPr id="51" name="Group 50"/>
                    <p:cNvGrpSpPr/>
                    <p:nvPr/>
                  </p:nvGrpSpPr>
                  <p:grpSpPr>
                    <a:xfrm rot="18913881">
                      <a:off x="4084525" y="1096826"/>
                      <a:ext cx="1617772" cy="1071324"/>
                      <a:chOff x="5147593" y="3987338"/>
                      <a:chExt cx="1617772" cy="1071324"/>
                    </a:xfrm>
                  </p:grpSpPr>
                  <p:sp>
                    <p:nvSpPr>
                      <p:cNvPr id="52" name="Freeform 51"/>
                      <p:cNvSpPr/>
                      <p:nvPr/>
                    </p:nvSpPr>
                    <p:spPr>
                      <a:xfrm>
                        <a:off x="5155242" y="3987338"/>
                        <a:ext cx="1610123" cy="1071324"/>
                      </a:xfrm>
                      <a:custGeom>
                        <a:avLst/>
                        <a:gdLst>
                          <a:gd name="connsiteX0" fmla="*/ 1335822 w 1610123"/>
                          <a:gd name="connsiteY0" fmla="*/ 345 h 1071324"/>
                          <a:gd name="connsiteX1" fmla="*/ 1478916 w 1610123"/>
                          <a:gd name="connsiteY1" fmla="*/ 126227 h 1071324"/>
                          <a:gd name="connsiteX2" fmla="*/ 1531164 w 1610123"/>
                          <a:gd name="connsiteY2" fmla="*/ 942708 h 1071324"/>
                          <a:gd name="connsiteX3" fmla="*/ 1384173 w 1610123"/>
                          <a:gd name="connsiteY3" fmla="*/ 1067963 h 1071324"/>
                          <a:gd name="connsiteX4" fmla="*/ 449052 w 1610123"/>
                          <a:gd name="connsiteY4" fmla="*/ 1065336 h 1071324"/>
                          <a:gd name="connsiteX5" fmla="*/ 3462 w 1610123"/>
                          <a:gd name="connsiteY5" fmla="*/ 551873 h 1071324"/>
                          <a:gd name="connsiteX6" fmla="*/ 3815 w 1610123"/>
                          <a:gd name="connsiteY6" fmla="*/ 396027 h 1071324"/>
                          <a:gd name="connsiteX7" fmla="*/ 383072 w 1610123"/>
                          <a:gd name="connsiteY7" fmla="*/ 48804 h 1071324"/>
                          <a:gd name="connsiteX8" fmla="*/ 1335822 w 1610123"/>
                          <a:gd name="connsiteY8" fmla="*/ 345 h 1071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0123" h="1071324">
                            <a:moveTo>
                              <a:pt x="1335822" y="345"/>
                            </a:moveTo>
                            <a:cubicBezTo>
                              <a:pt x="1410097" y="-4408"/>
                              <a:pt x="1450098" y="40128"/>
                              <a:pt x="1478916" y="126227"/>
                            </a:cubicBezTo>
                            <a:cubicBezTo>
                              <a:pt x="1591959" y="355747"/>
                              <a:pt x="1680625" y="528483"/>
                              <a:pt x="1531164" y="942708"/>
                            </a:cubicBezTo>
                            <a:cubicBezTo>
                              <a:pt x="1535917" y="1016983"/>
                              <a:pt x="1458449" y="1063210"/>
                              <a:pt x="1384173" y="1067963"/>
                            </a:cubicBezTo>
                            <a:cubicBezTo>
                              <a:pt x="1069510" y="1073104"/>
                              <a:pt x="727828" y="1072439"/>
                              <a:pt x="449052" y="1065336"/>
                            </a:cubicBezTo>
                            <a:cubicBezTo>
                              <a:pt x="389555" y="1040009"/>
                              <a:pt x="89492" y="660575"/>
                              <a:pt x="3462" y="551873"/>
                            </a:cubicBezTo>
                            <a:cubicBezTo>
                              <a:pt x="-1246" y="479598"/>
                              <a:pt x="-1175" y="465498"/>
                              <a:pt x="3815" y="396027"/>
                            </a:cubicBezTo>
                            <a:cubicBezTo>
                              <a:pt x="88884" y="306131"/>
                              <a:pt x="308797" y="53557"/>
                              <a:pt x="383072" y="48804"/>
                            </a:cubicBezTo>
                            <a:lnTo>
                              <a:pt x="1335822" y="345"/>
                            </a:lnTo>
                            <a:close/>
                          </a:path>
                        </a:pathLst>
                      </a:custGeom>
                      <a:solidFill>
                        <a:srgbClr val="D85454"/>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53" name="Freeform 52"/>
                      <p:cNvSpPr/>
                      <p:nvPr/>
                    </p:nvSpPr>
                    <p:spPr>
                      <a:xfrm rot="21480000">
                        <a:off x="5147593" y="4006841"/>
                        <a:ext cx="1592891" cy="420116"/>
                      </a:xfrm>
                      <a:custGeom>
                        <a:avLst/>
                        <a:gdLst>
                          <a:gd name="connsiteX0" fmla="*/ 1351136 w 1592890"/>
                          <a:gd name="connsiteY0" fmla="*/ 72 h 420116"/>
                          <a:gd name="connsiteX1" fmla="*/ 1489750 w 1592890"/>
                          <a:gd name="connsiteY1" fmla="*/ 130871 h 420116"/>
                          <a:gd name="connsiteX2" fmla="*/ 1586578 w 1592890"/>
                          <a:gd name="connsiteY2" fmla="*/ 384388 h 420116"/>
                          <a:gd name="connsiteX3" fmla="*/ 1592890 w 1592890"/>
                          <a:gd name="connsiteY3" fmla="*/ 420116 h 420116"/>
                          <a:gd name="connsiteX4" fmla="*/ 0 w 1592890"/>
                          <a:gd name="connsiteY4" fmla="*/ 420116 h 420116"/>
                          <a:gd name="connsiteX5" fmla="*/ 1793 w 1592890"/>
                          <a:gd name="connsiteY5" fmla="*/ 392396 h 420116"/>
                          <a:gd name="connsiteX6" fmla="*/ 6131 w 1592890"/>
                          <a:gd name="connsiteY6" fmla="*/ 349026 h 420116"/>
                          <a:gd name="connsiteX7" fmla="*/ 397275 w 1592890"/>
                          <a:gd name="connsiteY7" fmla="*/ 15251 h 420116"/>
                          <a:gd name="connsiteX8" fmla="*/ 1351136 w 1592890"/>
                          <a:gd name="connsiteY8" fmla="*/ 72 h 420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2890" h="420116">
                            <a:moveTo>
                              <a:pt x="1351136" y="72"/>
                            </a:moveTo>
                            <a:cubicBezTo>
                              <a:pt x="1425532" y="-2086"/>
                              <a:pt x="1463954" y="43819"/>
                              <a:pt x="1489750" y="130871"/>
                            </a:cubicBezTo>
                            <a:cubicBezTo>
                              <a:pt x="1529111" y="218368"/>
                              <a:pt x="1565325" y="297765"/>
                              <a:pt x="1586578" y="384388"/>
                            </a:cubicBezTo>
                            <a:lnTo>
                              <a:pt x="1592890" y="420116"/>
                            </a:lnTo>
                            <a:lnTo>
                              <a:pt x="0" y="420116"/>
                            </a:lnTo>
                            <a:lnTo>
                              <a:pt x="1793" y="392396"/>
                            </a:lnTo>
                            <a:cubicBezTo>
                              <a:pt x="2854" y="380206"/>
                              <a:pt x="4279" y="366340"/>
                              <a:pt x="6131" y="349026"/>
                            </a:cubicBezTo>
                            <a:cubicBezTo>
                              <a:pt x="94286" y="262154"/>
                              <a:pt x="322880" y="17409"/>
                              <a:pt x="397275" y="15251"/>
                            </a:cubicBezTo>
                            <a:lnTo>
                              <a:pt x="1351136" y="72"/>
                            </a:lnTo>
                            <a:close/>
                          </a:path>
                        </a:pathLst>
                      </a:custGeom>
                      <a:solidFill>
                        <a:srgbClr val="A62626"/>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grpSp>
              </p:grpSp>
              <p:sp>
                <p:nvSpPr>
                  <p:cNvPr id="38" name="Rectangle 13"/>
                  <p:cNvSpPr/>
                  <p:nvPr/>
                </p:nvSpPr>
                <p:spPr>
                  <a:xfrm rot="1545906" flipH="1">
                    <a:off x="4824756" y="3122888"/>
                    <a:ext cx="318241" cy="179673"/>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578644"/>
                      <a:gd name="connsiteY0" fmla="*/ 0 h 368300"/>
                      <a:gd name="connsiteX1" fmla="*/ 571500 w 578644"/>
                      <a:gd name="connsiteY1" fmla="*/ 0 h 368300"/>
                      <a:gd name="connsiteX2" fmla="*/ 578644 w 578644"/>
                      <a:gd name="connsiteY2" fmla="*/ 356394 h 368300"/>
                      <a:gd name="connsiteX3" fmla="*/ 0 w 578644"/>
                      <a:gd name="connsiteY3" fmla="*/ 368300 h 368300"/>
                      <a:gd name="connsiteX4" fmla="*/ 0 w 578644"/>
                      <a:gd name="connsiteY4" fmla="*/ 0 h 368300"/>
                      <a:gd name="connsiteX0" fmla="*/ 0 w 578644"/>
                      <a:gd name="connsiteY0" fmla="*/ 0 h 368300"/>
                      <a:gd name="connsiteX1" fmla="*/ 571500 w 578644"/>
                      <a:gd name="connsiteY1" fmla="*/ 0 h 368300"/>
                      <a:gd name="connsiteX2" fmla="*/ 578644 w 578644"/>
                      <a:gd name="connsiteY2" fmla="*/ 361156 h 368300"/>
                      <a:gd name="connsiteX3" fmla="*/ 0 w 578644"/>
                      <a:gd name="connsiteY3" fmla="*/ 368300 h 368300"/>
                      <a:gd name="connsiteX4" fmla="*/ 0 w 578644"/>
                      <a:gd name="connsiteY4" fmla="*/ 0 h 368300"/>
                      <a:gd name="connsiteX0" fmla="*/ 0 w 578644"/>
                      <a:gd name="connsiteY0" fmla="*/ 0 h 368300"/>
                      <a:gd name="connsiteX1" fmla="*/ 240506 w 578644"/>
                      <a:gd name="connsiteY1" fmla="*/ 159544 h 368300"/>
                      <a:gd name="connsiteX2" fmla="*/ 578644 w 578644"/>
                      <a:gd name="connsiteY2" fmla="*/ 361156 h 368300"/>
                      <a:gd name="connsiteX3" fmla="*/ 0 w 578644"/>
                      <a:gd name="connsiteY3" fmla="*/ 368300 h 368300"/>
                      <a:gd name="connsiteX4" fmla="*/ 0 w 578644"/>
                      <a:gd name="connsiteY4" fmla="*/ 0 h 368300"/>
                      <a:gd name="connsiteX0" fmla="*/ 0 w 578644"/>
                      <a:gd name="connsiteY0" fmla="*/ 0 h 361156"/>
                      <a:gd name="connsiteX1" fmla="*/ 240506 w 578644"/>
                      <a:gd name="connsiteY1" fmla="*/ 159544 h 361156"/>
                      <a:gd name="connsiteX2" fmla="*/ 578644 w 578644"/>
                      <a:gd name="connsiteY2" fmla="*/ 361156 h 361156"/>
                      <a:gd name="connsiteX3" fmla="*/ 195262 w 578644"/>
                      <a:gd name="connsiteY3" fmla="*/ 215900 h 361156"/>
                      <a:gd name="connsiteX4" fmla="*/ 0 w 578644"/>
                      <a:gd name="connsiteY4" fmla="*/ 0 h 361156"/>
                      <a:gd name="connsiteX0" fmla="*/ 0 w 578644"/>
                      <a:gd name="connsiteY0" fmla="*/ 0 h 361156"/>
                      <a:gd name="connsiteX1" fmla="*/ 240506 w 578644"/>
                      <a:gd name="connsiteY1" fmla="*/ 159544 h 361156"/>
                      <a:gd name="connsiteX2" fmla="*/ 578644 w 578644"/>
                      <a:gd name="connsiteY2" fmla="*/ 361156 h 361156"/>
                      <a:gd name="connsiteX3" fmla="*/ 195262 w 578644"/>
                      <a:gd name="connsiteY3" fmla="*/ 215900 h 361156"/>
                      <a:gd name="connsiteX4" fmla="*/ 0 w 578644"/>
                      <a:gd name="connsiteY4" fmla="*/ 0 h 361156"/>
                      <a:gd name="connsiteX0" fmla="*/ 0 w 578644"/>
                      <a:gd name="connsiteY0" fmla="*/ 0 h 361156"/>
                      <a:gd name="connsiteX1" fmla="*/ 240506 w 578644"/>
                      <a:gd name="connsiteY1" fmla="*/ 159544 h 361156"/>
                      <a:gd name="connsiteX2" fmla="*/ 578644 w 578644"/>
                      <a:gd name="connsiteY2" fmla="*/ 361156 h 361156"/>
                      <a:gd name="connsiteX3" fmla="*/ 195262 w 578644"/>
                      <a:gd name="connsiteY3" fmla="*/ 215900 h 361156"/>
                      <a:gd name="connsiteX4" fmla="*/ 0 w 578644"/>
                      <a:gd name="connsiteY4" fmla="*/ 0 h 361156"/>
                      <a:gd name="connsiteX0" fmla="*/ 0 w 578644"/>
                      <a:gd name="connsiteY0" fmla="*/ 0 h 361156"/>
                      <a:gd name="connsiteX1" fmla="*/ 240506 w 578644"/>
                      <a:gd name="connsiteY1" fmla="*/ 159544 h 361156"/>
                      <a:gd name="connsiteX2" fmla="*/ 578644 w 578644"/>
                      <a:gd name="connsiteY2" fmla="*/ 361156 h 361156"/>
                      <a:gd name="connsiteX3" fmla="*/ 195262 w 578644"/>
                      <a:gd name="connsiteY3" fmla="*/ 215900 h 361156"/>
                      <a:gd name="connsiteX4" fmla="*/ 0 w 578644"/>
                      <a:gd name="connsiteY4" fmla="*/ 0 h 361156"/>
                      <a:gd name="connsiteX0" fmla="*/ 0 w 578644"/>
                      <a:gd name="connsiteY0" fmla="*/ 0 h 361156"/>
                      <a:gd name="connsiteX1" fmla="*/ 240506 w 578644"/>
                      <a:gd name="connsiteY1" fmla="*/ 159544 h 361156"/>
                      <a:gd name="connsiteX2" fmla="*/ 578644 w 578644"/>
                      <a:gd name="connsiteY2" fmla="*/ 361156 h 361156"/>
                      <a:gd name="connsiteX3" fmla="*/ 195262 w 578644"/>
                      <a:gd name="connsiteY3" fmla="*/ 215900 h 361156"/>
                      <a:gd name="connsiteX4" fmla="*/ 0 w 578644"/>
                      <a:gd name="connsiteY4" fmla="*/ 0 h 361156"/>
                      <a:gd name="connsiteX0" fmla="*/ 0 w 578644"/>
                      <a:gd name="connsiteY0" fmla="*/ 0 h 361156"/>
                      <a:gd name="connsiteX1" fmla="*/ 240506 w 578644"/>
                      <a:gd name="connsiteY1" fmla="*/ 159544 h 361156"/>
                      <a:gd name="connsiteX2" fmla="*/ 578644 w 578644"/>
                      <a:gd name="connsiteY2" fmla="*/ 361156 h 361156"/>
                      <a:gd name="connsiteX3" fmla="*/ 195262 w 578644"/>
                      <a:gd name="connsiteY3" fmla="*/ 215900 h 361156"/>
                      <a:gd name="connsiteX4" fmla="*/ 0 w 578644"/>
                      <a:gd name="connsiteY4" fmla="*/ 0 h 361156"/>
                      <a:gd name="connsiteX0" fmla="*/ 0 w 578644"/>
                      <a:gd name="connsiteY0" fmla="*/ 0 h 361156"/>
                      <a:gd name="connsiteX1" fmla="*/ 240506 w 578644"/>
                      <a:gd name="connsiteY1" fmla="*/ 159544 h 361156"/>
                      <a:gd name="connsiteX2" fmla="*/ 578644 w 578644"/>
                      <a:gd name="connsiteY2" fmla="*/ 361156 h 361156"/>
                      <a:gd name="connsiteX3" fmla="*/ 195262 w 578644"/>
                      <a:gd name="connsiteY3" fmla="*/ 215900 h 361156"/>
                      <a:gd name="connsiteX4" fmla="*/ 0 w 578644"/>
                      <a:gd name="connsiteY4" fmla="*/ 0 h 361156"/>
                      <a:gd name="connsiteX0" fmla="*/ 0 w 559594"/>
                      <a:gd name="connsiteY0" fmla="*/ 0 h 346869"/>
                      <a:gd name="connsiteX1" fmla="*/ 240506 w 559594"/>
                      <a:gd name="connsiteY1" fmla="*/ 159544 h 346869"/>
                      <a:gd name="connsiteX2" fmla="*/ 559594 w 559594"/>
                      <a:gd name="connsiteY2" fmla="*/ 346869 h 346869"/>
                      <a:gd name="connsiteX3" fmla="*/ 195262 w 559594"/>
                      <a:gd name="connsiteY3" fmla="*/ 215900 h 346869"/>
                      <a:gd name="connsiteX4" fmla="*/ 0 w 559594"/>
                      <a:gd name="connsiteY4" fmla="*/ 0 h 346869"/>
                      <a:gd name="connsiteX0" fmla="*/ 0 w 559594"/>
                      <a:gd name="connsiteY0" fmla="*/ 0 h 346869"/>
                      <a:gd name="connsiteX1" fmla="*/ 240506 w 559594"/>
                      <a:gd name="connsiteY1" fmla="*/ 159544 h 346869"/>
                      <a:gd name="connsiteX2" fmla="*/ 559594 w 559594"/>
                      <a:gd name="connsiteY2" fmla="*/ 346869 h 346869"/>
                      <a:gd name="connsiteX3" fmla="*/ 195262 w 559594"/>
                      <a:gd name="connsiteY3" fmla="*/ 215900 h 346869"/>
                      <a:gd name="connsiteX4" fmla="*/ 0 w 559594"/>
                      <a:gd name="connsiteY4" fmla="*/ 0 h 346869"/>
                      <a:gd name="connsiteX0" fmla="*/ 0 w 559594"/>
                      <a:gd name="connsiteY0" fmla="*/ 0 h 346869"/>
                      <a:gd name="connsiteX1" fmla="*/ 240506 w 559594"/>
                      <a:gd name="connsiteY1" fmla="*/ 159544 h 346869"/>
                      <a:gd name="connsiteX2" fmla="*/ 559594 w 559594"/>
                      <a:gd name="connsiteY2" fmla="*/ 346869 h 346869"/>
                      <a:gd name="connsiteX3" fmla="*/ 195262 w 559594"/>
                      <a:gd name="connsiteY3" fmla="*/ 215900 h 346869"/>
                      <a:gd name="connsiteX4" fmla="*/ 0 w 559594"/>
                      <a:gd name="connsiteY4" fmla="*/ 0 h 346869"/>
                      <a:gd name="connsiteX0" fmla="*/ 0 w 559594"/>
                      <a:gd name="connsiteY0" fmla="*/ 0 h 346869"/>
                      <a:gd name="connsiteX1" fmla="*/ 240506 w 559594"/>
                      <a:gd name="connsiteY1" fmla="*/ 159544 h 346869"/>
                      <a:gd name="connsiteX2" fmla="*/ 559594 w 559594"/>
                      <a:gd name="connsiteY2" fmla="*/ 346869 h 346869"/>
                      <a:gd name="connsiteX3" fmla="*/ 195262 w 559594"/>
                      <a:gd name="connsiteY3" fmla="*/ 215900 h 346869"/>
                      <a:gd name="connsiteX4" fmla="*/ 0 w 559594"/>
                      <a:gd name="connsiteY4" fmla="*/ 0 h 346869"/>
                      <a:gd name="connsiteX0" fmla="*/ 0 w 559594"/>
                      <a:gd name="connsiteY0" fmla="*/ 0 h 346869"/>
                      <a:gd name="connsiteX1" fmla="*/ 240506 w 559594"/>
                      <a:gd name="connsiteY1" fmla="*/ 159544 h 346869"/>
                      <a:gd name="connsiteX2" fmla="*/ 559594 w 559594"/>
                      <a:gd name="connsiteY2" fmla="*/ 346869 h 346869"/>
                      <a:gd name="connsiteX3" fmla="*/ 195262 w 559594"/>
                      <a:gd name="connsiteY3" fmla="*/ 215900 h 346869"/>
                      <a:gd name="connsiteX4" fmla="*/ 0 w 559594"/>
                      <a:gd name="connsiteY4" fmla="*/ 0 h 346869"/>
                      <a:gd name="connsiteX0" fmla="*/ 0 w 559594"/>
                      <a:gd name="connsiteY0" fmla="*/ 0 h 346869"/>
                      <a:gd name="connsiteX1" fmla="*/ 240506 w 559594"/>
                      <a:gd name="connsiteY1" fmla="*/ 159544 h 346869"/>
                      <a:gd name="connsiteX2" fmla="*/ 559594 w 559594"/>
                      <a:gd name="connsiteY2" fmla="*/ 346869 h 346869"/>
                      <a:gd name="connsiteX3" fmla="*/ 195262 w 559594"/>
                      <a:gd name="connsiteY3" fmla="*/ 215900 h 346869"/>
                      <a:gd name="connsiteX4" fmla="*/ 0 w 559594"/>
                      <a:gd name="connsiteY4" fmla="*/ 0 h 346869"/>
                      <a:gd name="connsiteX0" fmla="*/ 0 w 559594"/>
                      <a:gd name="connsiteY0" fmla="*/ 0 h 346869"/>
                      <a:gd name="connsiteX1" fmla="*/ 219075 w 559594"/>
                      <a:gd name="connsiteY1" fmla="*/ 147638 h 346869"/>
                      <a:gd name="connsiteX2" fmla="*/ 559594 w 559594"/>
                      <a:gd name="connsiteY2" fmla="*/ 346869 h 346869"/>
                      <a:gd name="connsiteX3" fmla="*/ 195262 w 559594"/>
                      <a:gd name="connsiteY3" fmla="*/ 215900 h 346869"/>
                      <a:gd name="connsiteX4" fmla="*/ 0 w 559594"/>
                      <a:gd name="connsiteY4" fmla="*/ 0 h 346869"/>
                      <a:gd name="connsiteX0" fmla="*/ 0 w 559594"/>
                      <a:gd name="connsiteY0" fmla="*/ 0 h 346869"/>
                      <a:gd name="connsiteX1" fmla="*/ 219075 w 559594"/>
                      <a:gd name="connsiteY1" fmla="*/ 147638 h 346869"/>
                      <a:gd name="connsiteX2" fmla="*/ 559594 w 559594"/>
                      <a:gd name="connsiteY2" fmla="*/ 346869 h 346869"/>
                      <a:gd name="connsiteX3" fmla="*/ 183355 w 559594"/>
                      <a:gd name="connsiteY3" fmla="*/ 208756 h 346869"/>
                      <a:gd name="connsiteX4" fmla="*/ 0 w 559594"/>
                      <a:gd name="connsiteY4" fmla="*/ 0 h 346869"/>
                      <a:gd name="connsiteX0" fmla="*/ 0 w 376239"/>
                      <a:gd name="connsiteY0" fmla="*/ 61118 h 199231"/>
                      <a:gd name="connsiteX1" fmla="*/ 35720 w 376239"/>
                      <a:gd name="connsiteY1" fmla="*/ 0 h 199231"/>
                      <a:gd name="connsiteX2" fmla="*/ 376239 w 376239"/>
                      <a:gd name="connsiteY2" fmla="*/ 199231 h 199231"/>
                      <a:gd name="connsiteX3" fmla="*/ 0 w 376239"/>
                      <a:gd name="connsiteY3" fmla="*/ 61118 h 199231"/>
                      <a:gd name="connsiteX0" fmla="*/ 0 w 376239"/>
                      <a:gd name="connsiteY0" fmla="*/ 61118 h 199231"/>
                      <a:gd name="connsiteX1" fmla="*/ 35720 w 376239"/>
                      <a:gd name="connsiteY1" fmla="*/ 0 h 199231"/>
                      <a:gd name="connsiteX2" fmla="*/ 376239 w 376239"/>
                      <a:gd name="connsiteY2" fmla="*/ 199231 h 199231"/>
                      <a:gd name="connsiteX3" fmla="*/ 0 w 376239"/>
                      <a:gd name="connsiteY3" fmla="*/ 61118 h 199231"/>
                      <a:gd name="connsiteX0" fmla="*/ 0 w 376239"/>
                      <a:gd name="connsiteY0" fmla="*/ 61118 h 199231"/>
                      <a:gd name="connsiteX1" fmla="*/ 35720 w 376239"/>
                      <a:gd name="connsiteY1" fmla="*/ 0 h 199231"/>
                      <a:gd name="connsiteX2" fmla="*/ 376239 w 376239"/>
                      <a:gd name="connsiteY2" fmla="*/ 199231 h 199231"/>
                      <a:gd name="connsiteX3" fmla="*/ 0 w 376239"/>
                      <a:gd name="connsiteY3" fmla="*/ 61118 h 199231"/>
                      <a:gd name="connsiteX0" fmla="*/ 0 w 376239"/>
                      <a:gd name="connsiteY0" fmla="*/ 76993 h 215106"/>
                      <a:gd name="connsiteX1" fmla="*/ 42070 w 376239"/>
                      <a:gd name="connsiteY1" fmla="*/ 0 h 215106"/>
                      <a:gd name="connsiteX2" fmla="*/ 376239 w 376239"/>
                      <a:gd name="connsiteY2" fmla="*/ 215106 h 215106"/>
                      <a:gd name="connsiteX3" fmla="*/ 0 w 376239"/>
                      <a:gd name="connsiteY3" fmla="*/ 76993 h 215106"/>
                      <a:gd name="connsiteX0" fmla="*/ 0 w 376239"/>
                      <a:gd name="connsiteY0" fmla="*/ 76993 h 215106"/>
                      <a:gd name="connsiteX1" fmla="*/ 35720 w 376239"/>
                      <a:gd name="connsiteY1" fmla="*/ 0 h 215106"/>
                      <a:gd name="connsiteX2" fmla="*/ 376239 w 376239"/>
                      <a:gd name="connsiteY2" fmla="*/ 215106 h 215106"/>
                      <a:gd name="connsiteX3" fmla="*/ 0 w 376239"/>
                      <a:gd name="connsiteY3" fmla="*/ 76993 h 215106"/>
                      <a:gd name="connsiteX0" fmla="*/ 0 w 381002"/>
                      <a:gd name="connsiteY0" fmla="*/ 76993 h 215106"/>
                      <a:gd name="connsiteX1" fmla="*/ 40483 w 381002"/>
                      <a:gd name="connsiteY1" fmla="*/ 0 h 215106"/>
                      <a:gd name="connsiteX2" fmla="*/ 381002 w 381002"/>
                      <a:gd name="connsiteY2" fmla="*/ 215106 h 215106"/>
                      <a:gd name="connsiteX3" fmla="*/ 0 w 381002"/>
                      <a:gd name="connsiteY3" fmla="*/ 76993 h 215106"/>
                    </a:gdLst>
                    <a:ahLst/>
                    <a:cxnLst>
                      <a:cxn ang="0">
                        <a:pos x="connsiteX0" y="connsiteY0"/>
                      </a:cxn>
                      <a:cxn ang="0">
                        <a:pos x="connsiteX1" y="connsiteY1"/>
                      </a:cxn>
                      <a:cxn ang="0">
                        <a:pos x="connsiteX2" y="connsiteY2"/>
                      </a:cxn>
                      <a:cxn ang="0">
                        <a:pos x="connsiteX3" y="connsiteY3"/>
                      </a:cxn>
                    </a:cxnLst>
                    <a:rect l="l" t="t" r="r" b="b"/>
                    <a:pathLst>
                      <a:path w="381002" h="215106">
                        <a:moveTo>
                          <a:pt x="0" y="76993"/>
                        </a:moveTo>
                        <a:cubicBezTo>
                          <a:pt x="19051" y="61382"/>
                          <a:pt x="33338" y="27516"/>
                          <a:pt x="40483" y="0"/>
                        </a:cubicBezTo>
                        <a:cubicBezTo>
                          <a:pt x="153196" y="67204"/>
                          <a:pt x="299244" y="155046"/>
                          <a:pt x="381002" y="215106"/>
                        </a:cubicBezTo>
                        <a:cubicBezTo>
                          <a:pt x="293689" y="202405"/>
                          <a:pt x="130175" y="139699"/>
                          <a:pt x="0" y="76993"/>
                        </a:cubicBezTo>
                        <a:close/>
                      </a:path>
                    </a:pathLst>
                  </a:custGeom>
                  <a:solidFill>
                    <a:srgbClr val="D9D9D9"/>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39" name="Rectangle 15"/>
                  <p:cNvSpPr/>
                  <p:nvPr/>
                </p:nvSpPr>
                <p:spPr>
                  <a:xfrm rot="1545906" flipH="1">
                    <a:off x="5155839" y="3113253"/>
                    <a:ext cx="278462" cy="218126"/>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31031"/>
                      <a:gd name="connsiteY0" fmla="*/ 0 h 368300"/>
                      <a:gd name="connsiteX1" fmla="*/ 631031 w 631031"/>
                      <a:gd name="connsiteY1" fmla="*/ 259556 h 368300"/>
                      <a:gd name="connsiteX2" fmla="*/ 571500 w 631031"/>
                      <a:gd name="connsiteY2" fmla="*/ 368300 h 368300"/>
                      <a:gd name="connsiteX3" fmla="*/ 0 w 631031"/>
                      <a:gd name="connsiteY3" fmla="*/ 368300 h 368300"/>
                      <a:gd name="connsiteX4" fmla="*/ 0 w 631031"/>
                      <a:gd name="connsiteY4" fmla="*/ 0 h 368300"/>
                      <a:gd name="connsiteX0" fmla="*/ 366712 w 631031"/>
                      <a:gd name="connsiteY0" fmla="*/ 0 h 258763"/>
                      <a:gd name="connsiteX1" fmla="*/ 631031 w 631031"/>
                      <a:gd name="connsiteY1" fmla="*/ 150019 h 258763"/>
                      <a:gd name="connsiteX2" fmla="*/ 571500 w 631031"/>
                      <a:gd name="connsiteY2" fmla="*/ 258763 h 258763"/>
                      <a:gd name="connsiteX3" fmla="*/ 0 w 631031"/>
                      <a:gd name="connsiteY3" fmla="*/ 258763 h 258763"/>
                      <a:gd name="connsiteX4" fmla="*/ 366712 w 631031"/>
                      <a:gd name="connsiteY4" fmla="*/ 0 h 258763"/>
                      <a:gd name="connsiteX0" fmla="*/ 111919 w 376238"/>
                      <a:gd name="connsiteY0" fmla="*/ 0 h 258763"/>
                      <a:gd name="connsiteX1" fmla="*/ 376238 w 376238"/>
                      <a:gd name="connsiteY1" fmla="*/ 150019 h 258763"/>
                      <a:gd name="connsiteX2" fmla="*/ 316707 w 376238"/>
                      <a:gd name="connsiteY2" fmla="*/ 258763 h 258763"/>
                      <a:gd name="connsiteX3" fmla="*/ 0 w 376238"/>
                      <a:gd name="connsiteY3" fmla="*/ 146844 h 258763"/>
                      <a:gd name="connsiteX4" fmla="*/ 111919 w 376238"/>
                      <a:gd name="connsiteY4" fmla="*/ 0 h 258763"/>
                      <a:gd name="connsiteX0" fmla="*/ 111919 w 376238"/>
                      <a:gd name="connsiteY0" fmla="*/ 0 h 258763"/>
                      <a:gd name="connsiteX1" fmla="*/ 376238 w 376238"/>
                      <a:gd name="connsiteY1" fmla="*/ 150019 h 258763"/>
                      <a:gd name="connsiteX2" fmla="*/ 316707 w 376238"/>
                      <a:gd name="connsiteY2" fmla="*/ 258763 h 258763"/>
                      <a:gd name="connsiteX3" fmla="*/ 0 w 376238"/>
                      <a:gd name="connsiteY3" fmla="*/ 146844 h 258763"/>
                      <a:gd name="connsiteX4" fmla="*/ 111919 w 376238"/>
                      <a:gd name="connsiteY4" fmla="*/ 0 h 258763"/>
                      <a:gd name="connsiteX0" fmla="*/ 111919 w 376238"/>
                      <a:gd name="connsiteY0" fmla="*/ 0 h 258763"/>
                      <a:gd name="connsiteX1" fmla="*/ 376238 w 376238"/>
                      <a:gd name="connsiteY1" fmla="*/ 150019 h 258763"/>
                      <a:gd name="connsiteX2" fmla="*/ 316707 w 376238"/>
                      <a:gd name="connsiteY2" fmla="*/ 258763 h 258763"/>
                      <a:gd name="connsiteX3" fmla="*/ 0 w 376238"/>
                      <a:gd name="connsiteY3" fmla="*/ 146844 h 258763"/>
                      <a:gd name="connsiteX4" fmla="*/ 111919 w 376238"/>
                      <a:gd name="connsiteY4" fmla="*/ 0 h 258763"/>
                      <a:gd name="connsiteX0" fmla="*/ 111919 w 376238"/>
                      <a:gd name="connsiteY0" fmla="*/ 0 h 258763"/>
                      <a:gd name="connsiteX1" fmla="*/ 376238 w 376238"/>
                      <a:gd name="connsiteY1" fmla="*/ 150019 h 258763"/>
                      <a:gd name="connsiteX2" fmla="*/ 316707 w 376238"/>
                      <a:gd name="connsiteY2" fmla="*/ 258763 h 258763"/>
                      <a:gd name="connsiteX3" fmla="*/ 0 w 376238"/>
                      <a:gd name="connsiteY3" fmla="*/ 146844 h 258763"/>
                      <a:gd name="connsiteX4" fmla="*/ 111919 w 376238"/>
                      <a:gd name="connsiteY4" fmla="*/ 0 h 258763"/>
                      <a:gd name="connsiteX0" fmla="*/ 104776 w 369095"/>
                      <a:gd name="connsiteY0" fmla="*/ 0 h 258763"/>
                      <a:gd name="connsiteX1" fmla="*/ 369095 w 369095"/>
                      <a:gd name="connsiteY1" fmla="*/ 150019 h 258763"/>
                      <a:gd name="connsiteX2" fmla="*/ 309564 w 369095"/>
                      <a:gd name="connsiteY2" fmla="*/ 258763 h 258763"/>
                      <a:gd name="connsiteX3" fmla="*/ 0 w 369095"/>
                      <a:gd name="connsiteY3" fmla="*/ 139700 h 258763"/>
                      <a:gd name="connsiteX4" fmla="*/ 104776 w 369095"/>
                      <a:gd name="connsiteY4" fmla="*/ 0 h 258763"/>
                      <a:gd name="connsiteX0" fmla="*/ 104776 w 369095"/>
                      <a:gd name="connsiteY0" fmla="*/ 0 h 258763"/>
                      <a:gd name="connsiteX1" fmla="*/ 369095 w 369095"/>
                      <a:gd name="connsiteY1" fmla="*/ 150019 h 258763"/>
                      <a:gd name="connsiteX2" fmla="*/ 309564 w 369095"/>
                      <a:gd name="connsiteY2" fmla="*/ 258763 h 258763"/>
                      <a:gd name="connsiteX3" fmla="*/ 0 w 369095"/>
                      <a:gd name="connsiteY3" fmla="*/ 139700 h 258763"/>
                      <a:gd name="connsiteX4" fmla="*/ 104776 w 369095"/>
                      <a:gd name="connsiteY4" fmla="*/ 0 h 258763"/>
                      <a:gd name="connsiteX0" fmla="*/ 104776 w 369095"/>
                      <a:gd name="connsiteY0" fmla="*/ 0 h 206375"/>
                      <a:gd name="connsiteX1" fmla="*/ 369095 w 369095"/>
                      <a:gd name="connsiteY1" fmla="*/ 150019 h 206375"/>
                      <a:gd name="connsiteX2" fmla="*/ 230983 w 369095"/>
                      <a:gd name="connsiteY2" fmla="*/ 206375 h 206375"/>
                      <a:gd name="connsiteX3" fmla="*/ 0 w 369095"/>
                      <a:gd name="connsiteY3" fmla="*/ 139700 h 206375"/>
                      <a:gd name="connsiteX4" fmla="*/ 104776 w 369095"/>
                      <a:gd name="connsiteY4" fmla="*/ 0 h 206375"/>
                      <a:gd name="connsiteX0" fmla="*/ 104776 w 369095"/>
                      <a:gd name="connsiteY0" fmla="*/ 0 h 261144"/>
                      <a:gd name="connsiteX1" fmla="*/ 369095 w 369095"/>
                      <a:gd name="connsiteY1" fmla="*/ 150019 h 261144"/>
                      <a:gd name="connsiteX2" fmla="*/ 278608 w 369095"/>
                      <a:gd name="connsiteY2" fmla="*/ 261144 h 261144"/>
                      <a:gd name="connsiteX3" fmla="*/ 0 w 369095"/>
                      <a:gd name="connsiteY3" fmla="*/ 139700 h 261144"/>
                      <a:gd name="connsiteX4" fmla="*/ 104776 w 369095"/>
                      <a:gd name="connsiteY4" fmla="*/ 0 h 261144"/>
                      <a:gd name="connsiteX0" fmla="*/ 104776 w 369095"/>
                      <a:gd name="connsiteY0" fmla="*/ 0 h 263525"/>
                      <a:gd name="connsiteX1" fmla="*/ 369095 w 369095"/>
                      <a:gd name="connsiteY1" fmla="*/ 150019 h 263525"/>
                      <a:gd name="connsiteX2" fmla="*/ 271464 w 369095"/>
                      <a:gd name="connsiteY2" fmla="*/ 263525 h 263525"/>
                      <a:gd name="connsiteX3" fmla="*/ 0 w 369095"/>
                      <a:gd name="connsiteY3" fmla="*/ 139700 h 263525"/>
                      <a:gd name="connsiteX4" fmla="*/ 104776 w 369095"/>
                      <a:gd name="connsiteY4" fmla="*/ 0 h 263525"/>
                      <a:gd name="connsiteX0" fmla="*/ 104776 w 302420"/>
                      <a:gd name="connsiteY0" fmla="*/ 0 h 263525"/>
                      <a:gd name="connsiteX1" fmla="*/ 302420 w 302420"/>
                      <a:gd name="connsiteY1" fmla="*/ 78581 h 263525"/>
                      <a:gd name="connsiteX2" fmla="*/ 271464 w 302420"/>
                      <a:gd name="connsiteY2" fmla="*/ 263525 h 263525"/>
                      <a:gd name="connsiteX3" fmla="*/ 0 w 302420"/>
                      <a:gd name="connsiteY3" fmla="*/ 139700 h 263525"/>
                      <a:gd name="connsiteX4" fmla="*/ 104776 w 302420"/>
                      <a:gd name="connsiteY4" fmla="*/ 0 h 263525"/>
                      <a:gd name="connsiteX0" fmla="*/ 104776 w 354807"/>
                      <a:gd name="connsiteY0" fmla="*/ 0 h 263525"/>
                      <a:gd name="connsiteX1" fmla="*/ 354807 w 354807"/>
                      <a:gd name="connsiteY1" fmla="*/ 135731 h 263525"/>
                      <a:gd name="connsiteX2" fmla="*/ 271464 w 354807"/>
                      <a:gd name="connsiteY2" fmla="*/ 263525 h 263525"/>
                      <a:gd name="connsiteX3" fmla="*/ 0 w 354807"/>
                      <a:gd name="connsiteY3" fmla="*/ 139700 h 263525"/>
                      <a:gd name="connsiteX4" fmla="*/ 104776 w 354807"/>
                      <a:gd name="connsiteY4" fmla="*/ 0 h 263525"/>
                      <a:gd name="connsiteX0" fmla="*/ 104776 w 359570"/>
                      <a:gd name="connsiteY0" fmla="*/ 0 h 263525"/>
                      <a:gd name="connsiteX1" fmla="*/ 359570 w 359570"/>
                      <a:gd name="connsiteY1" fmla="*/ 135731 h 263525"/>
                      <a:gd name="connsiteX2" fmla="*/ 271464 w 359570"/>
                      <a:gd name="connsiteY2" fmla="*/ 263525 h 263525"/>
                      <a:gd name="connsiteX3" fmla="*/ 0 w 359570"/>
                      <a:gd name="connsiteY3" fmla="*/ 139700 h 263525"/>
                      <a:gd name="connsiteX4" fmla="*/ 104776 w 359570"/>
                      <a:gd name="connsiteY4" fmla="*/ 0 h 263525"/>
                      <a:gd name="connsiteX0" fmla="*/ 104776 w 359570"/>
                      <a:gd name="connsiteY0" fmla="*/ 0 h 263525"/>
                      <a:gd name="connsiteX1" fmla="*/ 359570 w 359570"/>
                      <a:gd name="connsiteY1" fmla="*/ 135731 h 263525"/>
                      <a:gd name="connsiteX2" fmla="*/ 271464 w 359570"/>
                      <a:gd name="connsiteY2" fmla="*/ 263525 h 263525"/>
                      <a:gd name="connsiteX3" fmla="*/ 0 w 359570"/>
                      <a:gd name="connsiteY3" fmla="*/ 139700 h 263525"/>
                      <a:gd name="connsiteX4" fmla="*/ 104776 w 359570"/>
                      <a:gd name="connsiteY4" fmla="*/ 0 h 263525"/>
                      <a:gd name="connsiteX0" fmla="*/ 104776 w 359570"/>
                      <a:gd name="connsiteY0" fmla="*/ 0 h 263525"/>
                      <a:gd name="connsiteX1" fmla="*/ 359570 w 359570"/>
                      <a:gd name="connsiteY1" fmla="*/ 135731 h 263525"/>
                      <a:gd name="connsiteX2" fmla="*/ 271464 w 359570"/>
                      <a:gd name="connsiteY2" fmla="*/ 263525 h 263525"/>
                      <a:gd name="connsiteX3" fmla="*/ 0 w 359570"/>
                      <a:gd name="connsiteY3" fmla="*/ 139700 h 263525"/>
                      <a:gd name="connsiteX4" fmla="*/ 104776 w 359570"/>
                      <a:gd name="connsiteY4" fmla="*/ 0 h 263525"/>
                      <a:gd name="connsiteX0" fmla="*/ 104776 w 359570"/>
                      <a:gd name="connsiteY0" fmla="*/ 0 h 263525"/>
                      <a:gd name="connsiteX1" fmla="*/ 359570 w 359570"/>
                      <a:gd name="connsiteY1" fmla="*/ 135731 h 263525"/>
                      <a:gd name="connsiteX2" fmla="*/ 271464 w 359570"/>
                      <a:gd name="connsiteY2" fmla="*/ 263525 h 263525"/>
                      <a:gd name="connsiteX3" fmla="*/ 0 w 359570"/>
                      <a:gd name="connsiteY3" fmla="*/ 139700 h 263525"/>
                      <a:gd name="connsiteX4" fmla="*/ 104776 w 359570"/>
                      <a:gd name="connsiteY4" fmla="*/ 0 h 263525"/>
                      <a:gd name="connsiteX0" fmla="*/ 104776 w 359570"/>
                      <a:gd name="connsiteY0" fmla="*/ 0 h 263525"/>
                      <a:gd name="connsiteX1" fmla="*/ 359570 w 359570"/>
                      <a:gd name="connsiteY1" fmla="*/ 135731 h 263525"/>
                      <a:gd name="connsiteX2" fmla="*/ 271464 w 359570"/>
                      <a:gd name="connsiteY2" fmla="*/ 263525 h 263525"/>
                      <a:gd name="connsiteX3" fmla="*/ 0 w 359570"/>
                      <a:gd name="connsiteY3" fmla="*/ 139700 h 263525"/>
                      <a:gd name="connsiteX4" fmla="*/ 104776 w 359570"/>
                      <a:gd name="connsiteY4" fmla="*/ 0 h 263525"/>
                      <a:gd name="connsiteX0" fmla="*/ 104776 w 300039"/>
                      <a:gd name="connsiteY0" fmla="*/ 0 h 263525"/>
                      <a:gd name="connsiteX1" fmla="*/ 300039 w 300039"/>
                      <a:gd name="connsiteY1" fmla="*/ 97631 h 263525"/>
                      <a:gd name="connsiteX2" fmla="*/ 271464 w 300039"/>
                      <a:gd name="connsiteY2" fmla="*/ 263525 h 263525"/>
                      <a:gd name="connsiteX3" fmla="*/ 0 w 300039"/>
                      <a:gd name="connsiteY3" fmla="*/ 139700 h 263525"/>
                      <a:gd name="connsiteX4" fmla="*/ 104776 w 300039"/>
                      <a:gd name="connsiteY4" fmla="*/ 0 h 263525"/>
                      <a:gd name="connsiteX0" fmla="*/ 104776 w 352427"/>
                      <a:gd name="connsiteY0" fmla="*/ 0 h 263525"/>
                      <a:gd name="connsiteX1" fmla="*/ 352427 w 352427"/>
                      <a:gd name="connsiteY1" fmla="*/ 142874 h 263525"/>
                      <a:gd name="connsiteX2" fmla="*/ 271464 w 352427"/>
                      <a:gd name="connsiteY2" fmla="*/ 263525 h 263525"/>
                      <a:gd name="connsiteX3" fmla="*/ 0 w 352427"/>
                      <a:gd name="connsiteY3" fmla="*/ 139700 h 263525"/>
                      <a:gd name="connsiteX4" fmla="*/ 104776 w 352427"/>
                      <a:gd name="connsiteY4" fmla="*/ 0 h 263525"/>
                      <a:gd name="connsiteX0" fmla="*/ 104776 w 352427"/>
                      <a:gd name="connsiteY0" fmla="*/ 0 h 263525"/>
                      <a:gd name="connsiteX1" fmla="*/ 352427 w 352427"/>
                      <a:gd name="connsiteY1" fmla="*/ 142874 h 263525"/>
                      <a:gd name="connsiteX2" fmla="*/ 271464 w 352427"/>
                      <a:gd name="connsiteY2" fmla="*/ 263525 h 263525"/>
                      <a:gd name="connsiteX3" fmla="*/ 0 w 352427"/>
                      <a:gd name="connsiteY3" fmla="*/ 139700 h 263525"/>
                      <a:gd name="connsiteX4" fmla="*/ 104776 w 352427"/>
                      <a:gd name="connsiteY4" fmla="*/ 0 h 263525"/>
                      <a:gd name="connsiteX0" fmla="*/ 104776 w 345283"/>
                      <a:gd name="connsiteY0" fmla="*/ 0 h 263525"/>
                      <a:gd name="connsiteX1" fmla="*/ 345283 w 345283"/>
                      <a:gd name="connsiteY1" fmla="*/ 133349 h 263525"/>
                      <a:gd name="connsiteX2" fmla="*/ 271464 w 345283"/>
                      <a:gd name="connsiteY2" fmla="*/ 263525 h 263525"/>
                      <a:gd name="connsiteX3" fmla="*/ 0 w 345283"/>
                      <a:gd name="connsiteY3" fmla="*/ 139700 h 263525"/>
                      <a:gd name="connsiteX4" fmla="*/ 104776 w 345283"/>
                      <a:gd name="connsiteY4" fmla="*/ 0 h 263525"/>
                      <a:gd name="connsiteX0" fmla="*/ 104776 w 345283"/>
                      <a:gd name="connsiteY0" fmla="*/ 0 h 263525"/>
                      <a:gd name="connsiteX1" fmla="*/ 345283 w 345283"/>
                      <a:gd name="connsiteY1" fmla="*/ 133349 h 263525"/>
                      <a:gd name="connsiteX2" fmla="*/ 271464 w 345283"/>
                      <a:gd name="connsiteY2" fmla="*/ 263525 h 263525"/>
                      <a:gd name="connsiteX3" fmla="*/ 0 w 345283"/>
                      <a:gd name="connsiteY3" fmla="*/ 139700 h 263525"/>
                      <a:gd name="connsiteX4" fmla="*/ 104776 w 345283"/>
                      <a:gd name="connsiteY4" fmla="*/ 0 h 263525"/>
                      <a:gd name="connsiteX0" fmla="*/ 104776 w 345283"/>
                      <a:gd name="connsiteY0" fmla="*/ 0 h 263525"/>
                      <a:gd name="connsiteX1" fmla="*/ 345283 w 345283"/>
                      <a:gd name="connsiteY1" fmla="*/ 133349 h 263525"/>
                      <a:gd name="connsiteX2" fmla="*/ 271464 w 345283"/>
                      <a:gd name="connsiteY2" fmla="*/ 263525 h 263525"/>
                      <a:gd name="connsiteX3" fmla="*/ 0 w 345283"/>
                      <a:gd name="connsiteY3" fmla="*/ 139700 h 263525"/>
                      <a:gd name="connsiteX4" fmla="*/ 104776 w 345283"/>
                      <a:gd name="connsiteY4" fmla="*/ 0 h 263525"/>
                      <a:gd name="connsiteX0" fmla="*/ 104776 w 345283"/>
                      <a:gd name="connsiteY0" fmla="*/ 0 h 251619"/>
                      <a:gd name="connsiteX1" fmla="*/ 345283 w 345283"/>
                      <a:gd name="connsiteY1" fmla="*/ 133349 h 251619"/>
                      <a:gd name="connsiteX2" fmla="*/ 266702 w 345283"/>
                      <a:gd name="connsiteY2" fmla="*/ 251619 h 251619"/>
                      <a:gd name="connsiteX3" fmla="*/ 0 w 345283"/>
                      <a:gd name="connsiteY3" fmla="*/ 139700 h 251619"/>
                      <a:gd name="connsiteX4" fmla="*/ 104776 w 345283"/>
                      <a:gd name="connsiteY4" fmla="*/ 0 h 251619"/>
                      <a:gd name="connsiteX0" fmla="*/ 104776 w 345283"/>
                      <a:gd name="connsiteY0" fmla="*/ 0 h 251619"/>
                      <a:gd name="connsiteX1" fmla="*/ 345283 w 345283"/>
                      <a:gd name="connsiteY1" fmla="*/ 133349 h 251619"/>
                      <a:gd name="connsiteX2" fmla="*/ 266702 w 345283"/>
                      <a:gd name="connsiteY2" fmla="*/ 251619 h 251619"/>
                      <a:gd name="connsiteX3" fmla="*/ 0 w 345283"/>
                      <a:gd name="connsiteY3" fmla="*/ 139700 h 251619"/>
                      <a:gd name="connsiteX4" fmla="*/ 104776 w 345283"/>
                      <a:gd name="connsiteY4" fmla="*/ 0 h 251619"/>
                      <a:gd name="connsiteX0" fmla="*/ 104776 w 345283"/>
                      <a:gd name="connsiteY0" fmla="*/ 0 h 251619"/>
                      <a:gd name="connsiteX1" fmla="*/ 345283 w 345283"/>
                      <a:gd name="connsiteY1" fmla="*/ 133349 h 251619"/>
                      <a:gd name="connsiteX2" fmla="*/ 266702 w 345283"/>
                      <a:gd name="connsiteY2" fmla="*/ 251619 h 251619"/>
                      <a:gd name="connsiteX3" fmla="*/ 0 w 345283"/>
                      <a:gd name="connsiteY3" fmla="*/ 139700 h 251619"/>
                      <a:gd name="connsiteX4" fmla="*/ 104776 w 345283"/>
                      <a:gd name="connsiteY4" fmla="*/ 0 h 251619"/>
                      <a:gd name="connsiteX0" fmla="*/ 104776 w 345283"/>
                      <a:gd name="connsiteY0" fmla="*/ 0 h 254000"/>
                      <a:gd name="connsiteX1" fmla="*/ 345283 w 345283"/>
                      <a:gd name="connsiteY1" fmla="*/ 133349 h 254000"/>
                      <a:gd name="connsiteX2" fmla="*/ 261939 w 345283"/>
                      <a:gd name="connsiteY2" fmla="*/ 254000 h 254000"/>
                      <a:gd name="connsiteX3" fmla="*/ 0 w 345283"/>
                      <a:gd name="connsiteY3" fmla="*/ 139700 h 254000"/>
                      <a:gd name="connsiteX4" fmla="*/ 104776 w 345283"/>
                      <a:gd name="connsiteY4" fmla="*/ 0 h 254000"/>
                      <a:gd name="connsiteX0" fmla="*/ 104776 w 345283"/>
                      <a:gd name="connsiteY0" fmla="*/ 0 h 254000"/>
                      <a:gd name="connsiteX1" fmla="*/ 345283 w 345283"/>
                      <a:gd name="connsiteY1" fmla="*/ 133349 h 254000"/>
                      <a:gd name="connsiteX2" fmla="*/ 261939 w 345283"/>
                      <a:gd name="connsiteY2" fmla="*/ 254000 h 254000"/>
                      <a:gd name="connsiteX3" fmla="*/ 0 w 345283"/>
                      <a:gd name="connsiteY3" fmla="*/ 139700 h 254000"/>
                      <a:gd name="connsiteX4" fmla="*/ 104776 w 345283"/>
                      <a:gd name="connsiteY4" fmla="*/ 0 h 254000"/>
                      <a:gd name="connsiteX0" fmla="*/ 104776 w 345283"/>
                      <a:gd name="connsiteY0" fmla="*/ 0 h 254000"/>
                      <a:gd name="connsiteX1" fmla="*/ 345283 w 345283"/>
                      <a:gd name="connsiteY1" fmla="*/ 133349 h 254000"/>
                      <a:gd name="connsiteX2" fmla="*/ 261939 w 345283"/>
                      <a:gd name="connsiteY2" fmla="*/ 254000 h 254000"/>
                      <a:gd name="connsiteX3" fmla="*/ 0 w 345283"/>
                      <a:gd name="connsiteY3" fmla="*/ 139700 h 254000"/>
                      <a:gd name="connsiteX4" fmla="*/ 104776 w 345283"/>
                      <a:gd name="connsiteY4" fmla="*/ 0 h 254000"/>
                      <a:gd name="connsiteX0" fmla="*/ 104776 w 345283"/>
                      <a:gd name="connsiteY0" fmla="*/ 0 h 254000"/>
                      <a:gd name="connsiteX1" fmla="*/ 345283 w 345283"/>
                      <a:gd name="connsiteY1" fmla="*/ 133349 h 254000"/>
                      <a:gd name="connsiteX2" fmla="*/ 261939 w 345283"/>
                      <a:gd name="connsiteY2" fmla="*/ 254000 h 254000"/>
                      <a:gd name="connsiteX3" fmla="*/ 0 w 345283"/>
                      <a:gd name="connsiteY3" fmla="*/ 139700 h 254000"/>
                      <a:gd name="connsiteX4" fmla="*/ 104776 w 345283"/>
                      <a:gd name="connsiteY4" fmla="*/ 0 h 254000"/>
                      <a:gd name="connsiteX0" fmla="*/ 104776 w 345283"/>
                      <a:gd name="connsiteY0" fmla="*/ 0 h 256381"/>
                      <a:gd name="connsiteX1" fmla="*/ 345283 w 345283"/>
                      <a:gd name="connsiteY1" fmla="*/ 133349 h 256381"/>
                      <a:gd name="connsiteX2" fmla="*/ 266702 w 345283"/>
                      <a:gd name="connsiteY2" fmla="*/ 256381 h 256381"/>
                      <a:gd name="connsiteX3" fmla="*/ 0 w 345283"/>
                      <a:gd name="connsiteY3" fmla="*/ 139700 h 256381"/>
                      <a:gd name="connsiteX4" fmla="*/ 104776 w 345283"/>
                      <a:gd name="connsiteY4" fmla="*/ 0 h 256381"/>
                      <a:gd name="connsiteX0" fmla="*/ 104776 w 345283"/>
                      <a:gd name="connsiteY0" fmla="*/ 0 h 256381"/>
                      <a:gd name="connsiteX1" fmla="*/ 345283 w 345283"/>
                      <a:gd name="connsiteY1" fmla="*/ 133349 h 256381"/>
                      <a:gd name="connsiteX2" fmla="*/ 266702 w 345283"/>
                      <a:gd name="connsiteY2" fmla="*/ 256381 h 256381"/>
                      <a:gd name="connsiteX3" fmla="*/ 0 w 345283"/>
                      <a:gd name="connsiteY3" fmla="*/ 139700 h 256381"/>
                      <a:gd name="connsiteX4" fmla="*/ 104776 w 345283"/>
                      <a:gd name="connsiteY4" fmla="*/ 0 h 256381"/>
                      <a:gd name="connsiteX0" fmla="*/ 104776 w 345283"/>
                      <a:gd name="connsiteY0" fmla="*/ 0 h 251619"/>
                      <a:gd name="connsiteX1" fmla="*/ 345283 w 345283"/>
                      <a:gd name="connsiteY1" fmla="*/ 133349 h 251619"/>
                      <a:gd name="connsiteX2" fmla="*/ 266702 w 345283"/>
                      <a:gd name="connsiteY2" fmla="*/ 251619 h 251619"/>
                      <a:gd name="connsiteX3" fmla="*/ 0 w 345283"/>
                      <a:gd name="connsiteY3" fmla="*/ 139700 h 251619"/>
                      <a:gd name="connsiteX4" fmla="*/ 104776 w 345283"/>
                      <a:gd name="connsiteY4" fmla="*/ 0 h 251619"/>
                      <a:gd name="connsiteX0" fmla="*/ 104776 w 345283"/>
                      <a:gd name="connsiteY0" fmla="*/ 0 h 256381"/>
                      <a:gd name="connsiteX1" fmla="*/ 345283 w 345283"/>
                      <a:gd name="connsiteY1" fmla="*/ 133349 h 256381"/>
                      <a:gd name="connsiteX2" fmla="*/ 266702 w 345283"/>
                      <a:gd name="connsiteY2" fmla="*/ 256381 h 256381"/>
                      <a:gd name="connsiteX3" fmla="*/ 0 w 345283"/>
                      <a:gd name="connsiteY3" fmla="*/ 139700 h 256381"/>
                      <a:gd name="connsiteX4" fmla="*/ 104776 w 345283"/>
                      <a:gd name="connsiteY4" fmla="*/ 0 h 256381"/>
                      <a:gd name="connsiteX0" fmla="*/ 104776 w 345283"/>
                      <a:gd name="connsiteY0" fmla="*/ 0 h 256381"/>
                      <a:gd name="connsiteX1" fmla="*/ 345283 w 345283"/>
                      <a:gd name="connsiteY1" fmla="*/ 133349 h 256381"/>
                      <a:gd name="connsiteX2" fmla="*/ 266702 w 345283"/>
                      <a:gd name="connsiteY2" fmla="*/ 256381 h 256381"/>
                      <a:gd name="connsiteX3" fmla="*/ 0 w 345283"/>
                      <a:gd name="connsiteY3" fmla="*/ 139700 h 256381"/>
                      <a:gd name="connsiteX4" fmla="*/ 104776 w 345283"/>
                      <a:gd name="connsiteY4" fmla="*/ 0 h 256381"/>
                      <a:gd name="connsiteX0" fmla="*/ 104776 w 345283"/>
                      <a:gd name="connsiteY0" fmla="*/ 0 h 256381"/>
                      <a:gd name="connsiteX1" fmla="*/ 345283 w 345283"/>
                      <a:gd name="connsiteY1" fmla="*/ 133349 h 256381"/>
                      <a:gd name="connsiteX2" fmla="*/ 266702 w 345283"/>
                      <a:gd name="connsiteY2" fmla="*/ 256381 h 256381"/>
                      <a:gd name="connsiteX3" fmla="*/ 0 w 345283"/>
                      <a:gd name="connsiteY3" fmla="*/ 139700 h 256381"/>
                      <a:gd name="connsiteX4" fmla="*/ 104776 w 345283"/>
                      <a:gd name="connsiteY4" fmla="*/ 0 h 256381"/>
                      <a:gd name="connsiteX0" fmla="*/ 107157 w 345283"/>
                      <a:gd name="connsiteY0" fmla="*/ 0 h 258762"/>
                      <a:gd name="connsiteX1" fmla="*/ 345283 w 345283"/>
                      <a:gd name="connsiteY1" fmla="*/ 135730 h 258762"/>
                      <a:gd name="connsiteX2" fmla="*/ 266702 w 345283"/>
                      <a:gd name="connsiteY2" fmla="*/ 258762 h 258762"/>
                      <a:gd name="connsiteX3" fmla="*/ 0 w 345283"/>
                      <a:gd name="connsiteY3" fmla="*/ 142081 h 258762"/>
                      <a:gd name="connsiteX4" fmla="*/ 107157 w 345283"/>
                      <a:gd name="connsiteY4" fmla="*/ 0 h 258762"/>
                      <a:gd name="connsiteX0" fmla="*/ 107157 w 345283"/>
                      <a:gd name="connsiteY0" fmla="*/ 0 h 258762"/>
                      <a:gd name="connsiteX1" fmla="*/ 345283 w 345283"/>
                      <a:gd name="connsiteY1" fmla="*/ 135730 h 258762"/>
                      <a:gd name="connsiteX2" fmla="*/ 266702 w 345283"/>
                      <a:gd name="connsiteY2" fmla="*/ 258762 h 258762"/>
                      <a:gd name="connsiteX3" fmla="*/ 0 w 345283"/>
                      <a:gd name="connsiteY3" fmla="*/ 142081 h 258762"/>
                      <a:gd name="connsiteX4" fmla="*/ 107157 w 345283"/>
                      <a:gd name="connsiteY4" fmla="*/ 0 h 258762"/>
                      <a:gd name="connsiteX0" fmla="*/ 107157 w 345283"/>
                      <a:gd name="connsiteY0" fmla="*/ 0 h 258762"/>
                      <a:gd name="connsiteX1" fmla="*/ 345283 w 345283"/>
                      <a:gd name="connsiteY1" fmla="*/ 135730 h 258762"/>
                      <a:gd name="connsiteX2" fmla="*/ 266702 w 345283"/>
                      <a:gd name="connsiteY2" fmla="*/ 258762 h 258762"/>
                      <a:gd name="connsiteX3" fmla="*/ 0 w 345283"/>
                      <a:gd name="connsiteY3" fmla="*/ 142081 h 258762"/>
                      <a:gd name="connsiteX4" fmla="*/ 107157 w 345283"/>
                      <a:gd name="connsiteY4" fmla="*/ 0 h 258762"/>
                      <a:gd name="connsiteX0" fmla="*/ 107157 w 345322"/>
                      <a:gd name="connsiteY0" fmla="*/ 0 h 258762"/>
                      <a:gd name="connsiteX1" fmla="*/ 345283 w 345322"/>
                      <a:gd name="connsiteY1" fmla="*/ 135730 h 258762"/>
                      <a:gd name="connsiteX2" fmla="*/ 266702 w 345322"/>
                      <a:gd name="connsiteY2" fmla="*/ 258762 h 258762"/>
                      <a:gd name="connsiteX3" fmla="*/ 0 w 345322"/>
                      <a:gd name="connsiteY3" fmla="*/ 142081 h 258762"/>
                      <a:gd name="connsiteX4" fmla="*/ 107157 w 345322"/>
                      <a:gd name="connsiteY4" fmla="*/ 0 h 258762"/>
                      <a:gd name="connsiteX0" fmla="*/ 107157 w 345321"/>
                      <a:gd name="connsiteY0" fmla="*/ 0 h 258762"/>
                      <a:gd name="connsiteX1" fmla="*/ 345283 w 345321"/>
                      <a:gd name="connsiteY1" fmla="*/ 135730 h 258762"/>
                      <a:gd name="connsiteX2" fmla="*/ 264321 w 345321"/>
                      <a:gd name="connsiteY2" fmla="*/ 258762 h 258762"/>
                      <a:gd name="connsiteX3" fmla="*/ 0 w 345321"/>
                      <a:gd name="connsiteY3" fmla="*/ 142081 h 258762"/>
                      <a:gd name="connsiteX4" fmla="*/ 107157 w 345321"/>
                      <a:gd name="connsiteY4" fmla="*/ 0 h 258762"/>
                      <a:gd name="connsiteX0" fmla="*/ 107157 w 345319"/>
                      <a:gd name="connsiteY0" fmla="*/ 0 h 258762"/>
                      <a:gd name="connsiteX1" fmla="*/ 345283 w 345319"/>
                      <a:gd name="connsiteY1" fmla="*/ 135730 h 258762"/>
                      <a:gd name="connsiteX2" fmla="*/ 264321 w 345319"/>
                      <a:gd name="connsiteY2" fmla="*/ 258762 h 258762"/>
                      <a:gd name="connsiteX3" fmla="*/ 0 w 345319"/>
                      <a:gd name="connsiteY3" fmla="*/ 142081 h 258762"/>
                      <a:gd name="connsiteX4" fmla="*/ 107157 w 345319"/>
                      <a:gd name="connsiteY4" fmla="*/ 0 h 258762"/>
                      <a:gd name="connsiteX0" fmla="*/ 107157 w 345283"/>
                      <a:gd name="connsiteY0" fmla="*/ 0 h 258762"/>
                      <a:gd name="connsiteX1" fmla="*/ 345283 w 345283"/>
                      <a:gd name="connsiteY1" fmla="*/ 135730 h 258762"/>
                      <a:gd name="connsiteX2" fmla="*/ 264321 w 345283"/>
                      <a:gd name="connsiteY2" fmla="*/ 258762 h 258762"/>
                      <a:gd name="connsiteX3" fmla="*/ 0 w 345283"/>
                      <a:gd name="connsiteY3" fmla="*/ 142081 h 258762"/>
                      <a:gd name="connsiteX4" fmla="*/ 107157 w 345283"/>
                      <a:gd name="connsiteY4" fmla="*/ 0 h 258762"/>
                      <a:gd name="connsiteX0" fmla="*/ 107157 w 345283"/>
                      <a:gd name="connsiteY0" fmla="*/ 0 h 258762"/>
                      <a:gd name="connsiteX1" fmla="*/ 345283 w 345283"/>
                      <a:gd name="connsiteY1" fmla="*/ 135730 h 258762"/>
                      <a:gd name="connsiteX2" fmla="*/ 264321 w 345283"/>
                      <a:gd name="connsiteY2" fmla="*/ 258762 h 258762"/>
                      <a:gd name="connsiteX3" fmla="*/ 0 w 345283"/>
                      <a:gd name="connsiteY3" fmla="*/ 142081 h 258762"/>
                      <a:gd name="connsiteX4" fmla="*/ 107157 w 345283"/>
                      <a:gd name="connsiteY4" fmla="*/ 0 h 258762"/>
                      <a:gd name="connsiteX0" fmla="*/ 107157 w 345283"/>
                      <a:gd name="connsiteY0" fmla="*/ 0 h 258762"/>
                      <a:gd name="connsiteX1" fmla="*/ 345283 w 345283"/>
                      <a:gd name="connsiteY1" fmla="*/ 135730 h 258762"/>
                      <a:gd name="connsiteX2" fmla="*/ 264321 w 345283"/>
                      <a:gd name="connsiteY2" fmla="*/ 258762 h 258762"/>
                      <a:gd name="connsiteX3" fmla="*/ 0 w 345283"/>
                      <a:gd name="connsiteY3" fmla="*/ 142081 h 258762"/>
                      <a:gd name="connsiteX4" fmla="*/ 107157 w 345283"/>
                      <a:gd name="connsiteY4" fmla="*/ 0 h 258762"/>
                      <a:gd name="connsiteX0" fmla="*/ 107157 w 345283"/>
                      <a:gd name="connsiteY0" fmla="*/ 0 h 258762"/>
                      <a:gd name="connsiteX1" fmla="*/ 345283 w 345283"/>
                      <a:gd name="connsiteY1" fmla="*/ 135730 h 258762"/>
                      <a:gd name="connsiteX2" fmla="*/ 264321 w 345283"/>
                      <a:gd name="connsiteY2" fmla="*/ 258762 h 258762"/>
                      <a:gd name="connsiteX3" fmla="*/ 0 w 345283"/>
                      <a:gd name="connsiteY3" fmla="*/ 142081 h 258762"/>
                      <a:gd name="connsiteX4" fmla="*/ 107157 w 345283"/>
                      <a:gd name="connsiteY4" fmla="*/ 0 h 258762"/>
                      <a:gd name="connsiteX0" fmla="*/ 107157 w 345283"/>
                      <a:gd name="connsiteY0" fmla="*/ 0 h 258762"/>
                      <a:gd name="connsiteX1" fmla="*/ 345283 w 345283"/>
                      <a:gd name="connsiteY1" fmla="*/ 135730 h 258762"/>
                      <a:gd name="connsiteX2" fmla="*/ 264321 w 345283"/>
                      <a:gd name="connsiteY2" fmla="*/ 258762 h 258762"/>
                      <a:gd name="connsiteX3" fmla="*/ 0 w 345283"/>
                      <a:gd name="connsiteY3" fmla="*/ 142081 h 258762"/>
                      <a:gd name="connsiteX4" fmla="*/ 107157 w 345283"/>
                      <a:gd name="connsiteY4" fmla="*/ 0 h 258762"/>
                      <a:gd name="connsiteX0" fmla="*/ 102394 w 345283"/>
                      <a:gd name="connsiteY0" fmla="*/ 0 h 258762"/>
                      <a:gd name="connsiteX1" fmla="*/ 345283 w 345283"/>
                      <a:gd name="connsiteY1" fmla="*/ 135730 h 258762"/>
                      <a:gd name="connsiteX2" fmla="*/ 264321 w 345283"/>
                      <a:gd name="connsiteY2" fmla="*/ 258762 h 258762"/>
                      <a:gd name="connsiteX3" fmla="*/ 0 w 345283"/>
                      <a:gd name="connsiteY3" fmla="*/ 142081 h 258762"/>
                      <a:gd name="connsiteX4" fmla="*/ 102394 w 345283"/>
                      <a:gd name="connsiteY4" fmla="*/ 0 h 258762"/>
                      <a:gd name="connsiteX0" fmla="*/ 102394 w 345283"/>
                      <a:gd name="connsiteY0" fmla="*/ 0 h 258762"/>
                      <a:gd name="connsiteX1" fmla="*/ 345283 w 345283"/>
                      <a:gd name="connsiteY1" fmla="*/ 135730 h 258762"/>
                      <a:gd name="connsiteX2" fmla="*/ 264321 w 345283"/>
                      <a:gd name="connsiteY2" fmla="*/ 258762 h 258762"/>
                      <a:gd name="connsiteX3" fmla="*/ 0 w 345283"/>
                      <a:gd name="connsiteY3" fmla="*/ 142081 h 258762"/>
                      <a:gd name="connsiteX4" fmla="*/ 102394 w 345283"/>
                      <a:gd name="connsiteY4" fmla="*/ 0 h 258762"/>
                      <a:gd name="connsiteX0" fmla="*/ 102394 w 345283"/>
                      <a:gd name="connsiteY0" fmla="*/ 0 h 261143"/>
                      <a:gd name="connsiteX1" fmla="*/ 345283 w 345283"/>
                      <a:gd name="connsiteY1" fmla="*/ 138111 h 261143"/>
                      <a:gd name="connsiteX2" fmla="*/ 264321 w 345283"/>
                      <a:gd name="connsiteY2" fmla="*/ 261143 h 261143"/>
                      <a:gd name="connsiteX3" fmla="*/ 0 w 345283"/>
                      <a:gd name="connsiteY3" fmla="*/ 144462 h 261143"/>
                      <a:gd name="connsiteX4" fmla="*/ 102394 w 345283"/>
                      <a:gd name="connsiteY4" fmla="*/ 0 h 261143"/>
                      <a:gd name="connsiteX0" fmla="*/ 102394 w 345283"/>
                      <a:gd name="connsiteY0" fmla="*/ 0 h 261143"/>
                      <a:gd name="connsiteX1" fmla="*/ 345283 w 345283"/>
                      <a:gd name="connsiteY1" fmla="*/ 138111 h 261143"/>
                      <a:gd name="connsiteX2" fmla="*/ 264321 w 345283"/>
                      <a:gd name="connsiteY2" fmla="*/ 261143 h 261143"/>
                      <a:gd name="connsiteX3" fmla="*/ 0 w 345283"/>
                      <a:gd name="connsiteY3" fmla="*/ 144462 h 261143"/>
                      <a:gd name="connsiteX4" fmla="*/ 102394 w 345283"/>
                      <a:gd name="connsiteY4" fmla="*/ 0 h 261143"/>
                      <a:gd name="connsiteX0" fmla="*/ 102394 w 345283"/>
                      <a:gd name="connsiteY0" fmla="*/ 0 h 261143"/>
                      <a:gd name="connsiteX1" fmla="*/ 345283 w 345283"/>
                      <a:gd name="connsiteY1" fmla="*/ 138111 h 261143"/>
                      <a:gd name="connsiteX2" fmla="*/ 264321 w 345283"/>
                      <a:gd name="connsiteY2" fmla="*/ 261143 h 261143"/>
                      <a:gd name="connsiteX3" fmla="*/ 0 w 345283"/>
                      <a:gd name="connsiteY3" fmla="*/ 144462 h 261143"/>
                      <a:gd name="connsiteX4" fmla="*/ 102394 w 345283"/>
                      <a:gd name="connsiteY4" fmla="*/ 0 h 261143"/>
                      <a:gd name="connsiteX0" fmla="*/ 102394 w 345283"/>
                      <a:gd name="connsiteY0" fmla="*/ 0 h 261143"/>
                      <a:gd name="connsiteX1" fmla="*/ 345283 w 345283"/>
                      <a:gd name="connsiteY1" fmla="*/ 138111 h 261143"/>
                      <a:gd name="connsiteX2" fmla="*/ 264321 w 345283"/>
                      <a:gd name="connsiteY2" fmla="*/ 261143 h 261143"/>
                      <a:gd name="connsiteX3" fmla="*/ 0 w 345283"/>
                      <a:gd name="connsiteY3" fmla="*/ 144462 h 261143"/>
                      <a:gd name="connsiteX4" fmla="*/ 102394 w 345283"/>
                      <a:gd name="connsiteY4" fmla="*/ 0 h 261143"/>
                      <a:gd name="connsiteX0" fmla="*/ 102394 w 345283"/>
                      <a:gd name="connsiteY0" fmla="*/ 0 h 261143"/>
                      <a:gd name="connsiteX1" fmla="*/ 345283 w 345283"/>
                      <a:gd name="connsiteY1" fmla="*/ 138111 h 261143"/>
                      <a:gd name="connsiteX2" fmla="*/ 264321 w 345283"/>
                      <a:gd name="connsiteY2" fmla="*/ 261143 h 261143"/>
                      <a:gd name="connsiteX3" fmla="*/ 0 w 345283"/>
                      <a:gd name="connsiteY3" fmla="*/ 144462 h 261143"/>
                      <a:gd name="connsiteX4" fmla="*/ 102394 w 345283"/>
                      <a:gd name="connsiteY4" fmla="*/ 0 h 261143"/>
                      <a:gd name="connsiteX0" fmla="*/ 102394 w 345283"/>
                      <a:gd name="connsiteY0" fmla="*/ 0 h 261143"/>
                      <a:gd name="connsiteX1" fmla="*/ 345283 w 345283"/>
                      <a:gd name="connsiteY1" fmla="*/ 138111 h 261143"/>
                      <a:gd name="connsiteX2" fmla="*/ 264321 w 345283"/>
                      <a:gd name="connsiteY2" fmla="*/ 261143 h 261143"/>
                      <a:gd name="connsiteX3" fmla="*/ 0 w 345283"/>
                      <a:gd name="connsiteY3" fmla="*/ 144462 h 261143"/>
                      <a:gd name="connsiteX4" fmla="*/ 102394 w 345283"/>
                      <a:gd name="connsiteY4" fmla="*/ 0 h 261143"/>
                      <a:gd name="connsiteX0" fmla="*/ 102394 w 345283"/>
                      <a:gd name="connsiteY0" fmla="*/ 0 h 261143"/>
                      <a:gd name="connsiteX1" fmla="*/ 345283 w 345283"/>
                      <a:gd name="connsiteY1" fmla="*/ 138111 h 261143"/>
                      <a:gd name="connsiteX2" fmla="*/ 264321 w 345283"/>
                      <a:gd name="connsiteY2" fmla="*/ 261143 h 261143"/>
                      <a:gd name="connsiteX3" fmla="*/ 0 w 345283"/>
                      <a:gd name="connsiteY3" fmla="*/ 144462 h 261143"/>
                      <a:gd name="connsiteX4" fmla="*/ 102394 w 345283"/>
                      <a:gd name="connsiteY4" fmla="*/ 0 h 261143"/>
                      <a:gd name="connsiteX0" fmla="*/ 92869 w 335758"/>
                      <a:gd name="connsiteY0" fmla="*/ 0 h 261143"/>
                      <a:gd name="connsiteX1" fmla="*/ 335758 w 335758"/>
                      <a:gd name="connsiteY1" fmla="*/ 138111 h 261143"/>
                      <a:gd name="connsiteX2" fmla="*/ 254796 w 335758"/>
                      <a:gd name="connsiteY2" fmla="*/ 261143 h 261143"/>
                      <a:gd name="connsiteX3" fmla="*/ 0 w 335758"/>
                      <a:gd name="connsiteY3" fmla="*/ 134937 h 261143"/>
                      <a:gd name="connsiteX4" fmla="*/ 92869 w 335758"/>
                      <a:gd name="connsiteY4" fmla="*/ 0 h 261143"/>
                      <a:gd name="connsiteX0" fmla="*/ 92869 w 335758"/>
                      <a:gd name="connsiteY0" fmla="*/ 0 h 261143"/>
                      <a:gd name="connsiteX1" fmla="*/ 335758 w 335758"/>
                      <a:gd name="connsiteY1" fmla="*/ 138111 h 261143"/>
                      <a:gd name="connsiteX2" fmla="*/ 254796 w 335758"/>
                      <a:gd name="connsiteY2" fmla="*/ 261143 h 261143"/>
                      <a:gd name="connsiteX3" fmla="*/ 0 w 335758"/>
                      <a:gd name="connsiteY3" fmla="*/ 132556 h 261143"/>
                      <a:gd name="connsiteX4" fmla="*/ 92869 w 335758"/>
                      <a:gd name="connsiteY4" fmla="*/ 0 h 261143"/>
                      <a:gd name="connsiteX0" fmla="*/ 90488 w 333377"/>
                      <a:gd name="connsiteY0" fmla="*/ 0 h 261143"/>
                      <a:gd name="connsiteX1" fmla="*/ 333377 w 333377"/>
                      <a:gd name="connsiteY1" fmla="*/ 138111 h 261143"/>
                      <a:gd name="connsiteX2" fmla="*/ 252415 w 333377"/>
                      <a:gd name="connsiteY2" fmla="*/ 261143 h 261143"/>
                      <a:gd name="connsiteX3" fmla="*/ 0 w 333377"/>
                      <a:gd name="connsiteY3" fmla="*/ 139700 h 261143"/>
                      <a:gd name="connsiteX4" fmla="*/ 90488 w 333377"/>
                      <a:gd name="connsiteY4" fmla="*/ 0 h 261143"/>
                      <a:gd name="connsiteX0" fmla="*/ 90488 w 333377"/>
                      <a:gd name="connsiteY0" fmla="*/ 0 h 261143"/>
                      <a:gd name="connsiteX1" fmla="*/ 333377 w 333377"/>
                      <a:gd name="connsiteY1" fmla="*/ 138111 h 261143"/>
                      <a:gd name="connsiteX2" fmla="*/ 252415 w 333377"/>
                      <a:gd name="connsiteY2" fmla="*/ 261143 h 261143"/>
                      <a:gd name="connsiteX3" fmla="*/ 0 w 333377"/>
                      <a:gd name="connsiteY3" fmla="*/ 139700 h 261143"/>
                      <a:gd name="connsiteX4" fmla="*/ 90488 w 333377"/>
                      <a:gd name="connsiteY4" fmla="*/ 0 h 261143"/>
                      <a:gd name="connsiteX0" fmla="*/ 90488 w 333377"/>
                      <a:gd name="connsiteY0" fmla="*/ 0 h 261143"/>
                      <a:gd name="connsiteX1" fmla="*/ 333377 w 333377"/>
                      <a:gd name="connsiteY1" fmla="*/ 138111 h 261143"/>
                      <a:gd name="connsiteX2" fmla="*/ 252415 w 333377"/>
                      <a:gd name="connsiteY2" fmla="*/ 261143 h 261143"/>
                      <a:gd name="connsiteX3" fmla="*/ 0 w 333377"/>
                      <a:gd name="connsiteY3" fmla="*/ 139700 h 261143"/>
                      <a:gd name="connsiteX4" fmla="*/ 90488 w 333377"/>
                      <a:gd name="connsiteY4" fmla="*/ 0 h 261143"/>
                      <a:gd name="connsiteX0" fmla="*/ 90488 w 333377"/>
                      <a:gd name="connsiteY0" fmla="*/ 0 h 261143"/>
                      <a:gd name="connsiteX1" fmla="*/ 333377 w 333377"/>
                      <a:gd name="connsiteY1" fmla="*/ 138111 h 261143"/>
                      <a:gd name="connsiteX2" fmla="*/ 252415 w 333377"/>
                      <a:gd name="connsiteY2" fmla="*/ 261143 h 261143"/>
                      <a:gd name="connsiteX3" fmla="*/ 0 w 333377"/>
                      <a:gd name="connsiteY3" fmla="*/ 142082 h 261143"/>
                      <a:gd name="connsiteX4" fmla="*/ 90488 w 333377"/>
                      <a:gd name="connsiteY4" fmla="*/ 0 h 261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7" h="261143">
                        <a:moveTo>
                          <a:pt x="90488" y="0"/>
                        </a:moveTo>
                        <a:cubicBezTo>
                          <a:pt x="180182" y="38099"/>
                          <a:pt x="284165" y="100011"/>
                          <a:pt x="333377" y="138111"/>
                        </a:cubicBezTo>
                        <a:cubicBezTo>
                          <a:pt x="325440" y="214840"/>
                          <a:pt x="284164" y="246326"/>
                          <a:pt x="252415" y="261143"/>
                        </a:cubicBezTo>
                        <a:cubicBezTo>
                          <a:pt x="202408" y="250824"/>
                          <a:pt x="107158" y="197645"/>
                          <a:pt x="0" y="142082"/>
                        </a:cubicBezTo>
                        <a:cubicBezTo>
                          <a:pt x="63500" y="155047"/>
                          <a:pt x="98426" y="48949"/>
                          <a:pt x="90488" y="0"/>
                        </a:cubicBezTo>
                        <a:close/>
                      </a:path>
                    </a:pathLst>
                  </a:custGeom>
                  <a:solidFill>
                    <a:srgbClr val="BFBFB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40" name="Rectangle 16"/>
                  <p:cNvSpPr/>
                  <p:nvPr/>
                </p:nvSpPr>
                <p:spPr>
                  <a:xfrm rot="1545906" flipH="1">
                    <a:off x="5620765" y="3140350"/>
                    <a:ext cx="143209" cy="155806"/>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4368"/>
                      <a:gd name="connsiteY0" fmla="*/ 0 h 368300"/>
                      <a:gd name="connsiteX1" fmla="*/ 664368 w 664368"/>
                      <a:gd name="connsiteY1" fmla="*/ 235744 h 368300"/>
                      <a:gd name="connsiteX2" fmla="*/ 571500 w 664368"/>
                      <a:gd name="connsiteY2" fmla="*/ 368300 h 368300"/>
                      <a:gd name="connsiteX3" fmla="*/ 0 w 664368"/>
                      <a:gd name="connsiteY3" fmla="*/ 368300 h 368300"/>
                      <a:gd name="connsiteX4" fmla="*/ 0 w 664368"/>
                      <a:gd name="connsiteY4" fmla="*/ 0 h 368300"/>
                      <a:gd name="connsiteX0" fmla="*/ 0 w 671347"/>
                      <a:gd name="connsiteY0" fmla="*/ 0 h 368300"/>
                      <a:gd name="connsiteX1" fmla="*/ 664368 w 671347"/>
                      <a:gd name="connsiteY1" fmla="*/ 235744 h 368300"/>
                      <a:gd name="connsiteX2" fmla="*/ 571500 w 671347"/>
                      <a:gd name="connsiteY2" fmla="*/ 368300 h 368300"/>
                      <a:gd name="connsiteX3" fmla="*/ 0 w 671347"/>
                      <a:gd name="connsiteY3" fmla="*/ 368300 h 368300"/>
                      <a:gd name="connsiteX4" fmla="*/ 0 w 671347"/>
                      <a:gd name="connsiteY4" fmla="*/ 0 h 368300"/>
                      <a:gd name="connsiteX0" fmla="*/ 0 w 664610"/>
                      <a:gd name="connsiteY0" fmla="*/ 0 h 368300"/>
                      <a:gd name="connsiteX1" fmla="*/ 664368 w 664610"/>
                      <a:gd name="connsiteY1" fmla="*/ 235744 h 368300"/>
                      <a:gd name="connsiteX2" fmla="*/ 571500 w 664610"/>
                      <a:gd name="connsiteY2" fmla="*/ 368300 h 368300"/>
                      <a:gd name="connsiteX3" fmla="*/ 0 w 664610"/>
                      <a:gd name="connsiteY3" fmla="*/ 368300 h 368300"/>
                      <a:gd name="connsiteX4" fmla="*/ 0 w 664610"/>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490538 w 664748"/>
                      <a:gd name="connsiteY0" fmla="*/ 0 h 215900"/>
                      <a:gd name="connsiteX1" fmla="*/ 664368 w 664748"/>
                      <a:gd name="connsiteY1" fmla="*/ 83344 h 215900"/>
                      <a:gd name="connsiteX2" fmla="*/ 571500 w 664748"/>
                      <a:gd name="connsiteY2" fmla="*/ 215900 h 215900"/>
                      <a:gd name="connsiteX3" fmla="*/ 0 w 664748"/>
                      <a:gd name="connsiteY3" fmla="*/ 215900 h 215900"/>
                      <a:gd name="connsiteX4" fmla="*/ 490538 w 664748"/>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5251 w 271842"/>
                      <a:gd name="connsiteY0" fmla="*/ 0 h 225425"/>
                      <a:gd name="connsiteX1" fmla="*/ 271462 w 271842"/>
                      <a:gd name="connsiteY1" fmla="*/ 92869 h 225425"/>
                      <a:gd name="connsiteX2" fmla="*/ 178594 w 271842"/>
                      <a:gd name="connsiteY2" fmla="*/ 225425 h 225425"/>
                      <a:gd name="connsiteX3" fmla="*/ 0 w 271842"/>
                      <a:gd name="connsiteY3" fmla="*/ 139700 h 225425"/>
                      <a:gd name="connsiteX4" fmla="*/ 95251 w 271842"/>
                      <a:gd name="connsiteY4" fmla="*/ 0 h 225425"/>
                      <a:gd name="connsiteX0" fmla="*/ 92870 w 271842"/>
                      <a:gd name="connsiteY0" fmla="*/ 0 h 220662"/>
                      <a:gd name="connsiteX1" fmla="*/ 271462 w 271842"/>
                      <a:gd name="connsiteY1" fmla="*/ 88106 h 220662"/>
                      <a:gd name="connsiteX2" fmla="*/ 178594 w 271842"/>
                      <a:gd name="connsiteY2" fmla="*/ 220662 h 220662"/>
                      <a:gd name="connsiteX3" fmla="*/ 0 w 271842"/>
                      <a:gd name="connsiteY3" fmla="*/ 134937 h 220662"/>
                      <a:gd name="connsiteX4" fmla="*/ 92870 w 271842"/>
                      <a:gd name="connsiteY4" fmla="*/ 0 h 220662"/>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85726 w 271842"/>
                      <a:gd name="connsiteY0" fmla="*/ 0 h 230186"/>
                      <a:gd name="connsiteX1" fmla="*/ 271462 w 271842"/>
                      <a:gd name="connsiteY1" fmla="*/ 97630 h 230186"/>
                      <a:gd name="connsiteX2" fmla="*/ 178594 w 271842"/>
                      <a:gd name="connsiteY2" fmla="*/ 230186 h 230186"/>
                      <a:gd name="connsiteX3" fmla="*/ 0 w 271842"/>
                      <a:gd name="connsiteY3" fmla="*/ 144461 h 230186"/>
                      <a:gd name="connsiteX4" fmla="*/ 85726 w 271842"/>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2567"/>
                      <a:gd name="connsiteX1" fmla="*/ 285750 w 286111"/>
                      <a:gd name="connsiteY1" fmla="*/ 97630 h 232567"/>
                      <a:gd name="connsiteX2" fmla="*/ 190501 w 286111"/>
                      <a:gd name="connsiteY2" fmla="*/ 232567 h 232567"/>
                      <a:gd name="connsiteX3" fmla="*/ 0 w 286111"/>
                      <a:gd name="connsiteY3" fmla="*/ 153986 h 232567"/>
                      <a:gd name="connsiteX4" fmla="*/ 97633 w 286111"/>
                      <a:gd name="connsiteY4" fmla="*/ 0 h 232567"/>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200027 w 286111"/>
                      <a:gd name="connsiteY0" fmla="*/ 0 h 182561"/>
                      <a:gd name="connsiteX1" fmla="*/ 285750 w 286111"/>
                      <a:gd name="connsiteY1" fmla="*/ 47624 h 182561"/>
                      <a:gd name="connsiteX2" fmla="*/ 190501 w 286111"/>
                      <a:gd name="connsiteY2" fmla="*/ 182561 h 182561"/>
                      <a:gd name="connsiteX3" fmla="*/ 0 w 286111"/>
                      <a:gd name="connsiteY3" fmla="*/ 103980 h 182561"/>
                      <a:gd name="connsiteX4" fmla="*/ 200027 w 286111"/>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2080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66678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66678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6204 w 167050"/>
                      <a:gd name="connsiteY0" fmla="*/ 0 h 182561"/>
                      <a:gd name="connsiteX1" fmla="*/ 166689 w 167050"/>
                      <a:gd name="connsiteY1" fmla="*/ 47624 h 182561"/>
                      <a:gd name="connsiteX2" fmla="*/ 71440 w 167050"/>
                      <a:gd name="connsiteY2" fmla="*/ 182561 h 182561"/>
                      <a:gd name="connsiteX3" fmla="*/ 0 w 167050"/>
                      <a:gd name="connsiteY3" fmla="*/ 144462 h 182561"/>
                      <a:gd name="connsiteX4" fmla="*/ 76204 w 167050"/>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37"/>
                      <a:gd name="connsiteY0" fmla="*/ 0 h 182561"/>
                      <a:gd name="connsiteX1" fmla="*/ 164308 w 164637"/>
                      <a:gd name="connsiteY1" fmla="*/ 47624 h 182561"/>
                      <a:gd name="connsiteX2" fmla="*/ 69059 w 164637"/>
                      <a:gd name="connsiteY2" fmla="*/ 182561 h 182561"/>
                      <a:gd name="connsiteX3" fmla="*/ 0 w 164637"/>
                      <a:gd name="connsiteY3" fmla="*/ 139699 h 182561"/>
                      <a:gd name="connsiteX4" fmla="*/ 73823 w 164637"/>
                      <a:gd name="connsiteY4" fmla="*/ 0 h 182561"/>
                      <a:gd name="connsiteX0" fmla="*/ 73823 w 164623"/>
                      <a:gd name="connsiteY0" fmla="*/ 0 h 182561"/>
                      <a:gd name="connsiteX1" fmla="*/ 164308 w 164623"/>
                      <a:gd name="connsiteY1" fmla="*/ 47624 h 182561"/>
                      <a:gd name="connsiteX2" fmla="*/ 69059 w 164623"/>
                      <a:gd name="connsiteY2" fmla="*/ 182561 h 182561"/>
                      <a:gd name="connsiteX3" fmla="*/ 0 w 164623"/>
                      <a:gd name="connsiteY3" fmla="*/ 139699 h 182561"/>
                      <a:gd name="connsiteX4" fmla="*/ 73823 w 164623"/>
                      <a:gd name="connsiteY4" fmla="*/ 0 h 182561"/>
                      <a:gd name="connsiteX0" fmla="*/ 73823 w 164577"/>
                      <a:gd name="connsiteY0" fmla="*/ 0 h 182561"/>
                      <a:gd name="connsiteX1" fmla="*/ 164308 w 164577"/>
                      <a:gd name="connsiteY1" fmla="*/ 47624 h 182561"/>
                      <a:gd name="connsiteX2" fmla="*/ 69059 w 164577"/>
                      <a:gd name="connsiteY2" fmla="*/ 182561 h 182561"/>
                      <a:gd name="connsiteX3" fmla="*/ 0 w 164577"/>
                      <a:gd name="connsiteY3" fmla="*/ 139699 h 182561"/>
                      <a:gd name="connsiteX4" fmla="*/ 73823 w 164577"/>
                      <a:gd name="connsiteY4" fmla="*/ 0 h 182561"/>
                      <a:gd name="connsiteX0" fmla="*/ 73823 w 164577"/>
                      <a:gd name="connsiteY0" fmla="*/ 0 h 182561"/>
                      <a:gd name="connsiteX1" fmla="*/ 164308 w 164577"/>
                      <a:gd name="connsiteY1" fmla="*/ 47624 h 182561"/>
                      <a:gd name="connsiteX2" fmla="*/ 69059 w 164577"/>
                      <a:gd name="connsiteY2" fmla="*/ 182561 h 182561"/>
                      <a:gd name="connsiteX3" fmla="*/ 0 w 164577"/>
                      <a:gd name="connsiteY3" fmla="*/ 139699 h 182561"/>
                      <a:gd name="connsiteX4" fmla="*/ 73823 w 164577"/>
                      <a:gd name="connsiteY4" fmla="*/ 0 h 182561"/>
                      <a:gd name="connsiteX0" fmla="*/ 71442 w 162196"/>
                      <a:gd name="connsiteY0" fmla="*/ 0 h 182561"/>
                      <a:gd name="connsiteX1" fmla="*/ 161927 w 162196"/>
                      <a:gd name="connsiteY1" fmla="*/ 47624 h 182561"/>
                      <a:gd name="connsiteX2" fmla="*/ 66678 w 162196"/>
                      <a:gd name="connsiteY2" fmla="*/ 182561 h 182561"/>
                      <a:gd name="connsiteX3" fmla="*/ 0 w 162196"/>
                      <a:gd name="connsiteY3" fmla="*/ 142030 h 182561"/>
                      <a:gd name="connsiteX4" fmla="*/ 71442 w 162196"/>
                      <a:gd name="connsiteY4" fmla="*/ 0 h 182561"/>
                      <a:gd name="connsiteX0" fmla="*/ 71442 w 164567"/>
                      <a:gd name="connsiteY0" fmla="*/ 0 h 182561"/>
                      <a:gd name="connsiteX1" fmla="*/ 164308 w 164567"/>
                      <a:gd name="connsiteY1" fmla="*/ 45293 h 182561"/>
                      <a:gd name="connsiteX2" fmla="*/ 66678 w 164567"/>
                      <a:gd name="connsiteY2" fmla="*/ 182561 h 182561"/>
                      <a:gd name="connsiteX3" fmla="*/ 0 w 164567"/>
                      <a:gd name="connsiteY3" fmla="*/ 142030 h 182561"/>
                      <a:gd name="connsiteX4" fmla="*/ 71442 w 164567"/>
                      <a:gd name="connsiteY4" fmla="*/ 0 h 182561"/>
                      <a:gd name="connsiteX0" fmla="*/ 71442 w 164567"/>
                      <a:gd name="connsiteY0" fmla="*/ 0 h 182561"/>
                      <a:gd name="connsiteX1" fmla="*/ 164308 w 164567"/>
                      <a:gd name="connsiteY1" fmla="*/ 45293 h 182561"/>
                      <a:gd name="connsiteX2" fmla="*/ 66678 w 164567"/>
                      <a:gd name="connsiteY2" fmla="*/ 182561 h 182561"/>
                      <a:gd name="connsiteX3" fmla="*/ 0 w 164567"/>
                      <a:gd name="connsiteY3" fmla="*/ 142030 h 182561"/>
                      <a:gd name="connsiteX4" fmla="*/ 71442 w 164567"/>
                      <a:gd name="connsiteY4" fmla="*/ 0 h 182561"/>
                      <a:gd name="connsiteX0" fmla="*/ 71442 w 164567"/>
                      <a:gd name="connsiteY0" fmla="*/ 0 h 182561"/>
                      <a:gd name="connsiteX1" fmla="*/ 164308 w 164567"/>
                      <a:gd name="connsiteY1" fmla="*/ 45293 h 182561"/>
                      <a:gd name="connsiteX2" fmla="*/ 66678 w 164567"/>
                      <a:gd name="connsiteY2" fmla="*/ 182561 h 182561"/>
                      <a:gd name="connsiteX3" fmla="*/ 0 w 164567"/>
                      <a:gd name="connsiteY3" fmla="*/ 142030 h 182561"/>
                      <a:gd name="connsiteX4" fmla="*/ 71442 w 164567"/>
                      <a:gd name="connsiteY4" fmla="*/ 0 h 182561"/>
                      <a:gd name="connsiteX0" fmla="*/ 71442 w 164567"/>
                      <a:gd name="connsiteY0" fmla="*/ 0 h 182561"/>
                      <a:gd name="connsiteX1" fmla="*/ 164308 w 164567"/>
                      <a:gd name="connsiteY1" fmla="*/ 45293 h 182561"/>
                      <a:gd name="connsiteX2" fmla="*/ 66678 w 164567"/>
                      <a:gd name="connsiteY2" fmla="*/ 182561 h 182561"/>
                      <a:gd name="connsiteX3" fmla="*/ 0 w 164567"/>
                      <a:gd name="connsiteY3" fmla="*/ 142030 h 182561"/>
                      <a:gd name="connsiteX4" fmla="*/ 71442 w 164567"/>
                      <a:gd name="connsiteY4" fmla="*/ 0 h 182561"/>
                      <a:gd name="connsiteX0" fmla="*/ 73824 w 166949"/>
                      <a:gd name="connsiteY0" fmla="*/ 0 h 182561"/>
                      <a:gd name="connsiteX1" fmla="*/ 166690 w 166949"/>
                      <a:gd name="connsiteY1" fmla="*/ 45293 h 182561"/>
                      <a:gd name="connsiteX2" fmla="*/ 69060 w 166949"/>
                      <a:gd name="connsiteY2" fmla="*/ 182561 h 182561"/>
                      <a:gd name="connsiteX3" fmla="*/ 0 w 166949"/>
                      <a:gd name="connsiteY3" fmla="*/ 142030 h 182561"/>
                      <a:gd name="connsiteX4" fmla="*/ 73824 w 166949"/>
                      <a:gd name="connsiteY4" fmla="*/ 0 h 182561"/>
                      <a:gd name="connsiteX0" fmla="*/ 73824 w 166949"/>
                      <a:gd name="connsiteY0" fmla="*/ 0 h 182561"/>
                      <a:gd name="connsiteX1" fmla="*/ 166690 w 166949"/>
                      <a:gd name="connsiteY1" fmla="*/ 45293 h 182561"/>
                      <a:gd name="connsiteX2" fmla="*/ 69060 w 166949"/>
                      <a:gd name="connsiteY2" fmla="*/ 182561 h 182561"/>
                      <a:gd name="connsiteX3" fmla="*/ 0 w 166949"/>
                      <a:gd name="connsiteY3" fmla="*/ 142030 h 182561"/>
                      <a:gd name="connsiteX4" fmla="*/ 73824 w 166949"/>
                      <a:gd name="connsiteY4" fmla="*/ 0 h 182561"/>
                      <a:gd name="connsiteX0" fmla="*/ 73824 w 166949"/>
                      <a:gd name="connsiteY0" fmla="*/ 0 h 182561"/>
                      <a:gd name="connsiteX1" fmla="*/ 166690 w 166949"/>
                      <a:gd name="connsiteY1" fmla="*/ 45293 h 182561"/>
                      <a:gd name="connsiteX2" fmla="*/ 69060 w 166949"/>
                      <a:gd name="connsiteY2" fmla="*/ 182561 h 182561"/>
                      <a:gd name="connsiteX3" fmla="*/ 0 w 166949"/>
                      <a:gd name="connsiteY3" fmla="*/ 142030 h 182561"/>
                      <a:gd name="connsiteX4" fmla="*/ 73824 w 166949"/>
                      <a:gd name="connsiteY4" fmla="*/ 0 h 182561"/>
                      <a:gd name="connsiteX0" fmla="*/ 76205 w 169330"/>
                      <a:gd name="connsiteY0" fmla="*/ 0 h 182561"/>
                      <a:gd name="connsiteX1" fmla="*/ 169071 w 169330"/>
                      <a:gd name="connsiteY1" fmla="*/ 45293 h 182561"/>
                      <a:gd name="connsiteX2" fmla="*/ 71441 w 169330"/>
                      <a:gd name="connsiteY2" fmla="*/ 182561 h 182561"/>
                      <a:gd name="connsiteX3" fmla="*/ 0 w 169330"/>
                      <a:gd name="connsiteY3" fmla="*/ 142030 h 182561"/>
                      <a:gd name="connsiteX4" fmla="*/ 76205 w 169330"/>
                      <a:gd name="connsiteY4" fmla="*/ 0 h 182561"/>
                      <a:gd name="connsiteX0" fmla="*/ 78586 w 171711"/>
                      <a:gd name="connsiteY0" fmla="*/ 0 h 182561"/>
                      <a:gd name="connsiteX1" fmla="*/ 171452 w 171711"/>
                      <a:gd name="connsiteY1" fmla="*/ 45293 h 182561"/>
                      <a:gd name="connsiteX2" fmla="*/ 73822 w 171711"/>
                      <a:gd name="connsiteY2" fmla="*/ 182561 h 182561"/>
                      <a:gd name="connsiteX3" fmla="*/ 0 w 171711"/>
                      <a:gd name="connsiteY3" fmla="*/ 142030 h 182561"/>
                      <a:gd name="connsiteX4" fmla="*/ 78586 w 171711"/>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 name="connsiteX0" fmla="*/ 78586 w 171452"/>
                      <a:gd name="connsiteY0" fmla="*/ 0 h 182561"/>
                      <a:gd name="connsiteX1" fmla="*/ 171452 w 171452"/>
                      <a:gd name="connsiteY1" fmla="*/ 45293 h 182561"/>
                      <a:gd name="connsiteX2" fmla="*/ 73822 w 171452"/>
                      <a:gd name="connsiteY2" fmla="*/ 182561 h 182561"/>
                      <a:gd name="connsiteX3" fmla="*/ 0 w 171452"/>
                      <a:gd name="connsiteY3" fmla="*/ 142030 h 182561"/>
                      <a:gd name="connsiteX4" fmla="*/ 78586 w 171452"/>
                      <a:gd name="connsiteY4" fmla="*/ 0 h 182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2" h="182561">
                        <a:moveTo>
                          <a:pt x="78586" y="0"/>
                        </a:moveTo>
                        <a:cubicBezTo>
                          <a:pt x="124624" y="20200"/>
                          <a:pt x="125415" y="22866"/>
                          <a:pt x="171452" y="45293"/>
                        </a:cubicBezTo>
                        <a:cubicBezTo>
                          <a:pt x="154783" y="155746"/>
                          <a:pt x="109540" y="176273"/>
                          <a:pt x="73822" y="182561"/>
                        </a:cubicBezTo>
                        <a:cubicBezTo>
                          <a:pt x="48421" y="168274"/>
                          <a:pt x="27783" y="156317"/>
                          <a:pt x="0" y="142030"/>
                        </a:cubicBezTo>
                        <a:cubicBezTo>
                          <a:pt x="61118" y="166377"/>
                          <a:pt x="107953" y="22773"/>
                          <a:pt x="78586" y="0"/>
                        </a:cubicBezTo>
                        <a:close/>
                      </a:path>
                    </a:pathLst>
                  </a:custGeom>
                  <a:solidFill>
                    <a:srgbClr val="BFBFB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41" name="Rectangle 16"/>
                  <p:cNvSpPr/>
                  <p:nvPr/>
                </p:nvSpPr>
                <p:spPr>
                  <a:xfrm rot="1545906" flipH="1">
                    <a:off x="5790121" y="3143551"/>
                    <a:ext cx="103480" cy="146953"/>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4368"/>
                      <a:gd name="connsiteY0" fmla="*/ 0 h 368300"/>
                      <a:gd name="connsiteX1" fmla="*/ 664368 w 664368"/>
                      <a:gd name="connsiteY1" fmla="*/ 235744 h 368300"/>
                      <a:gd name="connsiteX2" fmla="*/ 571500 w 664368"/>
                      <a:gd name="connsiteY2" fmla="*/ 368300 h 368300"/>
                      <a:gd name="connsiteX3" fmla="*/ 0 w 664368"/>
                      <a:gd name="connsiteY3" fmla="*/ 368300 h 368300"/>
                      <a:gd name="connsiteX4" fmla="*/ 0 w 664368"/>
                      <a:gd name="connsiteY4" fmla="*/ 0 h 368300"/>
                      <a:gd name="connsiteX0" fmla="*/ 0 w 671347"/>
                      <a:gd name="connsiteY0" fmla="*/ 0 h 368300"/>
                      <a:gd name="connsiteX1" fmla="*/ 664368 w 671347"/>
                      <a:gd name="connsiteY1" fmla="*/ 235744 h 368300"/>
                      <a:gd name="connsiteX2" fmla="*/ 571500 w 671347"/>
                      <a:gd name="connsiteY2" fmla="*/ 368300 h 368300"/>
                      <a:gd name="connsiteX3" fmla="*/ 0 w 671347"/>
                      <a:gd name="connsiteY3" fmla="*/ 368300 h 368300"/>
                      <a:gd name="connsiteX4" fmla="*/ 0 w 671347"/>
                      <a:gd name="connsiteY4" fmla="*/ 0 h 368300"/>
                      <a:gd name="connsiteX0" fmla="*/ 0 w 664610"/>
                      <a:gd name="connsiteY0" fmla="*/ 0 h 368300"/>
                      <a:gd name="connsiteX1" fmla="*/ 664368 w 664610"/>
                      <a:gd name="connsiteY1" fmla="*/ 235744 h 368300"/>
                      <a:gd name="connsiteX2" fmla="*/ 571500 w 664610"/>
                      <a:gd name="connsiteY2" fmla="*/ 368300 h 368300"/>
                      <a:gd name="connsiteX3" fmla="*/ 0 w 664610"/>
                      <a:gd name="connsiteY3" fmla="*/ 368300 h 368300"/>
                      <a:gd name="connsiteX4" fmla="*/ 0 w 664610"/>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490538 w 664748"/>
                      <a:gd name="connsiteY0" fmla="*/ 0 h 215900"/>
                      <a:gd name="connsiteX1" fmla="*/ 664368 w 664748"/>
                      <a:gd name="connsiteY1" fmla="*/ 83344 h 215900"/>
                      <a:gd name="connsiteX2" fmla="*/ 571500 w 664748"/>
                      <a:gd name="connsiteY2" fmla="*/ 215900 h 215900"/>
                      <a:gd name="connsiteX3" fmla="*/ 0 w 664748"/>
                      <a:gd name="connsiteY3" fmla="*/ 215900 h 215900"/>
                      <a:gd name="connsiteX4" fmla="*/ 490538 w 664748"/>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5251 w 271842"/>
                      <a:gd name="connsiteY0" fmla="*/ 0 h 225425"/>
                      <a:gd name="connsiteX1" fmla="*/ 271462 w 271842"/>
                      <a:gd name="connsiteY1" fmla="*/ 92869 h 225425"/>
                      <a:gd name="connsiteX2" fmla="*/ 178594 w 271842"/>
                      <a:gd name="connsiteY2" fmla="*/ 225425 h 225425"/>
                      <a:gd name="connsiteX3" fmla="*/ 0 w 271842"/>
                      <a:gd name="connsiteY3" fmla="*/ 139700 h 225425"/>
                      <a:gd name="connsiteX4" fmla="*/ 95251 w 271842"/>
                      <a:gd name="connsiteY4" fmla="*/ 0 h 225425"/>
                      <a:gd name="connsiteX0" fmla="*/ 92870 w 271842"/>
                      <a:gd name="connsiteY0" fmla="*/ 0 h 220662"/>
                      <a:gd name="connsiteX1" fmla="*/ 271462 w 271842"/>
                      <a:gd name="connsiteY1" fmla="*/ 88106 h 220662"/>
                      <a:gd name="connsiteX2" fmla="*/ 178594 w 271842"/>
                      <a:gd name="connsiteY2" fmla="*/ 220662 h 220662"/>
                      <a:gd name="connsiteX3" fmla="*/ 0 w 271842"/>
                      <a:gd name="connsiteY3" fmla="*/ 134937 h 220662"/>
                      <a:gd name="connsiteX4" fmla="*/ 92870 w 271842"/>
                      <a:gd name="connsiteY4" fmla="*/ 0 h 220662"/>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85726 w 271842"/>
                      <a:gd name="connsiteY0" fmla="*/ 0 h 230186"/>
                      <a:gd name="connsiteX1" fmla="*/ 271462 w 271842"/>
                      <a:gd name="connsiteY1" fmla="*/ 97630 h 230186"/>
                      <a:gd name="connsiteX2" fmla="*/ 178594 w 271842"/>
                      <a:gd name="connsiteY2" fmla="*/ 230186 h 230186"/>
                      <a:gd name="connsiteX3" fmla="*/ 0 w 271842"/>
                      <a:gd name="connsiteY3" fmla="*/ 144461 h 230186"/>
                      <a:gd name="connsiteX4" fmla="*/ 85726 w 271842"/>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2567"/>
                      <a:gd name="connsiteX1" fmla="*/ 285750 w 286111"/>
                      <a:gd name="connsiteY1" fmla="*/ 97630 h 232567"/>
                      <a:gd name="connsiteX2" fmla="*/ 190501 w 286111"/>
                      <a:gd name="connsiteY2" fmla="*/ 232567 h 232567"/>
                      <a:gd name="connsiteX3" fmla="*/ 0 w 286111"/>
                      <a:gd name="connsiteY3" fmla="*/ 153986 h 232567"/>
                      <a:gd name="connsiteX4" fmla="*/ 97633 w 286111"/>
                      <a:gd name="connsiteY4" fmla="*/ 0 h 232567"/>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200027 w 286111"/>
                      <a:gd name="connsiteY0" fmla="*/ 0 h 182561"/>
                      <a:gd name="connsiteX1" fmla="*/ 285750 w 286111"/>
                      <a:gd name="connsiteY1" fmla="*/ 47624 h 182561"/>
                      <a:gd name="connsiteX2" fmla="*/ 190501 w 286111"/>
                      <a:gd name="connsiteY2" fmla="*/ 182561 h 182561"/>
                      <a:gd name="connsiteX3" fmla="*/ 0 w 286111"/>
                      <a:gd name="connsiteY3" fmla="*/ 103980 h 182561"/>
                      <a:gd name="connsiteX4" fmla="*/ 200027 w 286111"/>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2080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66678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66678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6204 w 167050"/>
                      <a:gd name="connsiteY0" fmla="*/ 0 h 182561"/>
                      <a:gd name="connsiteX1" fmla="*/ 166689 w 167050"/>
                      <a:gd name="connsiteY1" fmla="*/ 47624 h 182561"/>
                      <a:gd name="connsiteX2" fmla="*/ 71440 w 167050"/>
                      <a:gd name="connsiteY2" fmla="*/ 182561 h 182561"/>
                      <a:gd name="connsiteX3" fmla="*/ 0 w 167050"/>
                      <a:gd name="connsiteY3" fmla="*/ 144462 h 182561"/>
                      <a:gd name="connsiteX4" fmla="*/ 76204 w 167050"/>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900"/>
                      <a:gd name="connsiteY0" fmla="*/ 0 h 189705"/>
                      <a:gd name="connsiteX1" fmla="*/ 164308 w 164900"/>
                      <a:gd name="connsiteY1" fmla="*/ 47624 h 189705"/>
                      <a:gd name="connsiteX2" fmla="*/ 88109 w 164900"/>
                      <a:gd name="connsiteY2" fmla="*/ 189705 h 189705"/>
                      <a:gd name="connsiteX3" fmla="*/ 0 w 164900"/>
                      <a:gd name="connsiteY3" fmla="*/ 139699 h 189705"/>
                      <a:gd name="connsiteX4" fmla="*/ 73823 w 164900"/>
                      <a:gd name="connsiteY4" fmla="*/ 0 h 189705"/>
                      <a:gd name="connsiteX0" fmla="*/ 73823 w 164711"/>
                      <a:gd name="connsiteY0" fmla="*/ 0 h 189705"/>
                      <a:gd name="connsiteX1" fmla="*/ 164308 w 164711"/>
                      <a:gd name="connsiteY1" fmla="*/ 47624 h 189705"/>
                      <a:gd name="connsiteX2" fmla="*/ 88109 w 164711"/>
                      <a:gd name="connsiteY2" fmla="*/ 189705 h 189705"/>
                      <a:gd name="connsiteX3" fmla="*/ 0 w 164711"/>
                      <a:gd name="connsiteY3" fmla="*/ 139699 h 189705"/>
                      <a:gd name="connsiteX4" fmla="*/ 73823 w 164711"/>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54773 w 164599"/>
                      <a:gd name="connsiteY0" fmla="*/ 0 h 201611"/>
                      <a:gd name="connsiteX1" fmla="*/ 164308 w 164599"/>
                      <a:gd name="connsiteY1" fmla="*/ 59530 h 201611"/>
                      <a:gd name="connsiteX2" fmla="*/ 88109 w 164599"/>
                      <a:gd name="connsiteY2" fmla="*/ 201611 h 201611"/>
                      <a:gd name="connsiteX3" fmla="*/ 0 w 164599"/>
                      <a:gd name="connsiteY3" fmla="*/ 151605 h 201611"/>
                      <a:gd name="connsiteX4" fmla="*/ 54773 w 164599"/>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380"/>
                      <a:gd name="connsiteY0" fmla="*/ 0 h 201611"/>
                      <a:gd name="connsiteX1" fmla="*/ 180977 w 181380"/>
                      <a:gd name="connsiteY1" fmla="*/ 59530 h 201611"/>
                      <a:gd name="connsiteX2" fmla="*/ 104778 w 181380"/>
                      <a:gd name="connsiteY2" fmla="*/ 201611 h 201611"/>
                      <a:gd name="connsiteX3" fmla="*/ 0 w 181380"/>
                      <a:gd name="connsiteY3" fmla="*/ 151605 h 201611"/>
                      <a:gd name="connsiteX4" fmla="*/ 71442 w 181380"/>
                      <a:gd name="connsiteY4" fmla="*/ 0 h 201611"/>
                      <a:gd name="connsiteX0" fmla="*/ 71442 w 180977"/>
                      <a:gd name="connsiteY0" fmla="*/ 0 h 201611"/>
                      <a:gd name="connsiteX1" fmla="*/ 180977 w 180977"/>
                      <a:gd name="connsiteY1" fmla="*/ 59530 h 201611"/>
                      <a:gd name="connsiteX2" fmla="*/ 104778 w 180977"/>
                      <a:gd name="connsiteY2" fmla="*/ 201611 h 201611"/>
                      <a:gd name="connsiteX3" fmla="*/ 0 w 180977"/>
                      <a:gd name="connsiteY3" fmla="*/ 151605 h 201611"/>
                      <a:gd name="connsiteX4" fmla="*/ 71442 w 180977"/>
                      <a:gd name="connsiteY4" fmla="*/ 0 h 201611"/>
                      <a:gd name="connsiteX0" fmla="*/ 73823 w 180977"/>
                      <a:gd name="connsiteY0" fmla="*/ 0 h 199230"/>
                      <a:gd name="connsiteX1" fmla="*/ 180977 w 180977"/>
                      <a:gd name="connsiteY1" fmla="*/ 57149 h 199230"/>
                      <a:gd name="connsiteX2" fmla="*/ 104778 w 180977"/>
                      <a:gd name="connsiteY2" fmla="*/ 199230 h 199230"/>
                      <a:gd name="connsiteX3" fmla="*/ 0 w 180977"/>
                      <a:gd name="connsiteY3" fmla="*/ 149224 h 199230"/>
                      <a:gd name="connsiteX4" fmla="*/ 73823 w 180977"/>
                      <a:gd name="connsiteY4" fmla="*/ 0 h 199230"/>
                      <a:gd name="connsiteX0" fmla="*/ 73823 w 180977"/>
                      <a:gd name="connsiteY0" fmla="*/ 0 h 199230"/>
                      <a:gd name="connsiteX1" fmla="*/ 180977 w 180977"/>
                      <a:gd name="connsiteY1" fmla="*/ 57149 h 199230"/>
                      <a:gd name="connsiteX2" fmla="*/ 104778 w 180977"/>
                      <a:gd name="connsiteY2" fmla="*/ 199230 h 199230"/>
                      <a:gd name="connsiteX3" fmla="*/ 0 w 180977"/>
                      <a:gd name="connsiteY3" fmla="*/ 149224 h 199230"/>
                      <a:gd name="connsiteX4" fmla="*/ 73823 w 180977"/>
                      <a:gd name="connsiteY4" fmla="*/ 0 h 199230"/>
                      <a:gd name="connsiteX0" fmla="*/ 111923 w 180977"/>
                      <a:gd name="connsiteY0" fmla="*/ 0 h 180180"/>
                      <a:gd name="connsiteX1" fmla="*/ 180977 w 180977"/>
                      <a:gd name="connsiteY1" fmla="*/ 38099 h 180180"/>
                      <a:gd name="connsiteX2" fmla="*/ 104778 w 180977"/>
                      <a:gd name="connsiteY2" fmla="*/ 180180 h 180180"/>
                      <a:gd name="connsiteX3" fmla="*/ 0 w 180977"/>
                      <a:gd name="connsiteY3" fmla="*/ 130174 h 180180"/>
                      <a:gd name="connsiteX4" fmla="*/ 111923 w 180977"/>
                      <a:gd name="connsiteY4" fmla="*/ 0 h 180180"/>
                      <a:gd name="connsiteX0" fmla="*/ 111923 w 180977"/>
                      <a:gd name="connsiteY0" fmla="*/ 0 h 180180"/>
                      <a:gd name="connsiteX1" fmla="*/ 180977 w 180977"/>
                      <a:gd name="connsiteY1" fmla="*/ 38099 h 180180"/>
                      <a:gd name="connsiteX2" fmla="*/ 104778 w 180977"/>
                      <a:gd name="connsiteY2" fmla="*/ 180180 h 180180"/>
                      <a:gd name="connsiteX3" fmla="*/ 0 w 180977"/>
                      <a:gd name="connsiteY3" fmla="*/ 130174 h 180180"/>
                      <a:gd name="connsiteX4" fmla="*/ 111923 w 180977"/>
                      <a:gd name="connsiteY4" fmla="*/ 0 h 180180"/>
                      <a:gd name="connsiteX0" fmla="*/ 138117 w 180977"/>
                      <a:gd name="connsiteY0" fmla="*/ 0 h 165892"/>
                      <a:gd name="connsiteX1" fmla="*/ 180977 w 180977"/>
                      <a:gd name="connsiteY1" fmla="*/ 23811 h 165892"/>
                      <a:gd name="connsiteX2" fmla="*/ 104778 w 180977"/>
                      <a:gd name="connsiteY2" fmla="*/ 165892 h 165892"/>
                      <a:gd name="connsiteX3" fmla="*/ 0 w 180977"/>
                      <a:gd name="connsiteY3" fmla="*/ 115886 h 165892"/>
                      <a:gd name="connsiteX4" fmla="*/ 138117 w 180977"/>
                      <a:gd name="connsiteY4" fmla="*/ 0 h 165892"/>
                      <a:gd name="connsiteX0" fmla="*/ 78585 w 121445"/>
                      <a:gd name="connsiteY0" fmla="*/ 0 h 165892"/>
                      <a:gd name="connsiteX1" fmla="*/ 121445 w 121445"/>
                      <a:gd name="connsiteY1" fmla="*/ 23811 h 165892"/>
                      <a:gd name="connsiteX2" fmla="*/ 45246 w 121445"/>
                      <a:gd name="connsiteY2" fmla="*/ 165892 h 165892"/>
                      <a:gd name="connsiteX3" fmla="*/ 0 w 121445"/>
                      <a:gd name="connsiteY3" fmla="*/ 149224 h 165892"/>
                      <a:gd name="connsiteX4" fmla="*/ 78585 w 121445"/>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9045 w 124287"/>
                      <a:gd name="connsiteY0" fmla="*/ 0 h 173036"/>
                      <a:gd name="connsiteX1" fmla="*/ 124287 w 124287"/>
                      <a:gd name="connsiteY1" fmla="*/ 21430 h 173036"/>
                      <a:gd name="connsiteX2" fmla="*/ 45706 w 124287"/>
                      <a:gd name="connsiteY2" fmla="*/ 173036 h 173036"/>
                      <a:gd name="connsiteX3" fmla="*/ 460 w 124287"/>
                      <a:gd name="connsiteY3" fmla="*/ 149224 h 173036"/>
                      <a:gd name="connsiteX4" fmla="*/ 79045 w 124287"/>
                      <a:gd name="connsiteY4" fmla="*/ 0 h 173036"/>
                      <a:gd name="connsiteX0" fmla="*/ 78585 w 123827"/>
                      <a:gd name="connsiteY0" fmla="*/ 0 h 173036"/>
                      <a:gd name="connsiteX1" fmla="*/ 123827 w 123827"/>
                      <a:gd name="connsiteY1" fmla="*/ 21430 h 173036"/>
                      <a:gd name="connsiteX2" fmla="*/ 45246 w 123827"/>
                      <a:gd name="connsiteY2" fmla="*/ 173036 h 173036"/>
                      <a:gd name="connsiteX3" fmla="*/ 0 w 123827"/>
                      <a:gd name="connsiteY3" fmla="*/ 149224 h 173036"/>
                      <a:gd name="connsiteX4" fmla="*/ 78585 w 123827"/>
                      <a:gd name="connsiteY4" fmla="*/ 0 h 173036"/>
                      <a:gd name="connsiteX0" fmla="*/ 78585 w 123827"/>
                      <a:gd name="connsiteY0" fmla="*/ 0 h 173036"/>
                      <a:gd name="connsiteX1" fmla="*/ 123827 w 123827"/>
                      <a:gd name="connsiteY1" fmla="*/ 21430 h 173036"/>
                      <a:gd name="connsiteX2" fmla="*/ 45246 w 123827"/>
                      <a:gd name="connsiteY2" fmla="*/ 173036 h 173036"/>
                      <a:gd name="connsiteX3" fmla="*/ 0 w 123827"/>
                      <a:gd name="connsiteY3" fmla="*/ 149224 h 173036"/>
                      <a:gd name="connsiteX4" fmla="*/ 78585 w 123827"/>
                      <a:gd name="connsiteY4" fmla="*/ 0 h 173036"/>
                      <a:gd name="connsiteX0" fmla="*/ 78585 w 123827"/>
                      <a:gd name="connsiteY0" fmla="*/ 0 h 173036"/>
                      <a:gd name="connsiteX1" fmla="*/ 123827 w 123827"/>
                      <a:gd name="connsiteY1" fmla="*/ 21430 h 173036"/>
                      <a:gd name="connsiteX2" fmla="*/ 45246 w 123827"/>
                      <a:gd name="connsiteY2" fmla="*/ 173036 h 173036"/>
                      <a:gd name="connsiteX3" fmla="*/ 0 w 123827"/>
                      <a:gd name="connsiteY3" fmla="*/ 149224 h 173036"/>
                      <a:gd name="connsiteX4" fmla="*/ 78585 w 123827"/>
                      <a:gd name="connsiteY4" fmla="*/ 0 h 173036"/>
                      <a:gd name="connsiteX0" fmla="*/ 78585 w 123827"/>
                      <a:gd name="connsiteY0" fmla="*/ 0 h 173036"/>
                      <a:gd name="connsiteX1" fmla="*/ 123827 w 123827"/>
                      <a:gd name="connsiteY1" fmla="*/ 21430 h 173036"/>
                      <a:gd name="connsiteX2" fmla="*/ 47627 w 123827"/>
                      <a:gd name="connsiteY2" fmla="*/ 173036 h 173036"/>
                      <a:gd name="connsiteX3" fmla="*/ 0 w 123827"/>
                      <a:gd name="connsiteY3" fmla="*/ 149224 h 173036"/>
                      <a:gd name="connsiteX4" fmla="*/ 78585 w 123827"/>
                      <a:gd name="connsiteY4" fmla="*/ 0 h 173036"/>
                      <a:gd name="connsiteX0" fmla="*/ 78585 w 123827"/>
                      <a:gd name="connsiteY0" fmla="*/ 0 h 173036"/>
                      <a:gd name="connsiteX1" fmla="*/ 123827 w 123827"/>
                      <a:gd name="connsiteY1" fmla="*/ 21430 h 173036"/>
                      <a:gd name="connsiteX2" fmla="*/ 47627 w 123827"/>
                      <a:gd name="connsiteY2" fmla="*/ 173036 h 173036"/>
                      <a:gd name="connsiteX3" fmla="*/ 0 w 123827"/>
                      <a:gd name="connsiteY3" fmla="*/ 149224 h 173036"/>
                      <a:gd name="connsiteX4" fmla="*/ 78585 w 123827"/>
                      <a:gd name="connsiteY4" fmla="*/ 0 h 173036"/>
                      <a:gd name="connsiteX0" fmla="*/ 83347 w 128589"/>
                      <a:gd name="connsiteY0" fmla="*/ 0 h 173036"/>
                      <a:gd name="connsiteX1" fmla="*/ 128589 w 128589"/>
                      <a:gd name="connsiteY1" fmla="*/ 21430 h 173036"/>
                      <a:gd name="connsiteX2" fmla="*/ 52389 w 128589"/>
                      <a:gd name="connsiteY2" fmla="*/ 173036 h 173036"/>
                      <a:gd name="connsiteX3" fmla="*/ 0 w 128589"/>
                      <a:gd name="connsiteY3" fmla="*/ 151606 h 173036"/>
                      <a:gd name="connsiteX4" fmla="*/ 83347 w 128589"/>
                      <a:gd name="connsiteY4" fmla="*/ 0 h 173036"/>
                      <a:gd name="connsiteX0" fmla="*/ 83347 w 128589"/>
                      <a:gd name="connsiteY0" fmla="*/ 0 h 177798"/>
                      <a:gd name="connsiteX1" fmla="*/ 128589 w 128589"/>
                      <a:gd name="connsiteY1" fmla="*/ 21430 h 177798"/>
                      <a:gd name="connsiteX2" fmla="*/ 54770 w 128589"/>
                      <a:gd name="connsiteY2" fmla="*/ 177798 h 177798"/>
                      <a:gd name="connsiteX3" fmla="*/ 0 w 128589"/>
                      <a:gd name="connsiteY3" fmla="*/ 151606 h 177798"/>
                      <a:gd name="connsiteX4" fmla="*/ 83347 w 128589"/>
                      <a:gd name="connsiteY4" fmla="*/ 0 h 177798"/>
                      <a:gd name="connsiteX0" fmla="*/ 83347 w 128589"/>
                      <a:gd name="connsiteY0" fmla="*/ 0 h 177798"/>
                      <a:gd name="connsiteX1" fmla="*/ 128589 w 128589"/>
                      <a:gd name="connsiteY1" fmla="*/ 21430 h 177798"/>
                      <a:gd name="connsiteX2" fmla="*/ 54770 w 128589"/>
                      <a:gd name="connsiteY2" fmla="*/ 177798 h 177798"/>
                      <a:gd name="connsiteX3" fmla="*/ 0 w 128589"/>
                      <a:gd name="connsiteY3" fmla="*/ 151606 h 177798"/>
                      <a:gd name="connsiteX4" fmla="*/ 83347 w 128589"/>
                      <a:gd name="connsiteY4" fmla="*/ 0 h 177798"/>
                      <a:gd name="connsiteX0" fmla="*/ 83347 w 128589"/>
                      <a:gd name="connsiteY0" fmla="*/ 0 h 177798"/>
                      <a:gd name="connsiteX1" fmla="*/ 128589 w 128589"/>
                      <a:gd name="connsiteY1" fmla="*/ 21430 h 177798"/>
                      <a:gd name="connsiteX2" fmla="*/ 54770 w 128589"/>
                      <a:gd name="connsiteY2" fmla="*/ 177798 h 177798"/>
                      <a:gd name="connsiteX3" fmla="*/ 0 w 128589"/>
                      <a:gd name="connsiteY3" fmla="*/ 151606 h 177798"/>
                      <a:gd name="connsiteX4" fmla="*/ 83347 w 128589"/>
                      <a:gd name="connsiteY4" fmla="*/ 0 h 177798"/>
                      <a:gd name="connsiteX0" fmla="*/ 83347 w 128589"/>
                      <a:gd name="connsiteY0" fmla="*/ 0 h 177798"/>
                      <a:gd name="connsiteX1" fmla="*/ 128589 w 128589"/>
                      <a:gd name="connsiteY1" fmla="*/ 21430 h 177798"/>
                      <a:gd name="connsiteX2" fmla="*/ 54770 w 128589"/>
                      <a:gd name="connsiteY2" fmla="*/ 177798 h 177798"/>
                      <a:gd name="connsiteX3" fmla="*/ 0 w 128589"/>
                      <a:gd name="connsiteY3" fmla="*/ 151606 h 177798"/>
                      <a:gd name="connsiteX4" fmla="*/ 83347 w 128589"/>
                      <a:gd name="connsiteY4" fmla="*/ 0 h 177798"/>
                      <a:gd name="connsiteX0" fmla="*/ 83347 w 128589"/>
                      <a:gd name="connsiteY0" fmla="*/ 0 h 180179"/>
                      <a:gd name="connsiteX1" fmla="*/ 128589 w 128589"/>
                      <a:gd name="connsiteY1" fmla="*/ 21430 h 180179"/>
                      <a:gd name="connsiteX2" fmla="*/ 54770 w 128589"/>
                      <a:gd name="connsiteY2" fmla="*/ 180179 h 180179"/>
                      <a:gd name="connsiteX3" fmla="*/ 0 w 128589"/>
                      <a:gd name="connsiteY3" fmla="*/ 151606 h 180179"/>
                      <a:gd name="connsiteX4" fmla="*/ 83347 w 128589"/>
                      <a:gd name="connsiteY4" fmla="*/ 0 h 180179"/>
                      <a:gd name="connsiteX0" fmla="*/ 83347 w 128589"/>
                      <a:gd name="connsiteY0" fmla="*/ 0 h 180179"/>
                      <a:gd name="connsiteX1" fmla="*/ 128589 w 128589"/>
                      <a:gd name="connsiteY1" fmla="*/ 21430 h 180179"/>
                      <a:gd name="connsiteX2" fmla="*/ 54770 w 128589"/>
                      <a:gd name="connsiteY2" fmla="*/ 180179 h 180179"/>
                      <a:gd name="connsiteX3" fmla="*/ 0 w 128589"/>
                      <a:gd name="connsiteY3" fmla="*/ 151606 h 180179"/>
                      <a:gd name="connsiteX4" fmla="*/ 83347 w 128589"/>
                      <a:gd name="connsiteY4" fmla="*/ 0 h 180179"/>
                      <a:gd name="connsiteX0" fmla="*/ 78584 w 123826"/>
                      <a:gd name="connsiteY0" fmla="*/ 0 h 180179"/>
                      <a:gd name="connsiteX1" fmla="*/ 123826 w 123826"/>
                      <a:gd name="connsiteY1" fmla="*/ 21430 h 180179"/>
                      <a:gd name="connsiteX2" fmla="*/ 50007 w 123826"/>
                      <a:gd name="connsiteY2" fmla="*/ 180179 h 180179"/>
                      <a:gd name="connsiteX3" fmla="*/ 0 w 123826"/>
                      <a:gd name="connsiteY3" fmla="*/ 153987 h 180179"/>
                      <a:gd name="connsiteX4" fmla="*/ 78584 w 123826"/>
                      <a:gd name="connsiteY4" fmla="*/ 0 h 180179"/>
                      <a:gd name="connsiteX0" fmla="*/ 78584 w 123826"/>
                      <a:gd name="connsiteY0" fmla="*/ 0 h 180179"/>
                      <a:gd name="connsiteX1" fmla="*/ 123826 w 123826"/>
                      <a:gd name="connsiteY1" fmla="*/ 21430 h 180179"/>
                      <a:gd name="connsiteX2" fmla="*/ 50007 w 123826"/>
                      <a:gd name="connsiteY2" fmla="*/ 180179 h 180179"/>
                      <a:gd name="connsiteX3" fmla="*/ 0 w 123826"/>
                      <a:gd name="connsiteY3" fmla="*/ 153987 h 180179"/>
                      <a:gd name="connsiteX4" fmla="*/ 78584 w 123826"/>
                      <a:gd name="connsiteY4" fmla="*/ 0 h 180179"/>
                      <a:gd name="connsiteX0" fmla="*/ 78584 w 123826"/>
                      <a:gd name="connsiteY0" fmla="*/ 0 h 177798"/>
                      <a:gd name="connsiteX1" fmla="*/ 123826 w 123826"/>
                      <a:gd name="connsiteY1" fmla="*/ 21430 h 177798"/>
                      <a:gd name="connsiteX2" fmla="*/ 45244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5244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5244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5244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5244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3826"/>
                      <a:gd name="connsiteY0" fmla="*/ 0 h 177798"/>
                      <a:gd name="connsiteX1" fmla="*/ 123826 w 123826"/>
                      <a:gd name="connsiteY1" fmla="*/ 21430 h 177798"/>
                      <a:gd name="connsiteX2" fmla="*/ 42863 w 123826"/>
                      <a:gd name="connsiteY2" fmla="*/ 177798 h 177798"/>
                      <a:gd name="connsiteX3" fmla="*/ 0 w 123826"/>
                      <a:gd name="connsiteY3" fmla="*/ 153987 h 177798"/>
                      <a:gd name="connsiteX4" fmla="*/ 78584 w 123826"/>
                      <a:gd name="connsiteY4" fmla="*/ 0 h 177798"/>
                      <a:gd name="connsiteX0" fmla="*/ 78584 w 128578"/>
                      <a:gd name="connsiteY0" fmla="*/ 0 h 177798"/>
                      <a:gd name="connsiteX1" fmla="*/ 123826 w 128578"/>
                      <a:gd name="connsiteY1" fmla="*/ 21430 h 177798"/>
                      <a:gd name="connsiteX2" fmla="*/ 42863 w 128578"/>
                      <a:gd name="connsiteY2" fmla="*/ 177798 h 177798"/>
                      <a:gd name="connsiteX3" fmla="*/ 0 w 128578"/>
                      <a:gd name="connsiteY3" fmla="*/ 153987 h 177798"/>
                      <a:gd name="connsiteX4" fmla="*/ 78584 w 128578"/>
                      <a:gd name="connsiteY4" fmla="*/ 0 h 177798"/>
                      <a:gd name="connsiteX0" fmla="*/ 78584 w 127757"/>
                      <a:gd name="connsiteY0" fmla="*/ 0 h 177798"/>
                      <a:gd name="connsiteX1" fmla="*/ 123826 w 127757"/>
                      <a:gd name="connsiteY1" fmla="*/ 21430 h 177798"/>
                      <a:gd name="connsiteX2" fmla="*/ 42863 w 127757"/>
                      <a:gd name="connsiteY2" fmla="*/ 177798 h 177798"/>
                      <a:gd name="connsiteX3" fmla="*/ 0 w 127757"/>
                      <a:gd name="connsiteY3" fmla="*/ 153987 h 177798"/>
                      <a:gd name="connsiteX4" fmla="*/ 78584 w 127757"/>
                      <a:gd name="connsiteY4" fmla="*/ 0 h 177798"/>
                      <a:gd name="connsiteX0" fmla="*/ 78584 w 129427"/>
                      <a:gd name="connsiteY0" fmla="*/ 0 h 177798"/>
                      <a:gd name="connsiteX1" fmla="*/ 123826 w 129427"/>
                      <a:gd name="connsiteY1" fmla="*/ 21430 h 177798"/>
                      <a:gd name="connsiteX2" fmla="*/ 42863 w 129427"/>
                      <a:gd name="connsiteY2" fmla="*/ 177798 h 177798"/>
                      <a:gd name="connsiteX3" fmla="*/ 0 w 129427"/>
                      <a:gd name="connsiteY3" fmla="*/ 153987 h 177798"/>
                      <a:gd name="connsiteX4" fmla="*/ 78584 w 129427"/>
                      <a:gd name="connsiteY4" fmla="*/ 0 h 177798"/>
                      <a:gd name="connsiteX0" fmla="*/ 78584 w 129427"/>
                      <a:gd name="connsiteY0" fmla="*/ 0 h 177798"/>
                      <a:gd name="connsiteX1" fmla="*/ 123826 w 129427"/>
                      <a:gd name="connsiteY1" fmla="*/ 21430 h 177798"/>
                      <a:gd name="connsiteX2" fmla="*/ 42863 w 129427"/>
                      <a:gd name="connsiteY2" fmla="*/ 177798 h 177798"/>
                      <a:gd name="connsiteX3" fmla="*/ 0 w 129427"/>
                      <a:gd name="connsiteY3" fmla="*/ 153987 h 177798"/>
                      <a:gd name="connsiteX4" fmla="*/ 78584 w 129427"/>
                      <a:gd name="connsiteY4" fmla="*/ 0 h 177798"/>
                      <a:gd name="connsiteX0" fmla="*/ 78584 w 129620"/>
                      <a:gd name="connsiteY0" fmla="*/ 0 h 178197"/>
                      <a:gd name="connsiteX1" fmla="*/ 123826 w 129620"/>
                      <a:gd name="connsiteY1" fmla="*/ 21430 h 178197"/>
                      <a:gd name="connsiteX2" fmla="*/ 42863 w 129620"/>
                      <a:gd name="connsiteY2" fmla="*/ 177798 h 178197"/>
                      <a:gd name="connsiteX3" fmla="*/ 0 w 129620"/>
                      <a:gd name="connsiteY3" fmla="*/ 153987 h 178197"/>
                      <a:gd name="connsiteX4" fmla="*/ 78584 w 129620"/>
                      <a:gd name="connsiteY4" fmla="*/ 0 h 178197"/>
                      <a:gd name="connsiteX0" fmla="*/ 78584 w 130038"/>
                      <a:gd name="connsiteY0" fmla="*/ 0 h 177798"/>
                      <a:gd name="connsiteX1" fmla="*/ 123826 w 130038"/>
                      <a:gd name="connsiteY1" fmla="*/ 21430 h 177798"/>
                      <a:gd name="connsiteX2" fmla="*/ 42863 w 130038"/>
                      <a:gd name="connsiteY2" fmla="*/ 177798 h 177798"/>
                      <a:gd name="connsiteX3" fmla="*/ 0 w 130038"/>
                      <a:gd name="connsiteY3" fmla="*/ 153987 h 177798"/>
                      <a:gd name="connsiteX4" fmla="*/ 78584 w 130038"/>
                      <a:gd name="connsiteY4" fmla="*/ 0 h 177798"/>
                      <a:gd name="connsiteX0" fmla="*/ 78584 w 127420"/>
                      <a:gd name="connsiteY0" fmla="*/ 0 h 177798"/>
                      <a:gd name="connsiteX1" fmla="*/ 123826 w 127420"/>
                      <a:gd name="connsiteY1" fmla="*/ 21430 h 177798"/>
                      <a:gd name="connsiteX2" fmla="*/ 42863 w 127420"/>
                      <a:gd name="connsiteY2" fmla="*/ 177798 h 177798"/>
                      <a:gd name="connsiteX3" fmla="*/ 0 w 127420"/>
                      <a:gd name="connsiteY3" fmla="*/ 153987 h 177798"/>
                      <a:gd name="connsiteX4" fmla="*/ 78584 w 127420"/>
                      <a:gd name="connsiteY4" fmla="*/ 0 h 177798"/>
                      <a:gd name="connsiteX0" fmla="*/ 78584 w 127595"/>
                      <a:gd name="connsiteY0" fmla="*/ 0 h 177798"/>
                      <a:gd name="connsiteX1" fmla="*/ 123826 w 127595"/>
                      <a:gd name="connsiteY1" fmla="*/ 21430 h 177798"/>
                      <a:gd name="connsiteX2" fmla="*/ 42863 w 127595"/>
                      <a:gd name="connsiteY2" fmla="*/ 177798 h 177798"/>
                      <a:gd name="connsiteX3" fmla="*/ 0 w 127595"/>
                      <a:gd name="connsiteY3" fmla="*/ 153987 h 177798"/>
                      <a:gd name="connsiteX4" fmla="*/ 78584 w 127595"/>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78584 w 127752"/>
                      <a:gd name="connsiteY0" fmla="*/ 0 h 177798"/>
                      <a:gd name="connsiteX1" fmla="*/ 123826 w 127752"/>
                      <a:gd name="connsiteY1" fmla="*/ 21430 h 177798"/>
                      <a:gd name="connsiteX2" fmla="*/ 44727 w 127752"/>
                      <a:gd name="connsiteY2" fmla="*/ 177798 h 177798"/>
                      <a:gd name="connsiteX3" fmla="*/ 0 w 127752"/>
                      <a:gd name="connsiteY3" fmla="*/ 153987 h 177798"/>
                      <a:gd name="connsiteX4" fmla="*/ 78584 w 127752"/>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7798"/>
                      <a:gd name="connsiteX1" fmla="*/ 127554 w 131480"/>
                      <a:gd name="connsiteY1" fmla="*/ 21430 h 177798"/>
                      <a:gd name="connsiteX2" fmla="*/ 48455 w 131480"/>
                      <a:gd name="connsiteY2" fmla="*/ 177798 h 177798"/>
                      <a:gd name="connsiteX3" fmla="*/ 0 w 131480"/>
                      <a:gd name="connsiteY3" fmla="*/ 153987 h 177798"/>
                      <a:gd name="connsiteX4" fmla="*/ 82312 w 131480"/>
                      <a:gd name="connsiteY4" fmla="*/ 0 h 177798"/>
                      <a:gd name="connsiteX0" fmla="*/ 82312 w 131480"/>
                      <a:gd name="connsiteY0" fmla="*/ 0 h 175934"/>
                      <a:gd name="connsiteX1" fmla="*/ 127554 w 131480"/>
                      <a:gd name="connsiteY1" fmla="*/ 21430 h 175934"/>
                      <a:gd name="connsiteX2" fmla="*/ 48455 w 131480"/>
                      <a:gd name="connsiteY2" fmla="*/ 175934 h 175934"/>
                      <a:gd name="connsiteX3" fmla="*/ 0 w 131480"/>
                      <a:gd name="connsiteY3" fmla="*/ 153987 h 175934"/>
                      <a:gd name="connsiteX4" fmla="*/ 82312 w 131480"/>
                      <a:gd name="connsiteY4" fmla="*/ 0 h 175934"/>
                      <a:gd name="connsiteX0" fmla="*/ 82312 w 131480"/>
                      <a:gd name="connsiteY0" fmla="*/ 0 h 175934"/>
                      <a:gd name="connsiteX1" fmla="*/ 127554 w 131480"/>
                      <a:gd name="connsiteY1" fmla="*/ 21430 h 175934"/>
                      <a:gd name="connsiteX2" fmla="*/ 48455 w 131480"/>
                      <a:gd name="connsiteY2" fmla="*/ 175934 h 175934"/>
                      <a:gd name="connsiteX3" fmla="*/ 0 w 131480"/>
                      <a:gd name="connsiteY3" fmla="*/ 153987 h 175934"/>
                      <a:gd name="connsiteX4" fmla="*/ 82312 w 131480"/>
                      <a:gd name="connsiteY4" fmla="*/ 0 h 175934"/>
                      <a:gd name="connsiteX0" fmla="*/ 82312 w 131480"/>
                      <a:gd name="connsiteY0" fmla="*/ 0 h 175934"/>
                      <a:gd name="connsiteX1" fmla="*/ 127554 w 131480"/>
                      <a:gd name="connsiteY1" fmla="*/ 21430 h 175934"/>
                      <a:gd name="connsiteX2" fmla="*/ 48455 w 131480"/>
                      <a:gd name="connsiteY2" fmla="*/ 175934 h 175934"/>
                      <a:gd name="connsiteX3" fmla="*/ 0 w 131480"/>
                      <a:gd name="connsiteY3" fmla="*/ 153987 h 175934"/>
                      <a:gd name="connsiteX4" fmla="*/ 82312 w 131480"/>
                      <a:gd name="connsiteY4" fmla="*/ 0 h 175934"/>
                      <a:gd name="connsiteX0" fmla="*/ 74856 w 124024"/>
                      <a:gd name="connsiteY0" fmla="*/ 0 h 175934"/>
                      <a:gd name="connsiteX1" fmla="*/ 120098 w 124024"/>
                      <a:gd name="connsiteY1" fmla="*/ 21430 h 175934"/>
                      <a:gd name="connsiteX2" fmla="*/ 40999 w 124024"/>
                      <a:gd name="connsiteY2" fmla="*/ 175934 h 175934"/>
                      <a:gd name="connsiteX3" fmla="*/ 0 w 124024"/>
                      <a:gd name="connsiteY3" fmla="*/ 159579 h 175934"/>
                      <a:gd name="connsiteX4" fmla="*/ 74856 w 124024"/>
                      <a:gd name="connsiteY4" fmla="*/ 0 h 175934"/>
                      <a:gd name="connsiteX0" fmla="*/ 74856 w 124376"/>
                      <a:gd name="connsiteY0" fmla="*/ 0 h 177799"/>
                      <a:gd name="connsiteX1" fmla="*/ 120098 w 124376"/>
                      <a:gd name="connsiteY1" fmla="*/ 21430 h 177799"/>
                      <a:gd name="connsiteX2" fmla="*/ 44727 w 124376"/>
                      <a:gd name="connsiteY2" fmla="*/ 177799 h 177799"/>
                      <a:gd name="connsiteX3" fmla="*/ 0 w 124376"/>
                      <a:gd name="connsiteY3" fmla="*/ 159579 h 177799"/>
                      <a:gd name="connsiteX4" fmla="*/ 74856 w 124376"/>
                      <a:gd name="connsiteY4" fmla="*/ 0 h 177799"/>
                      <a:gd name="connsiteX0" fmla="*/ 74856 w 124376"/>
                      <a:gd name="connsiteY0" fmla="*/ 0 h 177799"/>
                      <a:gd name="connsiteX1" fmla="*/ 120098 w 124376"/>
                      <a:gd name="connsiteY1" fmla="*/ 21430 h 177799"/>
                      <a:gd name="connsiteX2" fmla="*/ 44727 w 124376"/>
                      <a:gd name="connsiteY2" fmla="*/ 177799 h 177799"/>
                      <a:gd name="connsiteX3" fmla="*/ 0 w 124376"/>
                      <a:gd name="connsiteY3" fmla="*/ 159579 h 177799"/>
                      <a:gd name="connsiteX4" fmla="*/ 74856 w 124376"/>
                      <a:gd name="connsiteY4" fmla="*/ 0 h 177799"/>
                      <a:gd name="connsiteX0" fmla="*/ 74856 w 124194"/>
                      <a:gd name="connsiteY0" fmla="*/ 0 h 175934"/>
                      <a:gd name="connsiteX1" fmla="*/ 120098 w 124194"/>
                      <a:gd name="connsiteY1" fmla="*/ 21430 h 175934"/>
                      <a:gd name="connsiteX2" fmla="*/ 42863 w 124194"/>
                      <a:gd name="connsiteY2" fmla="*/ 175934 h 175934"/>
                      <a:gd name="connsiteX3" fmla="*/ 0 w 124194"/>
                      <a:gd name="connsiteY3" fmla="*/ 159579 h 175934"/>
                      <a:gd name="connsiteX4" fmla="*/ 74856 w 124194"/>
                      <a:gd name="connsiteY4" fmla="*/ 0 h 175934"/>
                      <a:gd name="connsiteX0" fmla="*/ 74856 w 124194"/>
                      <a:gd name="connsiteY0" fmla="*/ 0 h 175934"/>
                      <a:gd name="connsiteX1" fmla="*/ 120098 w 124194"/>
                      <a:gd name="connsiteY1" fmla="*/ 21430 h 175934"/>
                      <a:gd name="connsiteX2" fmla="*/ 42863 w 124194"/>
                      <a:gd name="connsiteY2" fmla="*/ 175934 h 175934"/>
                      <a:gd name="connsiteX3" fmla="*/ 0 w 124194"/>
                      <a:gd name="connsiteY3" fmla="*/ 159579 h 175934"/>
                      <a:gd name="connsiteX4" fmla="*/ 74856 w 124194"/>
                      <a:gd name="connsiteY4" fmla="*/ 0 h 175934"/>
                      <a:gd name="connsiteX0" fmla="*/ 74856 w 123615"/>
                      <a:gd name="connsiteY0" fmla="*/ 0 h 175934"/>
                      <a:gd name="connsiteX1" fmla="*/ 120098 w 123615"/>
                      <a:gd name="connsiteY1" fmla="*/ 21430 h 175934"/>
                      <a:gd name="connsiteX2" fmla="*/ 42863 w 123615"/>
                      <a:gd name="connsiteY2" fmla="*/ 175934 h 175934"/>
                      <a:gd name="connsiteX3" fmla="*/ 0 w 123615"/>
                      <a:gd name="connsiteY3" fmla="*/ 159579 h 175934"/>
                      <a:gd name="connsiteX4" fmla="*/ 74856 w 123615"/>
                      <a:gd name="connsiteY4" fmla="*/ 0 h 175934"/>
                      <a:gd name="connsiteX0" fmla="*/ 74856 w 123615"/>
                      <a:gd name="connsiteY0" fmla="*/ 0 h 175934"/>
                      <a:gd name="connsiteX1" fmla="*/ 120098 w 123615"/>
                      <a:gd name="connsiteY1" fmla="*/ 21430 h 175934"/>
                      <a:gd name="connsiteX2" fmla="*/ 42863 w 123615"/>
                      <a:gd name="connsiteY2" fmla="*/ 175934 h 175934"/>
                      <a:gd name="connsiteX3" fmla="*/ 0 w 123615"/>
                      <a:gd name="connsiteY3" fmla="*/ 159579 h 175934"/>
                      <a:gd name="connsiteX4" fmla="*/ 74856 w 123615"/>
                      <a:gd name="connsiteY4" fmla="*/ 0 h 175934"/>
                      <a:gd name="connsiteX0" fmla="*/ 74856 w 123615"/>
                      <a:gd name="connsiteY0" fmla="*/ 0 h 175934"/>
                      <a:gd name="connsiteX1" fmla="*/ 120098 w 123615"/>
                      <a:gd name="connsiteY1" fmla="*/ 21430 h 175934"/>
                      <a:gd name="connsiteX2" fmla="*/ 42863 w 123615"/>
                      <a:gd name="connsiteY2" fmla="*/ 175934 h 175934"/>
                      <a:gd name="connsiteX3" fmla="*/ 0 w 123615"/>
                      <a:gd name="connsiteY3" fmla="*/ 159579 h 175934"/>
                      <a:gd name="connsiteX4" fmla="*/ 74856 w 123615"/>
                      <a:gd name="connsiteY4" fmla="*/ 0 h 175934"/>
                      <a:gd name="connsiteX0" fmla="*/ 74856 w 123615"/>
                      <a:gd name="connsiteY0" fmla="*/ 0 h 175934"/>
                      <a:gd name="connsiteX1" fmla="*/ 120098 w 123615"/>
                      <a:gd name="connsiteY1" fmla="*/ 21430 h 175934"/>
                      <a:gd name="connsiteX2" fmla="*/ 42863 w 123615"/>
                      <a:gd name="connsiteY2" fmla="*/ 175934 h 175934"/>
                      <a:gd name="connsiteX3" fmla="*/ 0 w 123615"/>
                      <a:gd name="connsiteY3" fmla="*/ 159579 h 175934"/>
                      <a:gd name="connsiteX4" fmla="*/ 74856 w 123615"/>
                      <a:gd name="connsiteY4" fmla="*/ 0 h 175934"/>
                      <a:gd name="connsiteX0" fmla="*/ 74856 w 123887"/>
                      <a:gd name="connsiteY0" fmla="*/ 0 h 175934"/>
                      <a:gd name="connsiteX1" fmla="*/ 120098 w 123887"/>
                      <a:gd name="connsiteY1" fmla="*/ 21430 h 175934"/>
                      <a:gd name="connsiteX2" fmla="*/ 42863 w 123887"/>
                      <a:gd name="connsiteY2" fmla="*/ 175934 h 175934"/>
                      <a:gd name="connsiteX3" fmla="*/ 0 w 123887"/>
                      <a:gd name="connsiteY3" fmla="*/ 159579 h 175934"/>
                      <a:gd name="connsiteX4" fmla="*/ 74856 w 123887"/>
                      <a:gd name="connsiteY4" fmla="*/ 0 h 175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87" h="175934">
                        <a:moveTo>
                          <a:pt x="74856" y="0"/>
                        </a:moveTo>
                        <a:cubicBezTo>
                          <a:pt x="99464" y="13530"/>
                          <a:pt x="96839" y="12458"/>
                          <a:pt x="120098" y="21430"/>
                        </a:cubicBezTo>
                        <a:cubicBezTo>
                          <a:pt x="134386" y="72758"/>
                          <a:pt x="108192" y="165398"/>
                          <a:pt x="42863" y="175934"/>
                        </a:cubicBezTo>
                        <a:cubicBezTo>
                          <a:pt x="23019" y="167995"/>
                          <a:pt x="19845" y="167208"/>
                          <a:pt x="0" y="159579"/>
                        </a:cubicBezTo>
                        <a:cubicBezTo>
                          <a:pt x="61119" y="140000"/>
                          <a:pt x="85172" y="60062"/>
                          <a:pt x="74856" y="0"/>
                        </a:cubicBezTo>
                        <a:close/>
                      </a:path>
                    </a:pathLst>
                  </a:custGeom>
                  <a:solidFill>
                    <a:srgbClr val="BFBFB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42" name="Rectangle 16"/>
                  <p:cNvSpPr/>
                  <p:nvPr/>
                </p:nvSpPr>
                <p:spPr>
                  <a:xfrm rot="1545906" flipH="1">
                    <a:off x="6051604" y="3140499"/>
                    <a:ext cx="154502" cy="169494"/>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4368"/>
                      <a:gd name="connsiteY0" fmla="*/ 0 h 368300"/>
                      <a:gd name="connsiteX1" fmla="*/ 664368 w 664368"/>
                      <a:gd name="connsiteY1" fmla="*/ 235744 h 368300"/>
                      <a:gd name="connsiteX2" fmla="*/ 571500 w 664368"/>
                      <a:gd name="connsiteY2" fmla="*/ 368300 h 368300"/>
                      <a:gd name="connsiteX3" fmla="*/ 0 w 664368"/>
                      <a:gd name="connsiteY3" fmla="*/ 368300 h 368300"/>
                      <a:gd name="connsiteX4" fmla="*/ 0 w 664368"/>
                      <a:gd name="connsiteY4" fmla="*/ 0 h 368300"/>
                      <a:gd name="connsiteX0" fmla="*/ 0 w 671347"/>
                      <a:gd name="connsiteY0" fmla="*/ 0 h 368300"/>
                      <a:gd name="connsiteX1" fmla="*/ 664368 w 671347"/>
                      <a:gd name="connsiteY1" fmla="*/ 235744 h 368300"/>
                      <a:gd name="connsiteX2" fmla="*/ 571500 w 671347"/>
                      <a:gd name="connsiteY2" fmla="*/ 368300 h 368300"/>
                      <a:gd name="connsiteX3" fmla="*/ 0 w 671347"/>
                      <a:gd name="connsiteY3" fmla="*/ 368300 h 368300"/>
                      <a:gd name="connsiteX4" fmla="*/ 0 w 671347"/>
                      <a:gd name="connsiteY4" fmla="*/ 0 h 368300"/>
                      <a:gd name="connsiteX0" fmla="*/ 0 w 664610"/>
                      <a:gd name="connsiteY0" fmla="*/ 0 h 368300"/>
                      <a:gd name="connsiteX1" fmla="*/ 664368 w 664610"/>
                      <a:gd name="connsiteY1" fmla="*/ 235744 h 368300"/>
                      <a:gd name="connsiteX2" fmla="*/ 571500 w 664610"/>
                      <a:gd name="connsiteY2" fmla="*/ 368300 h 368300"/>
                      <a:gd name="connsiteX3" fmla="*/ 0 w 664610"/>
                      <a:gd name="connsiteY3" fmla="*/ 368300 h 368300"/>
                      <a:gd name="connsiteX4" fmla="*/ 0 w 664610"/>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490538 w 664748"/>
                      <a:gd name="connsiteY0" fmla="*/ 0 h 215900"/>
                      <a:gd name="connsiteX1" fmla="*/ 664368 w 664748"/>
                      <a:gd name="connsiteY1" fmla="*/ 83344 h 215900"/>
                      <a:gd name="connsiteX2" fmla="*/ 571500 w 664748"/>
                      <a:gd name="connsiteY2" fmla="*/ 215900 h 215900"/>
                      <a:gd name="connsiteX3" fmla="*/ 0 w 664748"/>
                      <a:gd name="connsiteY3" fmla="*/ 215900 h 215900"/>
                      <a:gd name="connsiteX4" fmla="*/ 490538 w 664748"/>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5251 w 271842"/>
                      <a:gd name="connsiteY0" fmla="*/ 0 h 225425"/>
                      <a:gd name="connsiteX1" fmla="*/ 271462 w 271842"/>
                      <a:gd name="connsiteY1" fmla="*/ 92869 h 225425"/>
                      <a:gd name="connsiteX2" fmla="*/ 178594 w 271842"/>
                      <a:gd name="connsiteY2" fmla="*/ 225425 h 225425"/>
                      <a:gd name="connsiteX3" fmla="*/ 0 w 271842"/>
                      <a:gd name="connsiteY3" fmla="*/ 139700 h 225425"/>
                      <a:gd name="connsiteX4" fmla="*/ 95251 w 271842"/>
                      <a:gd name="connsiteY4" fmla="*/ 0 h 225425"/>
                      <a:gd name="connsiteX0" fmla="*/ 92870 w 271842"/>
                      <a:gd name="connsiteY0" fmla="*/ 0 h 220662"/>
                      <a:gd name="connsiteX1" fmla="*/ 271462 w 271842"/>
                      <a:gd name="connsiteY1" fmla="*/ 88106 h 220662"/>
                      <a:gd name="connsiteX2" fmla="*/ 178594 w 271842"/>
                      <a:gd name="connsiteY2" fmla="*/ 220662 h 220662"/>
                      <a:gd name="connsiteX3" fmla="*/ 0 w 271842"/>
                      <a:gd name="connsiteY3" fmla="*/ 134937 h 220662"/>
                      <a:gd name="connsiteX4" fmla="*/ 92870 w 271842"/>
                      <a:gd name="connsiteY4" fmla="*/ 0 h 220662"/>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85726 w 271842"/>
                      <a:gd name="connsiteY0" fmla="*/ 0 h 230186"/>
                      <a:gd name="connsiteX1" fmla="*/ 271462 w 271842"/>
                      <a:gd name="connsiteY1" fmla="*/ 97630 h 230186"/>
                      <a:gd name="connsiteX2" fmla="*/ 178594 w 271842"/>
                      <a:gd name="connsiteY2" fmla="*/ 230186 h 230186"/>
                      <a:gd name="connsiteX3" fmla="*/ 0 w 271842"/>
                      <a:gd name="connsiteY3" fmla="*/ 144461 h 230186"/>
                      <a:gd name="connsiteX4" fmla="*/ 85726 w 271842"/>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2567"/>
                      <a:gd name="connsiteX1" fmla="*/ 285750 w 286111"/>
                      <a:gd name="connsiteY1" fmla="*/ 97630 h 232567"/>
                      <a:gd name="connsiteX2" fmla="*/ 190501 w 286111"/>
                      <a:gd name="connsiteY2" fmla="*/ 232567 h 232567"/>
                      <a:gd name="connsiteX3" fmla="*/ 0 w 286111"/>
                      <a:gd name="connsiteY3" fmla="*/ 153986 h 232567"/>
                      <a:gd name="connsiteX4" fmla="*/ 97633 w 286111"/>
                      <a:gd name="connsiteY4" fmla="*/ 0 h 232567"/>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200027 w 286111"/>
                      <a:gd name="connsiteY0" fmla="*/ 0 h 182561"/>
                      <a:gd name="connsiteX1" fmla="*/ 285750 w 286111"/>
                      <a:gd name="connsiteY1" fmla="*/ 47624 h 182561"/>
                      <a:gd name="connsiteX2" fmla="*/ 190501 w 286111"/>
                      <a:gd name="connsiteY2" fmla="*/ 182561 h 182561"/>
                      <a:gd name="connsiteX3" fmla="*/ 0 w 286111"/>
                      <a:gd name="connsiteY3" fmla="*/ 103980 h 182561"/>
                      <a:gd name="connsiteX4" fmla="*/ 200027 w 286111"/>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2080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66678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66678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6204 w 167050"/>
                      <a:gd name="connsiteY0" fmla="*/ 0 h 182561"/>
                      <a:gd name="connsiteX1" fmla="*/ 166689 w 167050"/>
                      <a:gd name="connsiteY1" fmla="*/ 47624 h 182561"/>
                      <a:gd name="connsiteX2" fmla="*/ 71440 w 167050"/>
                      <a:gd name="connsiteY2" fmla="*/ 182561 h 182561"/>
                      <a:gd name="connsiteX3" fmla="*/ 0 w 167050"/>
                      <a:gd name="connsiteY3" fmla="*/ 144462 h 182561"/>
                      <a:gd name="connsiteX4" fmla="*/ 76204 w 167050"/>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900"/>
                      <a:gd name="connsiteY0" fmla="*/ 0 h 189705"/>
                      <a:gd name="connsiteX1" fmla="*/ 164308 w 164900"/>
                      <a:gd name="connsiteY1" fmla="*/ 47624 h 189705"/>
                      <a:gd name="connsiteX2" fmla="*/ 88109 w 164900"/>
                      <a:gd name="connsiteY2" fmla="*/ 189705 h 189705"/>
                      <a:gd name="connsiteX3" fmla="*/ 0 w 164900"/>
                      <a:gd name="connsiteY3" fmla="*/ 139699 h 189705"/>
                      <a:gd name="connsiteX4" fmla="*/ 73823 w 164900"/>
                      <a:gd name="connsiteY4" fmla="*/ 0 h 189705"/>
                      <a:gd name="connsiteX0" fmla="*/ 73823 w 164711"/>
                      <a:gd name="connsiteY0" fmla="*/ 0 h 189705"/>
                      <a:gd name="connsiteX1" fmla="*/ 164308 w 164711"/>
                      <a:gd name="connsiteY1" fmla="*/ 47624 h 189705"/>
                      <a:gd name="connsiteX2" fmla="*/ 88109 w 164711"/>
                      <a:gd name="connsiteY2" fmla="*/ 189705 h 189705"/>
                      <a:gd name="connsiteX3" fmla="*/ 0 w 164711"/>
                      <a:gd name="connsiteY3" fmla="*/ 139699 h 189705"/>
                      <a:gd name="connsiteX4" fmla="*/ 73823 w 164711"/>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54773 w 164599"/>
                      <a:gd name="connsiteY0" fmla="*/ 0 h 201611"/>
                      <a:gd name="connsiteX1" fmla="*/ 164308 w 164599"/>
                      <a:gd name="connsiteY1" fmla="*/ 59530 h 201611"/>
                      <a:gd name="connsiteX2" fmla="*/ 88109 w 164599"/>
                      <a:gd name="connsiteY2" fmla="*/ 201611 h 201611"/>
                      <a:gd name="connsiteX3" fmla="*/ 0 w 164599"/>
                      <a:gd name="connsiteY3" fmla="*/ 151605 h 201611"/>
                      <a:gd name="connsiteX4" fmla="*/ 54773 w 164599"/>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781"/>
                      <a:gd name="connsiteY0" fmla="*/ 0 h 201611"/>
                      <a:gd name="connsiteX1" fmla="*/ 180977 w 181781"/>
                      <a:gd name="connsiteY1" fmla="*/ 59530 h 201611"/>
                      <a:gd name="connsiteX2" fmla="*/ 104778 w 181781"/>
                      <a:gd name="connsiteY2" fmla="*/ 201611 h 201611"/>
                      <a:gd name="connsiteX3" fmla="*/ 0 w 181781"/>
                      <a:gd name="connsiteY3" fmla="*/ 151605 h 201611"/>
                      <a:gd name="connsiteX4" fmla="*/ 71442 w 181781"/>
                      <a:gd name="connsiteY4" fmla="*/ 0 h 201611"/>
                      <a:gd name="connsiteX0" fmla="*/ 71442 w 185660"/>
                      <a:gd name="connsiteY0" fmla="*/ 0 h 201611"/>
                      <a:gd name="connsiteX1" fmla="*/ 180977 w 185660"/>
                      <a:gd name="connsiteY1" fmla="*/ 59530 h 201611"/>
                      <a:gd name="connsiteX2" fmla="*/ 104778 w 185660"/>
                      <a:gd name="connsiteY2" fmla="*/ 201611 h 201611"/>
                      <a:gd name="connsiteX3" fmla="*/ 0 w 185660"/>
                      <a:gd name="connsiteY3" fmla="*/ 151605 h 201611"/>
                      <a:gd name="connsiteX4" fmla="*/ 71442 w 185660"/>
                      <a:gd name="connsiteY4" fmla="*/ 0 h 201611"/>
                      <a:gd name="connsiteX0" fmla="*/ 71442 w 183178"/>
                      <a:gd name="connsiteY0" fmla="*/ 0 h 201611"/>
                      <a:gd name="connsiteX1" fmla="*/ 180977 w 183178"/>
                      <a:gd name="connsiteY1" fmla="*/ 59530 h 201611"/>
                      <a:gd name="connsiteX2" fmla="*/ 104778 w 183178"/>
                      <a:gd name="connsiteY2" fmla="*/ 201611 h 201611"/>
                      <a:gd name="connsiteX3" fmla="*/ 0 w 183178"/>
                      <a:gd name="connsiteY3" fmla="*/ 151605 h 201611"/>
                      <a:gd name="connsiteX4" fmla="*/ 71442 w 183178"/>
                      <a:gd name="connsiteY4" fmla="*/ 0 h 201611"/>
                      <a:gd name="connsiteX0" fmla="*/ 73766 w 183178"/>
                      <a:gd name="connsiteY0" fmla="*/ 0 h 169276"/>
                      <a:gd name="connsiteX1" fmla="*/ 180977 w 183178"/>
                      <a:gd name="connsiteY1" fmla="*/ 27195 h 169276"/>
                      <a:gd name="connsiteX2" fmla="*/ 104778 w 183178"/>
                      <a:gd name="connsiteY2" fmla="*/ 169276 h 169276"/>
                      <a:gd name="connsiteX3" fmla="*/ 0 w 183178"/>
                      <a:gd name="connsiteY3" fmla="*/ 119270 h 169276"/>
                      <a:gd name="connsiteX4" fmla="*/ 73766 w 183178"/>
                      <a:gd name="connsiteY4" fmla="*/ 0 h 169276"/>
                      <a:gd name="connsiteX0" fmla="*/ 73766 w 183178"/>
                      <a:gd name="connsiteY0" fmla="*/ 0 h 182590"/>
                      <a:gd name="connsiteX1" fmla="*/ 180977 w 183178"/>
                      <a:gd name="connsiteY1" fmla="*/ 40509 h 182590"/>
                      <a:gd name="connsiteX2" fmla="*/ 104778 w 183178"/>
                      <a:gd name="connsiteY2" fmla="*/ 182590 h 182590"/>
                      <a:gd name="connsiteX3" fmla="*/ 0 w 183178"/>
                      <a:gd name="connsiteY3" fmla="*/ 132584 h 182590"/>
                      <a:gd name="connsiteX4" fmla="*/ 73766 w 183178"/>
                      <a:gd name="connsiteY4" fmla="*/ 0 h 182590"/>
                      <a:gd name="connsiteX0" fmla="*/ 73766 w 183178"/>
                      <a:gd name="connsiteY0" fmla="*/ 0 h 182590"/>
                      <a:gd name="connsiteX1" fmla="*/ 180977 w 183178"/>
                      <a:gd name="connsiteY1" fmla="*/ 40509 h 182590"/>
                      <a:gd name="connsiteX2" fmla="*/ 104778 w 183178"/>
                      <a:gd name="connsiteY2" fmla="*/ 182590 h 182590"/>
                      <a:gd name="connsiteX3" fmla="*/ 0 w 183178"/>
                      <a:gd name="connsiteY3" fmla="*/ 132584 h 182590"/>
                      <a:gd name="connsiteX4" fmla="*/ 73766 w 183178"/>
                      <a:gd name="connsiteY4" fmla="*/ 0 h 182590"/>
                      <a:gd name="connsiteX0" fmla="*/ 92358 w 183178"/>
                      <a:gd name="connsiteY0" fmla="*/ 14205 h 153049"/>
                      <a:gd name="connsiteX1" fmla="*/ 180977 w 183178"/>
                      <a:gd name="connsiteY1" fmla="*/ 10968 h 153049"/>
                      <a:gd name="connsiteX2" fmla="*/ 104778 w 183178"/>
                      <a:gd name="connsiteY2" fmla="*/ 153049 h 153049"/>
                      <a:gd name="connsiteX3" fmla="*/ 0 w 183178"/>
                      <a:gd name="connsiteY3" fmla="*/ 103043 h 153049"/>
                      <a:gd name="connsiteX4" fmla="*/ 92358 w 183178"/>
                      <a:gd name="connsiteY4" fmla="*/ 14205 h 153049"/>
                      <a:gd name="connsiteX0" fmla="*/ 90034 w 183178"/>
                      <a:gd name="connsiteY0" fmla="*/ 0 h 159766"/>
                      <a:gd name="connsiteX1" fmla="*/ 180977 w 183178"/>
                      <a:gd name="connsiteY1" fmla="*/ 17685 h 159766"/>
                      <a:gd name="connsiteX2" fmla="*/ 104778 w 183178"/>
                      <a:gd name="connsiteY2" fmla="*/ 159766 h 159766"/>
                      <a:gd name="connsiteX3" fmla="*/ 0 w 183178"/>
                      <a:gd name="connsiteY3" fmla="*/ 109760 h 159766"/>
                      <a:gd name="connsiteX4" fmla="*/ 90034 w 183178"/>
                      <a:gd name="connsiteY4" fmla="*/ 0 h 159766"/>
                      <a:gd name="connsiteX0" fmla="*/ 90034 w 183178"/>
                      <a:gd name="connsiteY0" fmla="*/ 0 h 159766"/>
                      <a:gd name="connsiteX1" fmla="*/ 180977 w 183178"/>
                      <a:gd name="connsiteY1" fmla="*/ 17685 h 159766"/>
                      <a:gd name="connsiteX2" fmla="*/ 104778 w 183178"/>
                      <a:gd name="connsiteY2" fmla="*/ 159766 h 159766"/>
                      <a:gd name="connsiteX3" fmla="*/ 0 w 183178"/>
                      <a:gd name="connsiteY3" fmla="*/ 109760 h 159766"/>
                      <a:gd name="connsiteX4" fmla="*/ 90034 w 183178"/>
                      <a:gd name="connsiteY4" fmla="*/ 0 h 159766"/>
                      <a:gd name="connsiteX0" fmla="*/ 90034 w 183178"/>
                      <a:gd name="connsiteY0" fmla="*/ 0 h 159766"/>
                      <a:gd name="connsiteX1" fmla="*/ 180977 w 183178"/>
                      <a:gd name="connsiteY1" fmla="*/ 17685 h 159766"/>
                      <a:gd name="connsiteX2" fmla="*/ 104778 w 183178"/>
                      <a:gd name="connsiteY2" fmla="*/ 159766 h 159766"/>
                      <a:gd name="connsiteX3" fmla="*/ 0 w 183178"/>
                      <a:gd name="connsiteY3" fmla="*/ 109760 h 159766"/>
                      <a:gd name="connsiteX4" fmla="*/ 90034 w 183178"/>
                      <a:gd name="connsiteY4" fmla="*/ 0 h 159766"/>
                      <a:gd name="connsiteX0" fmla="*/ 90034 w 183178"/>
                      <a:gd name="connsiteY0" fmla="*/ 0 h 159766"/>
                      <a:gd name="connsiteX1" fmla="*/ 180977 w 183178"/>
                      <a:gd name="connsiteY1" fmla="*/ 17685 h 159766"/>
                      <a:gd name="connsiteX2" fmla="*/ 104778 w 183178"/>
                      <a:gd name="connsiteY2" fmla="*/ 159766 h 159766"/>
                      <a:gd name="connsiteX3" fmla="*/ 0 w 183178"/>
                      <a:gd name="connsiteY3" fmla="*/ 109760 h 159766"/>
                      <a:gd name="connsiteX4" fmla="*/ 90034 w 183178"/>
                      <a:gd name="connsiteY4" fmla="*/ 0 h 159766"/>
                      <a:gd name="connsiteX0" fmla="*/ 101653 w 183178"/>
                      <a:gd name="connsiteY0" fmla="*/ 0 h 169276"/>
                      <a:gd name="connsiteX1" fmla="*/ 180977 w 183178"/>
                      <a:gd name="connsiteY1" fmla="*/ 27195 h 169276"/>
                      <a:gd name="connsiteX2" fmla="*/ 104778 w 183178"/>
                      <a:gd name="connsiteY2" fmla="*/ 169276 h 169276"/>
                      <a:gd name="connsiteX3" fmla="*/ 0 w 183178"/>
                      <a:gd name="connsiteY3" fmla="*/ 119270 h 169276"/>
                      <a:gd name="connsiteX4" fmla="*/ 101653 w 183178"/>
                      <a:gd name="connsiteY4" fmla="*/ 0 h 169276"/>
                      <a:gd name="connsiteX0" fmla="*/ 101653 w 183178"/>
                      <a:gd name="connsiteY0" fmla="*/ 0 h 169276"/>
                      <a:gd name="connsiteX1" fmla="*/ 180977 w 183178"/>
                      <a:gd name="connsiteY1" fmla="*/ 27195 h 169276"/>
                      <a:gd name="connsiteX2" fmla="*/ 104778 w 183178"/>
                      <a:gd name="connsiteY2" fmla="*/ 169276 h 169276"/>
                      <a:gd name="connsiteX3" fmla="*/ 0 w 183178"/>
                      <a:gd name="connsiteY3" fmla="*/ 119270 h 169276"/>
                      <a:gd name="connsiteX4" fmla="*/ 101653 w 183178"/>
                      <a:gd name="connsiteY4" fmla="*/ 0 h 169276"/>
                      <a:gd name="connsiteX0" fmla="*/ 101653 w 183178"/>
                      <a:gd name="connsiteY0" fmla="*/ 0 h 169276"/>
                      <a:gd name="connsiteX1" fmla="*/ 180977 w 183178"/>
                      <a:gd name="connsiteY1" fmla="*/ 27195 h 169276"/>
                      <a:gd name="connsiteX2" fmla="*/ 104778 w 183178"/>
                      <a:gd name="connsiteY2" fmla="*/ 169276 h 169276"/>
                      <a:gd name="connsiteX3" fmla="*/ 0 w 183178"/>
                      <a:gd name="connsiteY3" fmla="*/ 119270 h 169276"/>
                      <a:gd name="connsiteX4" fmla="*/ 101653 w 183178"/>
                      <a:gd name="connsiteY4" fmla="*/ 0 h 169276"/>
                      <a:gd name="connsiteX0" fmla="*/ 101653 w 183178"/>
                      <a:gd name="connsiteY0" fmla="*/ 0 h 169276"/>
                      <a:gd name="connsiteX1" fmla="*/ 180977 w 183178"/>
                      <a:gd name="connsiteY1" fmla="*/ 27195 h 169276"/>
                      <a:gd name="connsiteX2" fmla="*/ 104778 w 183178"/>
                      <a:gd name="connsiteY2" fmla="*/ 169276 h 169276"/>
                      <a:gd name="connsiteX3" fmla="*/ 0 w 183178"/>
                      <a:gd name="connsiteY3" fmla="*/ 119270 h 169276"/>
                      <a:gd name="connsiteX4" fmla="*/ 101653 w 183178"/>
                      <a:gd name="connsiteY4" fmla="*/ 0 h 169276"/>
                      <a:gd name="connsiteX0" fmla="*/ 101653 w 183178"/>
                      <a:gd name="connsiteY0" fmla="*/ 0 h 169276"/>
                      <a:gd name="connsiteX1" fmla="*/ 180977 w 183178"/>
                      <a:gd name="connsiteY1" fmla="*/ 27195 h 169276"/>
                      <a:gd name="connsiteX2" fmla="*/ 104778 w 183178"/>
                      <a:gd name="connsiteY2" fmla="*/ 169276 h 169276"/>
                      <a:gd name="connsiteX3" fmla="*/ 0 w 183178"/>
                      <a:gd name="connsiteY3" fmla="*/ 119270 h 169276"/>
                      <a:gd name="connsiteX4" fmla="*/ 101653 w 183178"/>
                      <a:gd name="connsiteY4" fmla="*/ 0 h 169276"/>
                      <a:gd name="connsiteX0" fmla="*/ 101653 w 183178"/>
                      <a:gd name="connsiteY0" fmla="*/ 0 h 169276"/>
                      <a:gd name="connsiteX1" fmla="*/ 180977 w 183178"/>
                      <a:gd name="connsiteY1" fmla="*/ 27195 h 169276"/>
                      <a:gd name="connsiteX2" fmla="*/ 104778 w 183178"/>
                      <a:gd name="connsiteY2" fmla="*/ 169276 h 169276"/>
                      <a:gd name="connsiteX3" fmla="*/ 0 w 183178"/>
                      <a:gd name="connsiteY3" fmla="*/ 119270 h 169276"/>
                      <a:gd name="connsiteX4" fmla="*/ 101653 w 183178"/>
                      <a:gd name="connsiteY4" fmla="*/ 0 h 169276"/>
                      <a:gd name="connsiteX0" fmla="*/ 99329 w 183178"/>
                      <a:gd name="connsiteY0" fmla="*/ 0 h 171178"/>
                      <a:gd name="connsiteX1" fmla="*/ 180977 w 183178"/>
                      <a:gd name="connsiteY1" fmla="*/ 29097 h 171178"/>
                      <a:gd name="connsiteX2" fmla="*/ 104778 w 183178"/>
                      <a:gd name="connsiteY2" fmla="*/ 171178 h 171178"/>
                      <a:gd name="connsiteX3" fmla="*/ 0 w 183178"/>
                      <a:gd name="connsiteY3" fmla="*/ 121172 h 171178"/>
                      <a:gd name="connsiteX4" fmla="*/ 99329 w 183178"/>
                      <a:gd name="connsiteY4" fmla="*/ 0 h 171178"/>
                      <a:gd name="connsiteX0" fmla="*/ 99329 w 183178"/>
                      <a:gd name="connsiteY0" fmla="*/ 0 h 171178"/>
                      <a:gd name="connsiteX1" fmla="*/ 180977 w 183178"/>
                      <a:gd name="connsiteY1" fmla="*/ 29097 h 171178"/>
                      <a:gd name="connsiteX2" fmla="*/ 104778 w 183178"/>
                      <a:gd name="connsiteY2" fmla="*/ 171178 h 171178"/>
                      <a:gd name="connsiteX3" fmla="*/ 0 w 183178"/>
                      <a:gd name="connsiteY3" fmla="*/ 121172 h 171178"/>
                      <a:gd name="connsiteX4" fmla="*/ 99329 w 183178"/>
                      <a:gd name="connsiteY4" fmla="*/ 0 h 171178"/>
                      <a:gd name="connsiteX0" fmla="*/ 99329 w 183178"/>
                      <a:gd name="connsiteY0" fmla="*/ 0 h 171178"/>
                      <a:gd name="connsiteX1" fmla="*/ 180977 w 183178"/>
                      <a:gd name="connsiteY1" fmla="*/ 29097 h 171178"/>
                      <a:gd name="connsiteX2" fmla="*/ 104778 w 183178"/>
                      <a:gd name="connsiteY2" fmla="*/ 171178 h 171178"/>
                      <a:gd name="connsiteX3" fmla="*/ 0 w 183178"/>
                      <a:gd name="connsiteY3" fmla="*/ 121172 h 171178"/>
                      <a:gd name="connsiteX4" fmla="*/ 99329 w 183178"/>
                      <a:gd name="connsiteY4" fmla="*/ 0 h 171178"/>
                      <a:gd name="connsiteX0" fmla="*/ 99329 w 183178"/>
                      <a:gd name="connsiteY0" fmla="*/ 0 h 171178"/>
                      <a:gd name="connsiteX1" fmla="*/ 180977 w 183178"/>
                      <a:gd name="connsiteY1" fmla="*/ 29097 h 171178"/>
                      <a:gd name="connsiteX2" fmla="*/ 104778 w 183178"/>
                      <a:gd name="connsiteY2" fmla="*/ 171178 h 171178"/>
                      <a:gd name="connsiteX3" fmla="*/ 0 w 183178"/>
                      <a:gd name="connsiteY3" fmla="*/ 121172 h 171178"/>
                      <a:gd name="connsiteX4" fmla="*/ 99329 w 183178"/>
                      <a:gd name="connsiteY4" fmla="*/ 0 h 171178"/>
                      <a:gd name="connsiteX0" fmla="*/ 99329 w 185659"/>
                      <a:gd name="connsiteY0" fmla="*/ 0 h 171178"/>
                      <a:gd name="connsiteX1" fmla="*/ 180977 w 185659"/>
                      <a:gd name="connsiteY1" fmla="*/ 29097 h 171178"/>
                      <a:gd name="connsiteX2" fmla="*/ 104778 w 185659"/>
                      <a:gd name="connsiteY2" fmla="*/ 171178 h 171178"/>
                      <a:gd name="connsiteX3" fmla="*/ 0 w 185659"/>
                      <a:gd name="connsiteY3" fmla="*/ 121172 h 171178"/>
                      <a:gd name="connsiteX4" fmla="*/ 99329 w 185659"/>
                      <a:gd name="connsiteY4" fmla="*/ 0 h 171178"/>
                      <a:gd name="connsiteX0" fmla="*/ 99329 w 186143"/>
                      <a:gd name="connsiteY0" fmla="*/ 0 h 171178"/>
                      <a:gd name="connsiteX1" fmla="*/ 180977 w 186143"/>
                      <a:gd name="connsiteY1" fmla="*/ 29097 h 171178"/>
                      <a:gd name="connsiteX2" fmla="*/ 109425 w 186143"/>
                      <a:gd name="connsiteY2" fmla="*/ 171178 h 171178"/>
                      <a:gd name="connsiteX3" fmla="*/ 0 w 186143"/>
                      <a:gd name="connsiteY3" fmla="*/ 121172 h 171178"/>
                      <a:gd name="connsiteX4" fmla="*/ 99329 w 186143"/>
                      <a:gd name="connsiteY4" fmla="*/ 0 h 171178"/>
                      <a:gd name="connsiteX0" fmla="*/ 99329 w 186143"/>
                      <a:gd name="connsiteY0" fmla="*/ 0 h 171178"/>
                      <a:gd name="connsiteX1" fmla="*/ 180977 w 186143"/>
                      <a:gd name="connsiteY1" fmla="*/ 29097 h 171178"/>
                      <a:gd name="connsiteX2" fmla="*/ 109425 w 186143"/>
                      <a:gd name="connsiteY2" fmla="*/ 171178 h 171178"/>
                      <a:gd name="connsiteX3" fmla="*/ 0 w 186143"/>
                      <a:gd name="connsiteY3" fmla="*/ 121172 h 171178"/>
                      <a:gd name="connsiteX4" fmla="*/ 99329 w 186143"/>
                      <a:gd name="connsiteY4" fmla="*/ 0 h 171178"/>
                      <a:gd name="connsiteX0" fmla="*/ 99329 w 186418"/>
                      <a:gd name="connsiteY0" fmla="*/ 0 h 171178"/>
                      <a:gd name="connsiteX1" fmla="*/ 180977 w 186418"/>
                      <a:gd name="connsiteY1" fmla="*/ 29097 h 171178"/>
                      <a:gd name="connsiteX2" fmla="*/ 111749 w 186418"/>
                      <a:gd name="connsiteY2" fmla="*/ 171178 h 171178"/>
                      <a:gd name="connsiteX3" fmla="*/ 0 w 186418"/>
                      <a:gd name="connsiteY3" fmla="*/ 121172 h 171178"/>
                      <a:gd name="connsiteX4" fmla="*/ 99329 w 186418"/>
                      <a:gd name="connsiteY4" fmla="*/ 0 h 171178"/>
                      <a:gd name="connsiteX0" fmla="*/ 99329 w 186418"/>
                      <a:gd name="connsiteY0" fmla="*/ 0 h 171178"/>
                      <a:gd name="connsiteX1" fmla="*/ 180977 w 186418"/>
                      <a:gd name="connsiteY1" fmla="*/ 29097 h 171178"/>
                      <a:gd name="connsiteX2" fmla="*/ 111749 w 186418"/>
                      <a:gd name="connsiteY2" fmla="*/ 171178 h 171178"/>
                      <a:gd name="connsiteX3" fmla="*/ 0 w 186418"/>
                      <a:gd name="connsiteY3" fmla="*/ 121172 h 171178"/>
                      <a:gd name="connsiteX4" fmla="*/ 99329 w 186418"/>
                      <a:gd name="connsiteY4" fmla="*/ 0 h 171178"/>
                      <a:gd name="connsiteX0" fmla="*/ 99329 w 186418"/>
                      <a:gd name="connsiteY0" fmla="*/ 0 h 171178"/>
                      <a:gd name="connsiteX1" fmla="*/ 180977 w 186418"/>
                      <a:gd name="connsiteY1" fmla="*/ 29097 h 171178"/>
                      <a:gd name="connsiteX2" fmla="*/ 111749 w 186418"/>
                      <a:gd name="connsiteY2" fmla="*/ 171178 h 171178"/>
                      <a:gd name="connsiteX3" fmla="*/ 0 w 186418"/>
                      <a:gd name="connsiteY3" fmla="*/ 121172 h 171178"/>
                      <a:gd name="connsiteX4" fmla="*/ 99329 w 186418"/>
                      <a:gd name="connsiteY4" fmla="*/ 0 h 171178"/>
                      <a:gd name="connsiteX0" fmla="*/ 99329 w 185891"/>
                      <a:gd name="connsiteY0" fmla="*/ 0 h 169276"/>
                      <a:gd name="connsiteX1" fmla="*/ 180977 w 185891"/>
                      <a:gd name="connsiteY1" fmla="*/ 29097 h 169276"/>
                      <a:gd name="connsiteX2" fmla="*/ 107101 w 185891"/>
                      <a:gd name="connsiteY2" fmla="*/ 169276 h 169276"/>
                      <a:gd name="connsiteX3" fmla="*/ 0 w 185891"/>
                      <a:gd name="connsiteY3" fmla="*/ 121172 h 169276"/>
                      <a:gd name="connsiteX4" fmla="*/ 99329 w 185891"/>
                      <a:gd name="connsiteY4" fmla="*/ 0 h 169276"/>
                      <a:gd name="connsiteX0" fmla="*/ 99329 w 184795"/>
                      <a:gd name="connsiteY0" fmla="*/ 0 h 169276"/>
                      <a:gd name="connsiteX1" fmla="*/ 180977 w 184795"/>
                      <a:gd name="connsiteY1" fmla="*/ 29097 h 169276"/>
                      <a:gd name="connsiteX2" fmla="*/ 107101 w 184795"/>
                      <a:gd name="connsiteY2" fmla="*/ 169276 h 169276"/>
                      <a:gd name="connsiteX3" fmla="*/ 0 w 184795"/>
                      <a:gd name="connsiteY3" fmla="*/ 121172 h 169276"/>
                      <a:gd name="connsiteX4" fmla="*/ 99329 w 184795"/>
                      <a:gd name="connsiteY4" fmla="*/ 0 h 169276"/>
                      <a:gd name="connsiteX0" fmla="*/ 99329 w 184373"/>
                      <a:gd name="connsiteY0" fmla="*/ 0 h 165472"/>
                      <a:gd name="connsiteX1" fmla="*/ 180977 w 184373"/>
                      <a:gd name="connsiteY1" fmla="*/ 29097 h 165472"/>
                      <a:gd name="connsiteX2" fmla="*/ 100129 w 184373"/>
                      <a:gd name="connsiteY2" fmla="*/ 165472 h 165472"/>
                      <a:gd name="connsiteX3" fmla="*/ 0 w 184373"/>
                      <a:gd name="connsiteY3" fmla="*/ 121172 h 165472"/>
                      <a:gd name="connsiteX4" fmla="*/ 99329 w 184373"/>
                      <a:gd name="connsiteY4" fmla="*/ 0 h 165472"/>
                      <a:gd name="connsiteX0" fmla="*/ 99329 w 184373"/>
                      <a:gd name="connsiteY0" fmla="*/ 0 h 165472"/>
                      <a:gd name="connsiteX1" fmla="*/ 180977 w 184373"/>
                      <a:gd name="connsiteY1" fmla="*/ 29097 h 165472"/>
                      <a:gd name="connsiteX2" fmla="*/ 100129 w 184373"/>
                      <a:gd name="connsiteY2" fmla="*/ 165472 h 165472"/>
                      <a:gd name="connsiteX3" fmla="*/ 0 w 184373"/>
                      <a:gd name="connsiteY3" fmla="*/ 121172 h 165472"/>
                      <a:gd name="connsiteX4" fmla="*/ 99329 w 184373"/>
                      <a:gd name="connsiteY4" fmla="*/ 0 h 165472"/>
                      <a:gd name="connsiteX0" fmla="*/ 99329 w 183948"/>
                      <a:gd name="connsiteY0" fmla="*/ 0 h 165472"/>
                      <a:gd name="connsiteX1" fmla="*/ 180977 w 183948"/>
                      <a:gd name="connsiteY1" fmla="*/ 29097 h 165472"/>
                      <a:gd name="connsiteX2" fmla="*/ 100129 w 183948"/>
                      <a:gd name="connsiteY2" fmla="*/ 165472 h 165472"/>
                      <a:gd name="connsiteX3" fmla="*/ 0 w 183948"/>
                      <a:gd name="connsiteY3" fmla="*/ 121172 h 165472"/>
                      <a:gd name="connsiteX4" fmla="*/ 99329 w 183948"/>
                      <a:gd name="connsiteY4" fmla="*/ 0 h 165472"/>
                      <a:gd name="connsiteX0" fmla="*/ 99329 w 181711"/>
                      <a:gd name="connsiteY0" fmla="*/ 0 h 165472"/>
                      <a:gd name="connsiteX1" fmla="*/ 180977 w 181711"/>
                      <a:gd name="connsiteY1" fmla="*/ 29097 h 165472"/>
                      <a:gd name="connsiteX2" fmla="*/ 100129 w 181711"/>
                      <a:gd name="connsiteY2" fmla="*/ 165472 h 165472"/>
                      <a:gd name="connsiteX3" fmla="*/ 0 w 181711"/>
                      <a:gd name="connsiteY3" fmla="*/ 121172 h 165472"/>
                      <a:gd name="connsiteX4" fmla="*/ 99329 w 181711"/>
                      <a:gd name="connsiteY4" fmla="*/ 0 h 165472"/>
                      <a:gd name="connsiteX0" fmla="*/ 99329 w 181338"/>
                      <a:gd name="connsiteY0" fmla="*/ 0 h 165472"/>
                      <a:gd name="connsiteX1" fmla="*/ 180977 w 181338"/>
                      <a:gd name="connsiteY1" fmla="*/ 29097 h 165472"/>
                      <a:gd name="connsiteX2" fmla="*/ 100129 w 181338"/>
                      <a:gd name="connsiteY2" fmla="*/ 165472 h 165472"/>
                      <a:gd name="connsiteX3" fmla="*/ 0 w 181338"/>
                      <a:gd name="connsiteY3" fmla="*/ 121172 h 165472"/>
                      <a:gd name="connsiteX4" fmla="*/ 99329 w 181338"/>
                      <a:gd name="connsiteY4" fmla="*/ 0 h 165472"/>
                      <a:gd name="connsiteX0" fmla="*/ 99329 w 181321"/>
                      <a:gd name="connsiteY0" fmla="*/ 0 h 165472"/>
                      <a:gd name="connsiteX1" fmla="*/ 180977 w 181321"/>
                      <a:gd name="connsiteY1" fmla="*/ 29097 h 165472"/>
                      <a:gd name="connsiteX2" fmla="*/ 100129 w 181321"/>
                      <a:gd name="connsiteY2" fmla="*/ 165472 h 165472"/>
                      <a:gd name="connsiteX3" fmla="*/ 0 w 181321"/>
                      <a:gd name="connsiteY3" fmla="*/ 121172 h 165472"/>
                      <a:gd name="connsiteX4" fmla="*/ 99329 w 181321"/>
                      <a:gd name="connsiteY4" fmla="*/ 0 h 165472"/>
                      <a:gd name="connsiteX0" fmla="*/ 99329 w 181321"/>
                      <a:gd name="connsiteY0" fmla="*/ 0 h 165472"/>
                      <a:gd name="connsiteX1" fmla="*/ 180977 w 181321"/>
                      <a:gd name="connsiteY1" fmla="*/ 29097 h 165472"/>
                      <a:gd name="connsiteX2" fmla="*/ 100129 w 181321"/>
                      <a:gd name="connsiteY2" fmla="*/ 165472 h 165472"/>
                      <a:gd name="connsiteX3" fmla="*/ 0 w 181321"/>
                      <a:gd name="connsiteY3" fmla="*/ 121172 h 165472"/>
                      <a:gd name="connsiteX4" fmla="*/ 99329 w 181321"/>
                      <a:gd name="connsiteY4" fmla="*/ 0 h 165472"/>
                      <a:gd name="connsiteX0" fmla="*/ 99329 w 182129"/>
                      <a:gd name="connsiteY0" fmla="*/ 0 h 165472"/>
                      <a:gd name="connsiteX1" fmla="*/ 180977 w 182129"/>
                      <a:gd name="connsiteY1" fmla="*/ 29097 h 165472"/>
                      <a:gd name="connsiteX2" fmla="*/ 100129 w 182129"/>
                      <a:gd name="connsiteY2" fmla="*/ 165472 h 165472"/>
                      <a:gd name="connsiteX3" fmla="*/ 0 w 182129"/>
                      <a:gd name="connsiteY3" fmla="*/ 121172 h 165472"/>
                      <a:gd name="connsiteX4" fmla="*/ 99329 w 182129"/>
                      <a:gd name="connsiteY4" fmla="*/ 0 h 165472"/>
                      <a:gd name="connsiteX0" fmla="*/ 99329 w 182129"/>
                      <a:gd name="connsiteY0" fmla="*/ 0 h 165472"/>
                      <a:gd name="connsiteX1" fmla="*/ 180977 w 182129"/>
                      <a:gd name="connsiteY1" fmla="*/ 29097 h 165472"/>
                      <a:gd name="connsiteX2" fmla="*/ 100129 w 182129"/>
                      <a:gd name="connsiteY2" fmla="*/ 165472 h 165472"/>
                      <a:gd name="connsiteX3" fmla="*/ 0 w 182129"/>
                      <a:gd name="connsiteY3" fmla="*/ 121172 h 165472"/>
                      <a:gd name="connsiteX4" fmla="*/ 99329 w 182129"/>
                      <a:gd name="connsiteY4" fmla="*/ 0 h 165472"/>
                      <a:gd name="connsiteX0" fmla="*/ 101653 w 182129"/>
                      <a:gd name="connsiteY0" fmla="*/ 0 h 165472"/>
                      <a:gd name="connsiteX1" fmla="*/ 180977 w 182129"/>
                      <a:gd name="connsiteY1" fmla="*/ 29097 h 165472"/>
                      <a:gd name="connsiteX2" fmla="*/ 100129 w 182129"/>
                      <a:gd name="connsiteY2" fmla="*/ 165472 h 165472"/>
                      <a:gd name="connsiteX3" fmla="*/ 0 w 182129"/>
                      <a:gd name="connsiteY3" fmla="*/ 121172 h 165472"/>
                      <a:gd name="connsiteX4" fmla="*/ 101653 w 182129"/>
                      <a:gd name="connsiteY4" fmla="*/ 0 h 165472"/>
                      <a:gd name="connsiteX0" fmla="*/ 101653 w 182129"/>
                      <a:gd name="connsiteY0" fmla="*/ 0 h 165472"/>
                      <a:gd name="connsiteX1" fmla="*/ 180977 w 182129"/>
                      <a:gd name="connsiteY1" fmla="*/ 29097 h 165472"/>
                      <a:gd name="connsiteX2" fmla="*/ 100129 w 182129"/>
                      <a:gd name="connsiteY2" fmla="*/ 165472 h 165472"/>
                      <a:gd name="connsiteX3" fmla="*/ 0 w 182129"/>
                      <a:gd name="connsiteY3" fmla="*/ 121172 h 165472"/>
                      <a:gd name="connsiteX4" fmla="*/ 101653 w 182129"/>
                      <a:gd name="connsiteY4" fmla="*/ 0 h 165472"/>
                      <a:gd name="connsiteX0" fmla="*/ 99329 w 179805"/>
                      <a:gd name="connsiteY0" fmla="*/ 0 h 165472"/>
                      <a:gd name="connsiteX1" fmla="*/ 178653 w 179805"/>
                      <a:gd name="connsiteY1" fmla="*/ 29097 h 165472"/>
                      <a:gd name="connsiteX2" fmla="*/ 97805 w 179805"/>
                      <a:gd name="connsiteY2" fmla="*/ 165472 h 165472"/>
                      <a:gd name="connsiteX3" fmla="*/ 0 w 179805"/>
                      <a:gd name="connsiteY3" fmla="*/ 121172 h 165472"/>
                      <a:gd name="connsiteX4" fmla="*/ 99329 w 179805"/>
                      <a:gd name="connsiteY4" fmla="*/ 0 h 165472"/>
                      <a:gd name="connsiteX0" fmla="*/ 99329 w 179805"/>
                      <a:gd name="connsiteY0" fmla="*/ 0 h 165472"/>
                      <a:gd name="connsiteX1" fmla="*/ 178653 w 179805"/>
                      <a:gd name="connsiteY1" fmla="*/ 29097 h 165472"/>
                      <a:gd name="connsiteX2" fmla="*/ 97805 w 179805"/>
                      <a:gd name="connsiteY2" fmla="*/ 165472 h 165472"/>
                      <a:gd name="connsiteX3" fmla="*/ 0 w 179805"/>
                      <a:gd name="connsiteY3" fmla="*/ 121172 h 165472"/>
                      <a:gd name="connsiteX4" fmla="*/ 99329 w 179805"/>
                      <a:gd name="connsiteY4" fmla="*/ 0 h 165472"/>
                      <a:gd name="connsiteX0" fmla="*/ 99329 w 179805"/>
                      <a:gd name="connsiteY0" fmla="*/ 0 h 165472"/>
                      <a:gd name="connsiteX1" fmla="*/ 178653 w 179805"/>
                      <a:gd name="connsiteY1" fmla="*/ 29097 h 165472"/>
                      <a:gd name="connsiteX2" fmla="*/ 97805 w 179805"/>
                      <a:gd name="connsiteY2" fmla="*/ 165472 h 165472"/>
                      <a:gd name="connsiteX3" fmla="*/ 0 w 179805"/>
                      <a:gd name="connsiteY3" fmla="*/ 121172 h 165472"/>
                      <a:gd name="connsiteX4" fmla="*/ 99329 w 179805"/>
                      <a:gd name="connsiteY4" fmla="*/ 0 h 165472"/>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9805"/>
                      <a:gd name="connsiteY0" fmla="*/ 0 h 163569"/>
                      <a:gd name="connsiteX1" fmla="*/ 178653 w 179805"/>
                      <a:gd name="connsiteY1" fmla="*/ 27194 h 163569"/>
                      <a:gd name="connsiteX2" fmla="*/ 97805 w 179805"/>
                      <a:gd name="connsiteY2" fmla="*/ 163569 h 163569"/>
                      <a:gd name="connsiteX3" fmla="*/ 0 w 179805"/>
                      <a:gd name="connsiteY3" fmla="*/ 119269 h 163569"/>
                      <a:gd name="connsiteX4" fmla="*/ 103977 w 179805"/>
                      <a:gd name="connsiteY4" fmla="*/ 0 h 163569"/>
                      <a:gd name="connsiteX0" fmla="*/ 103977 w 177529"/>
                      <a:gd name="connsiteY0" fmla="*/ 0 h 163569"/>
                      <a:gd name="connsiteX1" fmla="*/ 176330 w 177529"/>
                      <a:gd name="connsiteY1" fmla="*/ 27194 h 163569"/>
                      <a:gd name="connsiteX2" fmla="*/ 97805 w 177529"/>
                      <a:gd name="connsiteY2" fmla="*/ 163569 h 163569"/>
                      <a:gd name="connsiteX3" fmla="*/ 0 w 177529"/>
                      <a:gd name="connsiteY3" fmla="*/ 119269 h 163569"/>
                      <a:gd name="connsiteX4" fmla="*/ 103977 w 177529"/>
                      <a:gd name="connsiteY4" fmla="*/ 0 h 163569"/>
                      <a:gd name="connsiteX0" fmla="*/ 103977 w 179305"/>
                      <a:gd name="connsiteY0" fmla="*/ 0 h 163569"/>
                      <a:gd name="connsiteX1" fmla="*/ 176330 w 179305"/>
                      <a:gd name="connsiteY1" fmla="*/ 27194 h 163569"/>
                      <a:gd name="connsiteX2" fmla="*/ 97805 w 179305"/>
                      <a:gd name="connsiteY2" fmla="*/ 163569 h 163569"/>
                      <a:gd name="connsiteX3" fmla="*/ 0 w 179305"/>
                      <a:gd name="connsiteY3" fmla="*/ 119269 h 163569"/>
                      <a:gd name="connsiteX4" fmla="*/ 103977 w 179305"/>
                      <a:gd name="connsiteY4" fmla="*/ 0 h 163569"/>
                      <a:gd name="connsiteX0" fmla="*/ 103977 w 179305"/>
                      <a:gd name="connsiteY0" fmla="*/ 0 h 163569"/>
                      <a:gd name="connsiteX1" fmla="*/ 176330 w 179305"/>
                      <a:gd name="connsiteY1" fmla="*/ 27194 h 163569"/>
                      <a:gd name="connsiteX2" fmla="*/ 97805 w 179305"/>
                      <a:gd name="connsiteY2" fmla="*/ 163569 h 163569"/>
                      <a:gd name="connsiteX3" fmla="*/ 0 w 179305"/>
                      <a:gd name="connsiteY3" fmla="*/ 119269 h 163569"/>
                      <a:gd name="connsiteX4" fmla="*/ 103977 w 179305"/>
                      <a:gd name="connsiteY4" fmla="*/ 0 h 163569"/>
                      <a:gd name="connsiteX0" fmla="*/ 103977 w 179305"/>
                      <a:gd name="connsiteY0" fmla="*/ 0 h 163569"/>
                      <a:gd name="connsiteX1" fmla="*/ 176330 w 179305"/>
                      <a:gd name="connsiteY1" fmla="*/ 27194 h 163569"/>
                      <a:gd name="connsiteX2" fmla="*/ 97805 w 179305"/>
                      <a:gd name="connsiteY2" fmla="*/ 163569 h 163569"/>
                      <a:gd name="connsiteX3" fmla="*/ 0 w 179305"/>
                      <a:gd name="connsiteY3" fmla="*/ 119269 h 163569"/>
                      <a:gd name="connsiteX4" fmla="*/ 103977 w 179305"/>
                      <a:gd name="connsiteY4" fmla="*/ 0 h 163569"/>
                      <a:gd name="connsiteX0" fmla="*/ 103977 w 179305"/>
                      <a:gd name="connsiteY0" fmla="*/ 0 h 163569"/>
                      <a:gd name="connsiteX1" fmla="*/ 176330 w 179305"/>
                      <a:gd name="connsiteY1" fmla="*/ 27194 h 163569"/>
                      <a:gd name="connsiteX2" fmla="*/ 97805 w 179305"/>
                      <a:gd name="connsiteY2" fmla="*/ 163569 h 163569"/>
                      <a:gd name="connsiteX3" fmla="*/ 0 w 179305"/>
                      <a:gd name="connsiteY3" fmla="*/ 119269 h 163569"/>
                      <a:gd name="connsiteX4" fmla="*/ 103977 w 179305"/>
                      <a:gd name="connsiteY4" fmla="*/ 0 h 163569"/>
                      <a:gd name="connsiteX0" fmla="*/ 103977 w 179305"/>
                      <a:gd name="connsiteY0" fmla="*/ 0 h 163569"/>
                      <a:gd name="connsiteX1" fmla="*/ 176330 w 179305"/>
                      <a:gd name="connsiteY1" fmla="*/ 27194 h 163569"/>
                      <a:gd name="connsiteX2" fmla="*/ 97805 w 179305"/>
                      <a:gd name="connsiteY2" fmla="*/ 163569 h 163569"/>
                      <a:gd name="connsiteX3" fmla="*/ 0 w 179305"/>
                      <a:gd name="connsiteY3" fmla="*/ 119269 h 163569"/>
                      <a:gd name="connsiteX4" fmla="*/ 103977 w 179305"/>
                      <a:gd name="connsiteY4" fmla="*/ 0 h 163569"/>
                      <a:gd name="connsiteX0" fmla="*/ 103977 w 179305"/>
                      <a:gd name="connsiteY0" fmla="*/ 0 h 163569"/>
                      <a:gd name="connsiteX1" fmla="*/ 176330 w 179305"/>
                      <a:gd name="connsiteY1" fmla="*/ 27194 h 163569"/>
                      <a:gd name="connsiteX2" fmla="*/ 97805 w 179305"/>
                      <a:gd name="connsiteY2" fmla="*/ 163569 h 163569"/>
                      <a:gd name="connsiteX3" fmla="*/ 0 w 179305"/>
                      <a:gd name="connsiteY3" fmla="*/ 119269 h 163569"/>
                      <a:gd name="connsiteX4" fmla="*/ 103977 w 179305"/>
                      <a:gd name="connsiteY4" fmla="*/ 0 h 163569"/>
                      <a:gd name="connsiteX0" fmla="*/ 103977 w 179229"/>
                      <a:gd name="connsiteY0" fmla="*/ 0 h 162080"/>
                      <a:gd name="connsiteX1" fmla="*/ 176330 w 179229"/>
                      <a:gd name="connsiteY1" fmla="*/ 27194 h 162080"/>
                      <a:gd name="connsiteX2" fmla="*/ 95986 w 179229"/>
                      <a:gd name="connsiteY2" fmla="*/ 162080 h 162080"/>
                      <a:gd name="connsiteX3" fmla="*/ 0 w 179229"/>
                      <a:gd name="connsiteY3" fmla="*/ 119269 h 162080"/>
                      <a:gd name="connsiteX4" fmla="*/ 103977 w 179229"/>
                      <a:gd name="connsiteY4" fmla="*/ 0 h 162080"/>
                      <a:gd name="connsiteX0" fmla="*/ 103977 w 179229"/>
                      <a:gd name="connsiteY0" fmla="*/ 0 h 162080"/>
                      <a:gd name="connsiteX1" fmla="*/ 176330 w 179229"/>
                      <a:gd name="connsiteY1" fmla="*/ 27194 h 162080"/>
                      <a:gd name="connsiteX2" fmla="*/ 95986 w 179229"/>
                      <a:gd name="connsiteY2" fmla="*/ 162080 h 162080"/>
                      <a:gd name="connsiteX3" fmla="*/ 0 w 179229"/>
                      <a:gd name="connsiteY3" fmla="*/ 119269 h 162080"/>
                      <a:gd name="connsiteX4" fmla="*/ 103977 w 179229"/>
                      <a:gd name="connsiteY4" fmla="*/ 0 h 162080"/>
                      <a:gd name="connsiteX0" fmla="*/ 103977 w 179717"/>
                      <a:gd name="connsiteY0" fmla="*/ 0 h 162080"/>
                      <a:gd name="connsiteX1" fmla="*/ 176330 w 179717"/>
                      <a:gd name="connsiteY1" fmla="*/ 27194 h 162080"/>
                      <a:gd name="connsiteX2" fmla="*/ 95986 w 179717"/>
                      <a:gd name="connsiteY2" fmla="*/ 162080 h 162080"/>
                      <a:gd name="connsiteX3" fmla="*/ 0 w 179717"/>
                      <a:gd name="connsiteY3" fmla="*/ 119269 h 162080"/>
                      <a:gd name="connsiteX4" fmla="*/ 103977 w 179717"/>
                      <a:gd name="connsiteY4" fmla="*/ 0 h 162080"/>
                      <a:gd name="connsiteX0" fmla="*/ 103977 w 180295"/>
                      <a:gd name="connsiteY0" fmla="*/ 0 h 162080"/>
                      <a:gd name="connsiteX1" fmla="*/ 176330 w 180295"/>
                      <a:gd name="connsiteY1" fmla="*/ 27194 h 162080"/>
                      <a:gd name="connsiteX2" fmla="*/ 95986 w 180295"/>
                      <a:gd name="connsiteY2" fmla="*/ 162080 h 162080"/>
                      <a:gd name="connsiteX3" fmla="*/ 0 w 180295"/>
                      <a:gd name="connsiteY3" fmla="*/ 119269 h 162080"/>
                      <a:gd name="connsiteX4" fmla="*/ 103977 w 180295"/>
                      <a:gd name="connsiteY4" fmla="*/ 0 h 162080"/>
                      <a:gd name="connsiteX0" fmla="*/ 103977 w 180295"/>
                      <a:gd name="connsiteY0" fmla="*/ 0 h 162080"/>
                      <a:gd name="connsiteX1" fmla="*/ 176330 w 180295"/>
                      <a:gd name="connsiteY1" fmla="*/ 27194 h 162080"/>
                      <a:gd name="connsiteX2" fmla="*/ 95986 w 180295"/>
                      <a:gd name="connsiteY2" fmla="*/ 162080 h 162080"/>
                      <a:gd name="connsiteX3" fmla="*/ 0 w 180295"/>
                      <a:gd name="connsiteY3" fmla="*/ 119269 h 162080"/>
                      <a:gd name="connsiteX4" fmla="*/ 103977 w 180295"/>
                      <a:gd name="connsiteY4" fmla="*/ 0 h 162080"/>
                      <a:gd name="connsiteX0" fmla="*/ 103977 w 180512"/>
                      <a:gd name="connsiteY0" fmla="*/ 0 h 162080"/>
                      <a:gd name="connsiteX1" fmla="*/ 176330 w 180512"/>
                      <a:gd name="connsiteY1" fmla="*/ 27194 h 162080"/>
                      <a:gd name="connsiteX2" fmla="*/ 95986 w 180512"/>
                      <a:gd name="connsiteY2" fmla="*/ 162080 h 162080"/>
                      <a:gd name="connsiteX3" fmla="*/ 0 w 180512"/>
                      <a:gd name="connsiteY3" fmla="*/ 119269 h 162080"/>
                      <a:gd name="connsiteX4" fmla="*/ 103977 w 180512"/>
                      <a:gd name="connsiteY4" fmla="*/ 0 h 162080"/>
                      <a:gd name="connsiteX0" fmla="*/ 103977 w 180512"/>
                      <a:gd name="connsiteY0" fmla="*/ 0 h 162080"/>
                      <a:gd name="connsiteX1" fmla="*/ 176330 w 180512"/>
                      <a:gd name="connsiteY1" fmla="*/ 27194 h 162080"/>
                      <a:gd name="connsiteX2" fmla="*/ 95986 w 180512"/>
                      <a:gd name="connsiteY2" fmla="*/ 162080 h 162080"/>
                      <a:gd name="connsiteX3" fmla="*/ 0 w 180512"/>
                      <a:gd name="connsiteY3" fmla="*/ 119269 h 162080"/>
                      <a:gd name="connsiteX4" fmla="*/ 103977 w 180512"/>
                      <a:gd name="connsiteY4" fmla="*/ 0 h 162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512" h="162080">
                        <a:moveTo>
                          <a:pt x="103977" y="0"/>
                        </a:moveTo>
                        <a:lnTo>
                          <a:pt x="176330" y="27194"/>
                        </a:lnTo>
                        <a:cubicBezTo>
                          <a:pt x="194531" y="90639"/>
                          <a:pt x="150676" y="140118"/>
                          <a:pt x="95986" y="162080"/>
                        </a:cubicBezTo>
                        <a:cubicBezTo>
                          <a:pt x="70155" y="151780"/>
                          <a:pt x="39574" y="135938"/>
                          <a:pt x="0" y="119269"/>
                        </a:cubicBezTo>
                        <a:cubicBezTo>
                          <a:pt x="73314" y="134854"/>
                          <a:pt x="109697" y="47607"/>
                          <a:pt x="103977" y="0"/>
                        </a:cubicBezTo>
                        <a:close/>
                      </a:path>
                    </a:pathLst>
                  </a:custGeom>
                  <a:solidFill>
                    <a:srgbClr val="BFBFB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43" name="Rectangle 14"/>
                  <p:cNvSpPr/>
                  <p:nvPr/>
                </p:nvSpPr>
                <p:spPr>
                  <a:xfrm rot="1545906" flipH="1">
                    <a:off x="6162231" y="2977377"/>
                    <a:ext cx="797591" cy="477359"/>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9131"/>
                      <a:gd name="connsiteY0" fmla="*/ 0 h 368300"/>
                      <a:gd name="connsiteX1" fmla="*/ 669131 w 669131"/>
                      <a:gd name="connsiteY1" fmla="*/ 223837 h 368300"/>
                      <a:gd name="connsiteX2" fmla="*/ 571500 w 669131"/>
                      <a:gd name="connsiteY2" fmla="*/ 368300 h 368300"/>
                      <a:gd name="connsiteX3" fmla="*/ 0 w 669131"/>
                      <a:gd name="connsiteY3" fmla="*/ 368300 h 368300"/>
                      <a:gd name="connsiteX4" fmla="*/ 0 w 669131"/>
                      <a:gd name="connsiteY4" fmla="*/ 0 h 368300"/>
                      <a:gd name="connsiteX0" fmla="*/ 0 w 683551"/>
                      <a:gd name="connsiteY0" fmla="*/ 0 h 368300"/>
                      <a:gd name="connsiteX1" fmla="*/ 669131 w 683551"/>
                      <a:gd name="connsiteY1" fmla="*/ 223837 h 368300"/>
                      <a:gd name="connsiteX2" fmla="*/ 571500 w 683551"/>
                      <a:gd name="connsiteY2" fmla="*/ 368300 h 368300"/>
                      <a:gd name="connsiteX3" fmla="*/ 0 w 683551"/>
                      <a:gd name="connsiteY3" fmla="*/ 368300 h 368300"/>
                      <a:gd name="connsiteX4" fmla="*/ 0 w 683551"/>
                      <a:gd name="connsiteY4" fmla="*/ 0 h 368300"/>
                      <a:gd name="connsiteX0" fmla="*/ 0 w 672707"/>
                      <a:gd name="connsiteY0" fmla="*/ 0 h 368300"/>
                      <a:gd name="connsiteX1" fmla="*/ 669131 w 672707"/>
                      <a:gd name="connsiteY1" fmla="*/ 223837 h 368300"/>
                      <a:gd name="connsiteX2" fmla="*/ 571500 w 672707"/>
                      <a:gd name="connsiteY2" fmla="*/ 368300 h 368300"/>
                      <a:gd name="connsiteX3" fmla="*/ 0 w 672707"/>
                      <a:gd name="connsiteY3" fmla="*/ 368300 h 368300"/>
                      <a:gd name="connsiteX4" fmla="*/ 0 w 672707"/>
                      <a:gd name="connsiteY4" fmla="*/ 0 h 368300"/>
                      <a:gd name="connsiteX0" fmla="*/ 0 w 673449"/>
                      <a:gd name="connsiteY0" fmla="*/ 0 h 370698"/>
                      <a:gd name="connsiteX1" fmla="*/ 669131 w 673449"/>
                      <a:gd name="connsiteY1" fmla="*/ 223837 h 370698"/>
                      <a:gd name="connsiteX2" fmla="*/ 571500 w 673449"/>
                      <a:gd name="connsiteY2" fmla="*/ 368300 h 370698"/>
                      <a:gd name="connsiteX3" fmla="*/ 0 w 673449"/>
                      <a:gd name="connsiteY3" fmla="*/ 368300 h 370698"/>
                      <a:gd name="connsiteX4" fmla="*/ 0 w 673449"/>
                      <a:gd name="connsiteY4" fmla="*/ 0 h 370698"/>
                      <a:gd name="connsiteX0" fmla="*/ 0 w 672956"/>
                      <a:gd name="connsiteY0" fmla="*/ 0 h 371937"/>
                      <a:gd name="connsiteX1" fmla="*/ 669131 w 672956"/>
                      <a:gd name="connsiteY1" fmla="*/ 223837 h 371937"/>
                      <a:gd name="connsiteX2" fmla="*/ 571500 w 672956"/>
                      <a:gd name="connsiteY2" fmla="*/ 368300 h 371937"/>
                      <a:gd name="connsiteX3" fmla="*/ 0 w 672956"/>
                      <a:gd name="connsiteY3" fmla="*/ 368300 h 371937"/>
                      <a:gd name="connsiteX4" fmla="*/ 0 w 672956"/>
                      <a:gd name="connsiteY4" fmla="*/ 0 h 371937"/>
                      <a:gd name="connsiteX0" fmla="*/ 0 w 671150"/>
                      <a:gd name="connsiteY0" fmla="*/ 0 h 371937"/>
                      <a:gd name="connsiteX1" fmla="*/ 669131 w 671150"/>
                      <a:gd name="connsiteY1" fmla="*/ 223837 h 371937"/>
                      <a:gd name="connsiteX2" fmla="*/ 571500 w 671150"/>
                      <a:gd name="connsiteY2" fmla="*/ 368300 h 371937"/>
                      <a:gd name="connsiteX3" fmla="*/ 0 w 671150"/>
                      <a:gd name="connsiteY3" fmla="*/ 368300 h 371937"/>
                      <a:gd name="connsiteX4" fmla="*/ 0 w 671150"/>
                      <a:gd name="connsiteY4" fmla="*/ 0 h 371937"/>
                      <a:gd name="connsiteX0" fmla="*/ 0 w 671778"/>
                      <a:gd name="connsiteY0" fmla="*/ 0 h 369189"/>
                      <a:gd name="connsiteX1" fmla="*/ 669131 w 671778"/>
                      <a:gd name="connsiteY1" fmla="*/ 223837 h 369189"/>
                      <a:gd name="connsiteX2" fmla="*/ 571500 w 671778"/>
                      <a:gd name="connsiteY2" fmla="*/ 368300 h 369189"/>
                      <a:gd name="connsiteX3" fmla="*/ 0 w 671778"/>
                      <a:gd name="connsiteY3" fmla="*/ 368300 h 369189"/>
                      <a:gd name="connsiteX4" fmla="*/ 0 w 671778"/>
                      <a:gd name="connsiteY4" fmla="*/ 0 h 369189"/>
                      <a:gd name="connsiteX0" fmla="*/ 0 w 671391"/>
                      <a:gd name="connsiteY0" fmla="*/ 0 h 369635"/>
                      <a:gd name="connsiteX1" fmla="*/ 669131 w 671391"/>
                      <a:gd name="connsiteY1" fmla="*/ 223837 h 369635"/>
                      <a:gd name="connsiteX2" fmla="*/ 571500 w 671391"/>
                      <a:gd name="connsiteY2" fmla="*/ 368300 h 369635"/>
                      <a:gd name="connsiteX3" fmla="*/ 0 w 671391"/>
                      <a:gd name="connsiteY3" fmla="*/ 368300 h 369635"/>
                      <a:gd name="connsiteX4" fmla="*/ 0 w 671391"/>
                      <a:gd name="connsiteY4" fmla="*/ 0 h 369635"/>
                      <a:gd name="connsiteX0" fmla="*/ 390525 w 671391"/>
                      <a:gd name="connsiteY0" fmla="*/ 0 h 276766"/>
                      <a:gd name="connsiteX1" fmla="*/ 669131 w 671391"/>
                      <a:gd name="connsiteY1" fmla="*/ 130968 h 276766"/>
                      <a:gd name="connsiteX2" fmla="*/ 571500 w 671391"/>
                      <a:gd name="connsiteY2" fmla="*/ 275431 h 276766"/>
                      <a:gd name="connsiteX3" fmla="*/ 0 w 671391"/>
                      <a:gd name="connsiteY3" fmla="*/ 275431 h 276766"/>
                      <a:gd name="connsiteX4" fmla="*/ 390525 w 671391"/>
                      <a:gd name="connsiteY4" fmla="*/ 0 h 276766"/>
                      <a:gd name="connsiteX0" fmla="*/ 92869 w 373735"/>
                      <a:gd name="connsiteY0" fmla="*/ 0 h 276766"/>
                      <a:gd name="connsiteX1" fmla="*/ 371475 w 373735"/>
                      <a:gd name="connsiteY1" fmla="*/ 130968 h 276766"/>
                      <a:gd name="connsiteX2" fmla="*/ 273844 w 373735"/>
                      <a:gd name="connsiteY2" fmla="*/ 275431 h 276766"/>
                      <a:gd name="connsiteX3" fmla="*/ 0 w 373735"/>
                      <a:gd name="connsiteY3" fmla="*/ 132556 h 276766"/>
                      <a:gd name="connsiteX4" fmla="*/ 92869 w 373735"/>
                      <a:gd name="connsiteY4" fmla="*/ 0 h 276766"/>
                      <a:gd name="connsiteX0" fmla="*/ 100013 w 380879"/>
                      <a:gd name="connsiteY0" fmla="*/ 0 h 276766"/>
                      <a:gd name="connsiteX1" fmla="*/ 378619 w 380879"/>
                      <a:gd name="connsiteY1" fmla="*/ 130968 h 276766"/>
                      <a:gd name="connsiteX2" fmla="*/ 280988 w 380879"/>
                      <a:gd name="connsiteY2" fmla="*/ 275431 h 276766"/>
                      <a:gd name="connsiteX3" fmla="*/ 0 w 380879"/>
                      <a:gd name="connsiteY3" fmla="*/ 134938 h 276766"/>
                      <a:gd name="connsiteX4" fmla="*/ 100013 w 380879"/>
                      <a:gd name="connsiteY4" fmla="*/ 0 h 276766"/>
                      <a:gd name="connsiteX0" fmla="*/ 80963 w 361829"/>
                      <a:gd name="connsiteY0" fmla="*/ 0 h 276766"/>
                      <a:gd name="connsiteX1" fmla="*/ 359569 w 361829"/>
                      <a:gd name="connsiteY1" fmla="*/ 130968 h 276766"/>
                      <a:gd name="connsiteX2" fmla="*/ 261938 w 361829"/>
                      <a:gd name="connsiteY2" fmla="*/ 275431 h 276766"/>
                      <a:gd name="connsiteX3" fmla="*/ 0 w 361829"/>
                      <a:gd name="connsiteY3" fmla="*/ 142081 h 276766"/>
                      <a:gd name="connsiteX4" fmla="*/ 80963 w 361829"/>
                      <a:gd name="connsiteY4" fmla="*/ 0 h 276766"/>
                      <a:gd name="connsiteX0" fmla="*/ 80963 w 361829"/>
                      <a:gd name="connsiteY0" fmla="*/ 0 h 276766"/>
                      <a:gd name="connsiteX1" fmla="*/ 359569 w 361829"/>
                      <a:gd name="connsiteY1" fmla="*/ 130968 h 276766"/>
                      <a:gd name="connsiteX2" fmla="*/ 261938 w 361829"/>
                      <a:gd name="connsiteY2" fmla="*/ 275431 h 276766"/>
                      <a:gd name="connsiteX3" fmla="*/ 0 w 361829"/>
                      <a:gd name="connsiteY3" fmla="*/ 142081 h 276766"/>
                      <a:gd name="connsiteX4" fmla="*/ 80963 w 361829"/>
                      <a:gd name="connsiteY4" fmla="*/ 0 h 276766"/>
                      <a:gd name="connsiteX0" fmla="*/ 83344 w 364210"/>
                      <a:gd name="connsiteY0" fmla="*/ 0 h 276766"/>
                      <a:gd name="connsiteX1" fmla="*/ 361950 w 364210"/>
                      <a:gd name="connsiteY1" fmla="*/ 130968 h 276766"/>
                      <a:gd name="connsiteX2" fmla="*/ 264319 w 364210"/>
                      <a:gd name="connsiteY2" fmla="*/ 275431 h 276766"/>
                      <a:gd name="connsiteX3" fmla="*/ 0 w 364210"/>
                      <a:gd name="connsiteY3" fmla="*/ 144463 h 276766"/>
                      <a:gd name="connsiteX4" fmla="*/ 83344 w 364210"/>
                      <a:gd name="connsiteY4" fmla="*/ 0 h 276766"/>
                      <a:gd name="connsiteX0" fmla="*/ 83344 w 364210"/>
                      <a:gd name="connsiteY0" fmla="*/ 0 h 276766"/>
                      <a:gd name="connsiteX1" fmla="*/ 361950 w 364210"/>
                      <a:gd name="connsiteY1" fmla="*/ 130968 h 276766"/>
                      <a:gd name="connsiteX2" fmla="*/ 264319 w 364210"/>
                      <a:gd name="connsiteY2" fmla="*/ 275431 h 276766"/>
                      <a:gd name="connsiteX3" fmla="*/ 0 w 364210"/>
                      <a:gd name="connsiteY3" fmla="*/ 144463 h 276766"/>
                      <a:gd name="connsiteX4" fmla="*/ 83344 w 364210"/>
                      <a:gd name="connsiteY4" fmla="*/ 0 h 276766"/>
                      <a:gd name="connsiteX0" fmla="*/ 76200 w 357066"/>
                      <a:gd name="connsiteY0" fmla="*/ 0 h 276766"/>
                      <a:gd name="connsiteX1" fmla="*/ 354806 w 357066"/>
                      <a:gd name="connsiteY1" fmla="*/ 130968 h 276766"/>
                      <a:gd name="connsiteX2" fmla="*/ 257175 w 357066"/>
                      <a:gd name="connsiteY2" fmla="*/ 275431 h 276766"/>
                      <a:gd name="connsiteX3" fmla="*/ 0 w 357066"/>
                      <a:gd name="connsiteY3" fmla="*/ 123032 h 276766"/>
                      <a:gd name="connsiteX4" fmla="*/ 76200 w 357066"/>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1353"/>
                      <a:gd name="connsiteY0" fmla="*/ 0 h 276766"/>
                      <a:gd name="connsiteX1" fmla="*/ 369093 w 371353"/>
                      <a:gd name="connsiteY1" fmla="*/ 130968 h 276766"/>
                      <a:gd name="connsiteX2" fmla="*/ 271462 w 371353"/>
                      <a:gd name="connsiteY2" fmla="*/ 275431 h 276766"/>
                      <a:gd name="connsiteX3" fmla="*/ 0 w 371353"/>
                      <a:gd name="connsiteY3" fmla="*/ 134938 h 276766"/>
                      <a:gd name="connsiteX4" fmla="*/ 90487 w 371353"/>
                      <a:gd name="connsiteY4" fmla="*/ 0 h 276766"/>
                      <a:gd name="connsiteX0" fmla="*/ 90487 w 378306"/>
                      <a:gd name="connsiteY0" fmla="*/ 0 h 276766"/>
                      <a:gd name="connsiteX1" fmla="*/ 376237 w 378306"/>
                      <a:gd name="connsiteY1" fmla="*/ 130968 h 276766"/>
                      <a:gd name="connsiteX2" fmla="*/ 271462 w 378306"/>
                      <a:gd name="connsiteY2" fmla="*/ 275431 h 276766"/>
                      <a:gd name="connsiteX3" fmla="*/ 0 w 378306"/>
                      <a:gd name="connsiteY3" fmla="*/ 134938 h 276766"/>
                      <a:gd name="connsiteX4" fmla="*/ 90487 w 378306"/>
                      <a:gd name="connsiteY4" fmla="*/ 0 h 276766"/>
                      <a:gd name="connsiteX0" fmla="*/ 90487 w 376245"/>
                      <a:gd name="connsiteY0" fmla="*/ 0 h 277332"/>
                      <a:gd name="connsiteX1" fmla="*/ 376237 w 376245"/>
                      <a:gd name="connsiteY1" fmla="*/ 130968 h 277332"/>
                      <a:gd name="connsiteX2" fmla="*/ 271462 w 376245"/>
                      <a:gd name="connsiteY2" fmla="*/ 275431 h 277332"/>
                      <a:gd name="connsiteX3" fmla="*/ 0 w 376245"/>
                      <a:gd name="connsiteY3" fmla="*/ 134938 h 277332"/>
                      <a:gd name="connsiteX4" fmla="*/ 90487 w 376245"/>
                      <a:gd name="connsiteY4" fmla="*/ 0 h 277332"/>
                      <a:gd name="connsiteX0" fmla="*/ 90487 w 376245"/>
                      <a:gd name="connsiteY0" fmla="*/ 0 h 277257"/>
                      <a:gd name="connsiteX1" fmla="*/ 376237 w 376245"/>
                      <a:gd name="connsiteY1" fmla="*/ 130968 h 277257"/>
                      <a:gd name="connsiteX2" fmla="*/ 271462 w 376245"/>
                      <a:gd name="connsiteY2" fmla="*/ 275431 h 277257"/>
                      <a:gd name="connsiteX3" fmla="*/ 0 w 376245"/>
                      <a:gd name="connsiteY3" fmla="*/ 134938 h 277257"/>
                      <a:gd name="connsiteX4" fmla="*/ 90487 w 376245"/>
                      <a:gd name="connsiteY4" fmla="*/ 0 h 277257"/>
                      <a:gd name="connsiteX0" fmla="*/ 90487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0487 w 376244"/>
                      <a:gd name="connsiteY4" fmla="*/ 0 h 277257"/>
                      <a:gd name="connsiteX0" fmla="*/ 95249 w 376244"/>
                      <a:gd name="connsiteY0" fmla="*/ 0 h 279638"/>
                      <a:gd name="connsiteX1" fmla="*/ 376237 w 376244"/>
                      <a:gd name="connsiteY1" fmla="*/ 133349 h 279638"/>
                      <a:gd name="connsiteX2" fmla="*/ 271462 w 376244"/>
                      <a:gd name="connsiteY2" fmla="*/ 277812 h 279638"/>
                      <a:gd name="connsiteX3" fmla="*/ 0 w 376244"/>
                      <a:gd name="connsiteY3" fmla="*/ 137319 h 279638"/>
                      <a:gd name="connsiteX4" fmla="*/ 95249 w 376244"/>
                      <a:gd name="connsiteY4" fmla="*/ 0 h 279638"/>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97630 w 376244"/>
                      <a:gd name="connsiteY0" fmla="*/ 0 h 277257"/>
                      <a:gd name="connsiteX1" fmla="*/ 376237 w 376244"/>
                      <a:gd name="connsiteY1" fmla="*/ 130968 h 277257"/>
                      <a:gd name="connsiteX2" fmla="*/ 271462 w 376244"/>
                      <a:gd name="connsiteY2" fmla="*/ 275431 h 277257"/>
                      <a:gd name="connsiteX3" fmla="*/ 0 w 376244"/>
                      <a:gd name="connsiteY3" fmla="*/ 134938 h 277257"/>
                      <a:gd name="connsiteX4" fmla="*/ 97630 w 376244"/>
                      <a:gd name="connsiteY4" fmla="*/ 0 h 277257"/>
                      <a:gd name="connsiteX0" fmla="*/ 679166 w 957780"/>
                      <a:gd name="connsiteY0" fmla="*/ 149688 h 426945"/>
                      <a:gd name="connsiteX1" fmla="*/ 957773 w 957780"/>
                      <a:gd name="connsiteY1" fmla="*/ 280656 h 426945"/>
                      <a:gd name="connsiteX2" fmla="*/ 852998 w 957780"/>
                      <a:gd name="connsiteY2" fmla="*/ 425119 h 426945"/>
                      <a:gd name="connsiteX3" fmla="*/ 0 w 957780"/>
                      <a:gd name="connsiteY3" fmla="*/ 1207 h 426945"/>
                      <a:gd name="connsiteX4" fmla="*/ 679166 w 957780"/>
                      <a:gd name="connsiteY4" fmla="*/ 149688 h 426945"/>
                      <a:gd name="connsiteX0" fmla="*/ 72068 w 957780"/>
                      <a:gd name="connsiteY0" fmla="*/ 0 h 554514"/>
                      <a:gd name="connsiteX1" fmla="*/ 957773 w 957780"/>
                      <a:gd name="connsiteY1" fmla="*/ 408225 h 554514"/>
                      <a:gd name="connsiteX2" fmla="*/ 852998 w 957780"/>
                      <a:gd name="connsiteY2" fmla="*/ 552688 h 554514"/>
                      <a:gd name="connsiteX3" fmla="*/ 0 w 957780"/>
                      <a:gd name="connsiteY3" fmla="*/ 128776 h 554514"/>
                      <a:gd name="connsiteX4" fmla="*/ 72068 w 957780"/>
                      <a:gd name="connsiteY4" fmla="*/ 0 h 554514"/>
                      <a:gd name="connsiteX0" fmla="*/ 72068 w 957780"/>
                      <a:gd name="connsiteY0" fmla="*/ 0 h 554514"/>
                      <a:gd name="connsiteX1" fmla="*/ 957773 w 957780"/>
                      <a:gd name="connsiteY1" fmla="*/ 408225 h 554514"/>
                      <a:gd name="connsiteX2" fmla="*/ 852998 w 957780"/>
                      <a:gd name="connsiteY2" fmla="*/ 552688 h 554514"/>
                      <a:gd name="connsiteX3" fmla="*/ 0 w 957780"/>
                      <a:gd name="connsiteY3" fmla="*/ 128776 h 554514"/>
                      <a:gd name="connsiteX4" fmla="*/ 72068 w 957780"/>
                      <a:gd name="connsiteY4" fmla="*/ 0 h 554514"/>
                      <a:gd name="connsiteX0" fmla="*/ 75263 w 960975"/>
                      <a:gd name="connsiteY0" fmla="*/ 0 h 554514"/>
                      <a:gd name="connsiteX1" fmla="*/ 960968 w 960975"/>
                      <a:gd name="connsiteY1" fmla="*/ 408225 h 554514"/>
                      <a:gd name="connsiteX2" fmla="*/ 856193 w 960975"/>
                      <a:gd name="connsiteY2" fmla="*/ 552688 h 554514"/>
                      <a:gd name="connsiteX3" fmla="*/ 0 w 960975"/>
                      <a:gd name="connsiteY3" fmla="*/ 134938 h 554514"/>
                      <a:gd name="connsiteX4" fmla="*/ 75263 w 960975"/>
                      <a:gd name="connsiteY4" fmla="*/ 0 h 554514"/>
                      <a:gd name="connsiteX0" fmla="*/ 75263 w 960975"/>
                      <a:gd name="connsiteY0" fmla="*/ 0 h 554514"/>
                      <a:gd name="connsiteX1" fmla="*/ 960968 w 960975"/>
                      <a:gd name="connsiteY1" fmla="*/ 408225 h 554514"/>
                      <a:gd name="connsiteX2" fmla="*/ 856193 w 960975"/>
                      <a:gd name="connsiteY2" fmla="*/ 552688 h 554514"/>
                      <a:gd name="connsiteX3" fmla="*/ 0 w 960975"/>
                      <a:gd name="connsiteY3" fmla="*/ 134938 h 554514"/>
                      <a:gd name="connsiteX4" fmla="*/ 75263 w 960975"/>
                      <a:gd name="connsiteY4" fmla="*/ 0 h 554514"/>
                      <a:gd name="connsiteX0" fmla="*/ 75263 w 960975"/>
                      <a:gd name="connsiteY0" fmla="*/ 0 h 554514"/>
                      <a:gd name="connsiteX1" fmla="*/ 960968 w 960975"/>
                      <a:gd name="connsiteY1" fmla="*/ 408225 h 554514"/>
                      <a:gd name="connsiteX2" fmla="*/ 856193 w 960975"/>
                      <a:gd name="connsiteY2" fmla="*/ 552688 h 554514"/>
                      <a:gd name="connsiteX3" fmla="*/ 0 w 960975"/>
                      <a:gd name="connsiteY3" fmla="*/ 134938 h 554514"/>
                      <a:gd name="connsiteX4" fmla="*/ 75263 w 960975"/>
                      <a:gd name="connsiteY4" fmla="*/ 0 h 554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0975" h="554514">
                        <a:moveTo>
                          <a:pt x="75263" y="0"/>
                        </a:moveTo>
                        <a:lnTo>
                          <a:pt x="960968" y="408225"/>
                        </a:lnTo>
                        <a:cubicBezTo>
                          <a:pt x="961761" y="523053"/>
                          <a:pt x="898261" y="564066"/>
                          <a:pt x="856193" y="552688"/>
                        </a:cubicBezTo>
                        <a:lnTo>
                          <a:pt x="0" y="134938"/>
                        </a:lnTo>
                        <a:cubicBezTo>
                          <a:pt x="52857" y="96875"/>
                          <a:pt x="76058" y="57679"/>
                          <a:pt x="75263" y="0"/>
                        </a:cubicBezTo>
                        <a:close/>
                      </a:path>
                    </a:pathLst>
                  </a:custGeom>
                  <a:solidFill>
                    <a:srgbClr val="D85454"/>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44" name="Rectangle 16"/>
                  <p:cNvSpPr/>
                  <p:nvPr/>
                </p:nvSpPr>
                <p:spPr>
                  <a:xfrm rot="1545906" flipH="1">
                    <a:off x="6938996" y="3147818"/>
                    <a:ext cx="99771" cy="130612"/>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4368"/>
                      <a:gd name="connsiteY0" fmla="*/ 0 h 368300"/>
                      <a:gd name="connsiteX1" fmla="*/ 664368 w 664368"/>
                      <a:gd name="connsiteY1" fmla="*/ 235744 h 368300"/>
                      <a:gd name="connsiteX2" fmla="*/ 571500 w 664368"/>
                      <a:gd name="connsiteY2" fmla="*/ 368300 h 368300"/>
                      <a:gd name="connsiteX3" fmla="*/ 0 w 664368"/>
                      <a:gd name="connsiteY3" fmla="*/ 368300 h 368300"/>
                      <a:gd name="connsiteX4" fmla="*/ 0 w 664368"/>
                      <a:gd name="connsiteY4" fmla="*/ 0 h 368300"/>
                      <a:gd name="connsiteX0" fmla="*/ 0 w 671347"/>
                      <a:gd name="connsiteY0" fmla="*/ 0 h 368300"/>
                      <a:gd name="connsiteX1" fmla="*/ 664368 w 671347"/>
                      <a:gd name="connsiteY1" fmla="*/ 235744 h 368300"/>
                      <a:gd name="connsiteX2" fmla="*/ 571500 w 671347"/>
                      <a:gd name="connsiteY2" fmla="*/ 368300 h 368300"/>
                      <a:gd name="connsiteX3" fmla="*/ 0 w 671347"/>
                      <a:gd name="connsiteY3" fmla="*/ 368300 h 368300"/>
                      <a:gd name="connsiteX4" fmla="*/ 0 w 671347"/>
                      <a:gd name="connsiteY4" fmla="*/ 0 h 368300"/>
                      <a:gd name="connsiteX0" fmla="*/ 0 w 664610"/>
                      <a:gd name="connsiteY0" fmla="*/ 0 h 368300"/>
                      <a:gd name="connsiteX1" fmla="*/ 664368 w 664610"/>
                      <a:gd name="connsiteY1" fmla="*/ 235744 h 368300"/>
                      <a:gd name="connsiteX2" fmla="*/ 571500 w 664610"/>
                      <a:gd name="connsiteY2" fmla="*/ 368300 h 368300"/>
                      <a:gd name="connsiteX3" fmla="*/ 0 w 664610"/>
                      <a:gd name="connsiteY3" fmla="*/ 368300 h 368300"/>
                      <a:gd name="connsiteX4" fmla="*/ 0 w 664610"/>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490538 w 664748"/>
                      <a:gd name="connsiteY0" fmla="*/ 0 h 215900"/>
                      <a:gd name="connsiteX1" fmla="*/ 664368 w 664748"/>
                      <a:gd name="connsiteY1" fmla="*/ 83344 h 215900"/>
                      <a:gd name="connsiteX2" fmla="*/ 571500 w 664748"/>
                      <a:gd name="connsiteY2" fmla="*/ 215900 h 215900"/>
                      <a:gd name="connsiteX3" fmla="*/ 0 w 664748"/>
                      <a:gd name="connsiteY3" fmla="*/ 215900 h 215900"/>
                      <a:gd name="connsiteX4" fmla="*/ 490538 w 664748"/>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5251 w 271842"/>
                      <a:gd name="connsiteY0" fmla="*/ 0 h 225425"/>
                      <a:gd name="connsiteX1" fmla="*/ 271462 w 271842"/>
                      <a:gd name="connsiteY1" fmla="*/ 92869 h 225425"/>
                      <a:gd name="connsiteX2" fmla="*/ 178594 w 271842"/>
                      <a:gd name="connsiteY2" fmla="*/ 225425 h 225425"/>
                      <a:gd name="connsiteX3" fmla="*/ 0 w 271842"/>
                      <a:gd name="connsiteY3" fmla="*/ 139700 h 225425"/>
                      <a:gd name="connsiteX4" fmla="*/ 95251 w 271842"/>
                      <a:gd name="connsiteY4" fmla="*/ 0 h 225425"/>
                      <a:gd name="connsiteX0" fmla="*/ 92870 w 271842"/>
                      <a:gd name="connsiteY0" fmla="*/ 0 h 220662"/>
                      <a:gd name="connsiteX1" fmla="*/ 271462 w 271842"/>
                      <a:gd name="connsiteY1" fmla="*/ 88106 h 220662"/>
                      <a:gd name="connsiteX2" fmla="*/ 178594 w 271842"/>
                      <a:gd name="connsiteY2" fmla="*/ 220662 h 220662"/>
                      <a:gd name="connsiteX3" fmla="*/ 0 w 271842"/>
                      <a:gd name="connsiteY3" fmla="*/ 134937 h 220662"/>
                      <a:gd name="connsiteX4" fmla="*/ 92870 w 271842"/>
                      <a:gd name="connsiteY4" fmla="*/ 0 h 220662"/>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85726 w 271842"/>
                      <a:gd name="connsiteY0" fmla="*/ 0 h 230186"/>
                      <a:gd name="connsiteX1" fmla="*/ 271462 w 271842"/>
                      <a:gd name="connsiteY1" fmla="*/ 97630 h 230186"/>
                      <a:gd name="connsiteX2" fmla="*/ 178594 w 271842"/>
                      <a:gd name="connsiteY2" fmla="*/ 230186 h 230186"/>
                      <a:gd name="connsiteX3" fmla="*/ 0 w 271842"/>
                      <a:gd name="connsiteY3" fmla="*/ 144461 h 230186"/>
                      <a:gd name="connsiteX4" fmla="*/ 85726 w 271842"/>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2567"/>
                      <a:gd name="connsiteX1" fmla="*/ 285750 w 286111"/>
                      <a:gd name="connsiteY1" fmla="*/ 97630 h 232567"/>
                      <a:gd name="connsiteX2" fmla="*/ 190501 w 286111"/>
                      <a:gd name="connsiteY2" fmla="*/ 232567 h 232567"/>
                      <a:gd name="connsiteX3" fmla="*/ 0 w 286111"/>
                      <a:gd name="connsiteY3" fmla="*/ 153986 h 232567"/>
                      <a:gd name="connsiteX4" fmla="*/ 97633 w 286111"/>
                      <a:gd name="connsiteY4" fmla="*/ 0 h 232567"/>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200027 w 286111"/>
                      <a:gd name="connsiteY0" fmla="*/ 0 h 182561"/>
                      <a:gd name="connsiteX1" fmla="*/ 285750 w 286111"/>
                      <a:gd name="connsiteY1" fmla="*/ 47624 h 182561"/>
                      <a:gd name="connsiteX2" fmla="*/ 190501 w 286111"/>
                      <a:gd name="connsiteY2" fmla="*/ 182561 h 182561"/>
                      <a:gd name="connsiteX3" fmla="*/ 0 w 286111"/>
                      <a:gd name="connsiteY3" fmla="*/ 103980 h 182561"/>
                      <a:gd name="connsiteX4" fmla="*/ 200027 w 286111"/>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2080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66678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66678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6204 w 167050"/>
                      <a:gd name="connsiteY0" fmla="*/ 0 h 182561"/>
                      <a:gd name="connsiteX1" fmla="*/ 166689 w 167050"/>
                      <a:gd name="connsiteY1" fmla="*/ 47624 h 182561"/>
                      <a:gd name="connsiteX2" fmla="*/ 71440 w 167050"/>
                      <a:gd name="connsiteY2" fmla="*/ 182561 h 182561"/>
                      <a:gd name="connsiteX3" fmla="*/ 0 w 167050"/>
                      <a:gd name="connsiteY3" fmla="*/ 144462 h 182561"/>
                      <a:gd name="connsiteX4" fmla="*/ 76204 w 167050"/>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900"/>
                      <a:gd name="connsiteY0" fmla="*/ 0 h 189705"/>
                      <a:gd name="connsiteX1" fmla="*/ 164308 w 164900"/>
                      <a:gd name="connsiteY1" fmla="*/ 47624 h 189705"/>
                      <a:gd name="connsiteX2" fmla="*/ 88109 w 164900"/>
                      <a:gd name="connsiteY2" fmla="*/ 189705 h 189705"/>
                      <a:gd name="connsiteX3" fmla="*/ 0 w 164900"/>
                      <a:gd name="connsiteY3" fmla="*/ 139699 h 189705"/>
                      <a:gd name="connsiteX4" fmla="*/ 73823 w 164900"/>
                      <a:gd name="connsiteY4" fmla="*/ 0 h 189705"/>
                      <a:gd name="connsiteX0" fmla="*/ 73823 w 164711"/>
                      <a:gd name="connsiteY0" fmla="*/ 0 h 189705"/>
                      <a:gd name="connsiteX1" fmla="*/ 164308 w 164711"/>
                      <a:gd name="connsiteY1" fmla="*/ 47624 h 189705"/>
                      <a:gd name="connsiteX2" fmla="*/ 88109 w 164711"/>
                      <a:gd name="connsiteY2" fmla="*/ 189705 h 189705"/>
                      <a:gd name="connsiteX3" fmla="*/ 0 w 164711"/>
                      <a:gd name="connsiteY3" fmla="*/ 139699 h 189705"/>
                      <a:gd name="connsiteX4" fmla="*/ 73823 w 164711"/>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54773 w 164599"/>
                      <a:gd name="connsiteY0" fmla="*/ 0 h 201611"/>
                      <a:gd name="connsiteX1" fmla="*/ 164308 w 164599"/>
                      <a:gd name="connsiteY1" fmla="*/ 59530 h 201611"/>
                      <a:gd name="connsiteX2" fmla="*/ 88109 w 164599"/>
                      <a:gd name="connsiteY2" fmla="*/ 201611 h 201611"/>
                      <a:gd name="connsiteX3" fmla="*/ 0 w 164599"/>
                      <a:gd name="connsiteY3" fmla="*/ 151605 h 201611"/>
                      <a:gd name="connsiteX4" fmla="*/ 54773 w 164599"/>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380"/>
                      <a:gd name="connsiteY0" fmla="*/ 0 h 201611"/>
                      <a:gd name="connsiteX1" fmla="*/ 180977 w 181380"/>
                      <a:gd name="connsiteY1" fmla="*/ 59530 h 201611"/>
                      <a:gd name="connsiteX2" fmla="*/ 104778 w 181380"/>
                      <a:gd name="connsiteY2" fmla="*/ 201611 h 201611"/>
                      <a:gd name="connsiteX3" fmla="*/ 0 w 181380"/>
                      <a:gd name="connsiteY3" fmla="*/ 151605 h 201611"/>
                      <a:gd name="connsiteX4" fmla="*/ 71442 w 181380"/>
                      <a:gd name="connsiteY4" fmla="*/ 0 h 201611"/>
                      <a:gd name="connsiteX0" fmla="*/ 71442 w 180977"/>
                      <a:gd name="connsiteY0" fmla="*/ 0 h 201611"/>
                      <a:gd name="connsiteX1" fmla="*/ 180977 w 180977"/>
                      <a:gd name="connsiteY1" fmla="*/ 59530 h 201611"/>
                      <a:gd name="connsiteX2" fmla="*/ 104778 w 180977"/>
                      <a:gd name="connsiteY2" fmla="*/ 201611 h 201611"/>
                      <a:gd name="connsiteX3" fmla="*/ 0 w 180977"/>
                      <a:gd name="connsiteY3" fmla="*/ 151605 h 201611"/>
                      <a:gd name="connsiteX4" fmla="*/ 71442 w 180977"/>
                      <a:gd name="connsiteY4" fmla="*/ 0 h 201611"/>
                      <a:gd name="connsiteX0" fmla="*/ 73823 w 180977"/>
                      <a:gd name="connsiteY0" fmla="*/ 0 h 199230"/>
                      <a:gd name="connsiteX1" fmla="*/ 180977 w 180977"/>
                      <a:gd name="connsiteY1" fmla="*/ 57149 h 199230"/>
                      <a:gd name="connsiteX2" fmla="*/ 104778 w 180977"/>
                      <a:gd name="connsiteY2" fmla="*/ 199230 h 199230"/>
                      <a:gd name="connsiteX3" fmla="*/ 0 w 180977"/>
                      <a:gd name="connsiteY3" fmla="*/ 149224 h 199230"/>
                      <a:gd name="connsiteX4" fmla="*/ 73823 w 180977"/>
                      <a:gd name="connsiteY4" fmla="*/ 0 h 199230"/>
                      <a:gd name="connsiteX0" fmla="*/ 73823 w 180977"/>
                      <a:gd name="connsiteY0" fmla="*/ 0 h 199230"/>
                      <a:gd name="connsiteX1" fmla="*/ 180977 w 180977"/>
                      <a:gd name="connsiteY1" fmla="*/ 57149 h 199230"/>
                      <a:gd name="connsiteX2" fmla="*/ 104778 w 180977"/>
                      <a:gd name="connsiteY2" fmla="*/ 199230 h 199230"/>
                      <a:gd name="connsiteX3" fmla="*/ 0 w 180977"/>
                      <a:gd name="connsiteY3" fmla="*/ 149224 h 199230"/>
                      <a:gd name="connsiteX4" fmla="*/ 73823 w 180977"/>
                      <a:gd name="connsiteY4" fmla="*/ 0 h 199230"/>
                      <a:gd name="connsiteX0" fmla="*/ 111923 w 180977"/>
                      <a:gd name="connsiteY0" fmla="*/ 0 h 180180"/>
                      <a:gd name="connsiteX1" fmla="*/ 180977 w 180977"/>
                      <a:gd name="connsiteY1" fmla="*/ 38099 h 180180"/>
                      <a:gd name="connsiteX2" fmla="*/ 104778 w 180977"/>
                      <a:gd name="connsiteY2" fmla="*/ 180180 h 180180"/>
                      <a:gd name="connsiteX3" fmla="*/ 0 w 180977"/>
                      <a:gd name="connsiteY3" fmla="*/ 130174 h 180180"/>
                      <a:gd name="connsiteX4" fmla="*/ 111923 w 180977"/>
                      <a:gd name="connsiteY4" fmla="*/ 0 h 180180"/>
                      <a:gd name="connsiteX0" fmla="*/ 111923 w 180977"/>
                      <a:gd name="connsiteY0" fmla="*/ 0 h 180180"/>
                      <a:gd name="connsiteX1" fmla="*/ 180977 w 180977"/>
                      <a:gd name="connsiteY1" fmla="*/ 38099 h 180180"/>
                      <a:gd name="connsiteX2" fmla="*/ 104778 w 180977"/>
                      <a:gd name="connsiteY2" fmla="*/ 180180 h 180180"/>
                      <a:gd name="connsiteX3" fmla="*/ 0 w 180977"/>
                      <a:gd name="connsiteY3" fmla="*/ 130174 h 180180"/>
                      <a:gd name="connsiteX4" fmla="*/ 111923 w 180977"/>
                      <a:gd name="connsiteY4" fmla="*/ 0 h 180180"/>
                      <a:gd name="connsiteX0" fmla="*/ 138117 w 180977"/>
                      <a:gd name="connsiteY0" fmla="*/ 0 h 165892"/>
                      <a:gd name="connsiteX1" fmla="*/ 180977 w 180977"/>
                      <a:gd name="connsiteY1" fmla="*/ 23811 h 165892"/>
                      <a:gd name="connsiteX2" fmla="*/ 104778 w 180977"/>
                      <a:gd name="connsiteY2" fmla="*/ 165892 h 165892"/>
                      <a:gd name="connsiteX3" fmla="*/ 0 w 180977"/>
                      <a:gd name="connsiteY3" fmla="*/ 115886 h 165892"/>
                      <a:gd name="connsiteX4" fmla="*/ 138117 w 180977"/>
                      <a:gd name="connsiteY4" fmla="*/ 0 h 165892"/>
                      <a:gd name="connsiteX0" fmla="*/ 78585 w 121445"/>
                      <a:gd name="connsiteY0" fmla="*/ 0 h 165892"/>
                      <a:gd name="connsiteX1" fmla="*/ 121445 w 121445"/>
                      <a:gd name="connsiteY1" fmla="*/ 23811 h 165892"/>
                      <a:gd name="connsiteX2" fmla="*/ 45246 w 121445"/>
                      <a:gd name="connsiteY2" fmla="*/ 165892 h 165892"/>
                      <a:gd name="connsiteX3" fmla="*/ 0 w 121445"/>
                      <a:gd name="connsiteY3" fmla="*/ 149224 h 165892"/>
                      <a:gd name="connsiteX4" fmla="*/ 78585 w 121445"/>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32609"/>
                      <a:gd name="connsiteY0" fmla="*/ 0 h 173036"/>
                      <a:gd name="connsiteX1" fmla="*/ 132609 w 132609"/>
                      <a:gd name="connsiteY1" fmla="*/ 24092 h 173036"/>
                      <a:gd name="connsiteX2" fmla="*/ 45564 w 132609"/>
                      <a:gd name="connsiteY2" fmla="*/ 173036 h 173036"/>
                      <a:gd name="connsiteX3" fmla="*/ 318 w 132609"/>
                      <a:gd name="connsiteY3" fmla="*/ 149224 h 173036"/>
                      <a:gd name="connsiteX4" fmla="*/ 78903 w 132609"/>
                      <a:gd name="connsiteY4" fmla="*/ 0 h 173036"/>
                      <a:gd name="connsiteX0" fmla="*/ 78903 w 135431"/>
                      <a:gd name="connsiteY0" fmla="*/ 0 h 173036"/>
                      <a:gd name="connsiteX1" fmla="*/ 135431 w 135431"/>
                      <a:gd name="connsiteY1" fmla="*/ 24092 h 173036"/>
                      <a:gd name="connsiteX2" fmla="*/ 45564 w 135431"/>
                      <a:gd name="connsiteY2" fmla="*/ 173036 h 173036"/>
                      <a:gd name="connsiteX3" fmla="*/ 318 w 135431"/>
                      <a:gd name="connsiteY3" fmla="*/ 149224 h 173036"/>
                      <a:gd name="connsiteX4" fmla="*/ 78903 w 135431"/>
                      <a:gd name="connsiteY4" fmla="*/ 0 h 173036"/>
                      <a:gd name="connsiteX0" fmla="*/ 78903 w 129787"/>
                      <a:gd name="connsiteY0" fmla="*/ 0 h 173036"/>
                      <a:gd name="connsiteX1" fmla="*/ 129787 w 129787"/>
                      <a:gd name="connsiteY1" fmla="*/ 18768 h 173036"/>
                      <a:gd name="connsiteX2" fmla="*/ 45564 w 129787"/>
                      <a:gd name="connsiteY2" fmla="*/ 173036 h 173036"/>
                      <a:gd name="connsiteX3" fmla="*/ 318 w 129787"/>
                      <a:gd name="connsiteY3" fmla="*/ 149224 h 173036"/>
                      <a:gd name="connsiteX4" fmla="*/ 78903 w 129787"/>
                      <a:gd name="connsiteY4" fmla="*/ 0 h 173036"/>
                      <a:gd name="connsiteX0" fmla="*/ 78903 w 129787"/>
                      <a:gd name="connsiteY0" fmla="*/ 0 h 173036"/>
                      <a:gd name="connsiteX1" fmla="*/ 129787 w 129787"/>
                      <a:gd name="connsiteY1" fmla="*/ 18768 h 173036"/>
                      <a:gd name="connsiteX2" fmla="*/ 45564 w 129787"/>
                      <a:gd name="connsiteY2" fmla="*/ 173036 h 173036"/>
                      <a:gd name="connsiteX3" fmla="*/ 318 w 129787"/>
                      <a:gd name="connsiteY3" fmla="*/ 149224 h 173036"/>
                      <a:gd name="connsiteX4" fmla="*/ 78903 w 129787"/>
                      <a:gd name="connsiteY4" fmla="*/ 0 h 173036"/>
                      <a:gd name="connsiteX0" fmla="*/ 78903 w 132608"/>
                      <a:gd name="connsiteY0" fmla="*/ 0 h 173036"/>
                      <a:gd name="connsiteX1" fmla="*/ 132608 w 132608"/>
                      <a:gd name="connsiteY1" fmla="*/ 18768 h 173036"/>
                      <a:gd name="connsiteX2" fmla="*/ 45564 w 132608"/>
                      <a:gd name="connsiteY2" fmla="*/ 173036 h 173036"/>
                      <a:gd name="connsiteX3" fmla="*/ 318 w 132608"/>
                      <a:gd name="connsiteY3" fmla="*/ 149224 h 173036"/>
                      <a:gd name="connsiteX4" fmla="*/ 78903 w 132608"/>
                      <a:gd name="connsiteY4" fmla="*/ 0 h 173036"/>
                      <a:gd name="connsiteX0" fmla="*/ 78903 w 133037"/>
                      <a:gd name="connsiteY0" fmla="*/ 0 h 173036"/>
                      <a:gd name="connsiteX1" fmla="*/ 132608 w 133037"/>
                      <a:gd name="connsiteY1" fmla="*/ 18768 h 173036"/>
                      <a:gd name="connsiteX2" fmla="*/ 45564 w 133037"/>
                      <a:gd name="connsiteY2" fmla="*/ 173036 h 173036"/>
                      <a:gd name="connsiteX3" fmla="*/ 318 w 133037"/>
                      <a:gd name="connsiteY3" fmla="*/ 149224 h 173036"/>
                      <a:gd name="connsiteX4" fmla="*/ 78903 w 133037"/>
                      <a:gd name="connsiteY4" fmla="*/ 0 h 173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037" h="173036">
                        <a:moveTo>
                          <a:pt x="78903" y="0"/>
                        </a:moveTo>
                        <a:cubicBezTo>
                          <a:pt x="103510" y="7939"/>
                          <a:pt x="108443" y="11393"/>
                          <a:pt x="132608" y="18768"/>
                        </a:cubicBezTo>
                        <a:cubicBezTo>
                          <a:pt x="138184" y="99530"/>
                          <a:pt x="88426" y="152664"/>
                          <a:pt x="45564" y="173036"/>
                        </a:cubicBezTo>
                        <a:cubicBezTo>
                          <a:pt x="30482" y="167480"/>
                          <a:pt x="-3650" y="159543"/>
                          <a:pt x="318" y="149224"/>
                        </a:cubicBezTo>
                        <a:cubicBezTo>
                          <a:pt x="57035" y="116053"/>
                          <a:pt x="80754" y="78697"/>
                          <a:pt x="78903" y="0"/>
                        </a:cubicBezTo>
                        <a:close/>
                      </a:path>
                    </a:pathLst>
                  </a:custGeom>
                  <a:solidFill>
                    <a:srgbClr val="BFBFB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45" name="Rectangle 25"/>
                  <p:cNvSpPr/>
                  <p:nvPr/>
                </p:nvSpPr>
                <p:spPr>
                  <a:xfrm rot="1545906" flipH="1">
                    <a:off x="7026788" y="3109543"/>
                    <a:ext cx="386349" cy="230725"/>
                  </a:xfrm>
                  <a:custGeom>
                    <a:avLst/>
                    <a:gdLst>
                      <a:gd name="connsiteX0" fmla="*/ 0 w 452437"/>
                      <a:gd name="connsiteY0" fmla="*/ 0 h 228600"/>
                      <a:gd name="connsiteX1" fmla="*/ 452437 w 452437"/>
                      <a:gd name="connsiteY1" fmla="*/ 0 h 228600"/>
                      <a:gd name="connsiteX2" fmla="*/ 452437 w 452437"/>
                      <a:gd name="connsiteY2" fmla="*/ 228600 h 228600"/>
                      <a:gd name="connsiteX3" fmla="*/ 0 w 452437"/>
                      <a:gd name="connsiteY3" fmla="*/ 228600 h 228600"/>
                      <a:gd name="connsiteX4" fmla="*/ 0 w 452437"/>
                      <a:gd name="connsiteY4" fmla="*/ 0 h 228600"/>
                      <a:gd name="connsiteX0" fmla="*/ 0 w 452437"/>
                      <a:gd name="connsiteY0" fmla="*/ 0 h 228600"/>
                      <a:gd name="connsiteX1" fmla="*/ 431006 w 452437"/>
                      <a:gd name="connsiteY1" fmla="*/ 90487 h 228600"/>
                      <a:gd name="connsiteX2" fmla="*/ 452437 w 452437"/>
                      <a:gd name="connsiteY2" fmla="*/ 228600 h 228600"/>
                      <a:gd name="connsiteX3" fmla="*/ 0 w 452437"/>
                      <a:gd name="connsiteY3" fmla="*/ 228600 h 228600"/>
                      <a:gd name="connsiteX4" fmla="*/ 0 w 452437"/>
                      <a:gd name="connsiteY4" fmla="*/ 0 h 228600"/>
                      <a:gd name="connsiteX0" fmla="*/ 0 w 519112"/>
                      <a:gd name="connsiteY0" fmla="*/ 0 h 228600"/>
                      <a:gd name="connsiteX1" fmla="*/ 519112 w 519112"/>
                      <a:gd name="connsiteY1" fmla="*/ 128587 h 228600"/>
                      <a:gd name="connsiteX2" fmla="*/ 452437 w 519112"/>
                      <a:gd name="connsiteY2" fmla="*/ 228600 h 228600"/>
                      <a:gd name="connsiteX3" fmla="*/ 0 w 519112"/>
                      <a:gd name="connsiteY3" fmla="*/ 228600 h 228600"/>
                      <a:gd name="connsiteX4" fmla="*/ 0 w 519112"/>
                      <a:gd name="connsiteY4" fmla="*/ 0 h 228600"/>
                      <a:gd name="connsiteX0" fmla="*/ 0 w 519112"/>
                      <a:gd name="connsiteY0" fmla="*/ 0 h 228600"/>
                      <a:gd name="connsiteX1" fmla="*/ 519112 w 519112"/>
                      <a:gd name="connsiteY1" fmla="*/ 128587 h 228600"/>
                      <a:gd name="connsiteX2" fmla="*/ 452437 w 519112"/>
                      <a:gd name="connsiteY2" fmla="*/ 228600 h 228600"/>
                      <a:gd name="connsiteX3" fmla="*/ 0 w 519112"/>
                      <a:gd name="connsiteY3" fmla="*/ 228600 h 228600"/>
                      <a:gd name="connsiteX4" fmla="*/ 0 w 519112"/>
                      <a:gd name="connsiteY4" fmla="*/ 0 h 228600"/>
                      <a:gd name="connsiteX0" fmla="*/ 0 w 519112"/>
                      <a:gd name="connsiteY0" fmla="*/ 0 h 228600"/>
                      <a:gd name="connsiteX1" fmla="*/ 519112 w 519112"/>
                      <a:gd name="connsiteY1" fmla="*/ 128587 h 228600"/>
                      <a:gd name="connsiteX2" fmla="*/ 452437 w 519112"/>
                      <a:gd name="connsiteY2" fmla="*/ 228600 h 228600"/>
                      <a:gd name="connsiteX3" fmla="*/ 0 w 519112"/>
                      <a:gd name="connsiteY3" fmla="*/ 228600 h 228600"/>
                      <a:gd name="connsiteX4" fmla="*/ 0 w 519112"/>
                      <a:gd name="connsiteY4" fmla="*/ 0 h 228600"/>
                      <a:gd name="connsiteX0" fmla="*/ 0 w 519112"/>
                      <a:gd name="connsiteY0" fmla="*/ 0 h 228600"/>
                      <a:gd name="connsiteX1" fmla="*/ 519112 w 519112"/>
                      <a:gd name="connsiteY1" fmla="*/ 128587 h 228600"/>
                      <a:gd name="connsiteX2" fmla="*/ 450055 w 519112"/>
                      <a:gd name="connsiteY2" fmla="*/ 221456 h 228600"/>
                      <a:gd name="connsiteX3" fmla="*/ 0 w 519112"/>
                      <a:gd name="connsiteY3" fmla="*/ 228600 h 228600"/>
                      <a:gd name="connsiteX4" fmla="*/ 0 w 519112"/>
                      <a:gd name="connsiteY4" fmla="*/ 0 h 228600"/>
                      <a:gd name="connsiteX0" fmla="*/ 0 w 507205"/>
                      <a:gd name="connsiteY0" fmla="*/ 0 h 228600"/>
                      <a:gd name="connsiteX1" fmla="*/ 507205 w 507205"/>
                      <a:gd name="connsiteY1" fmla="*/ 128587 h 228600"/>
                      <a:gd name="connsiteX2" fmla="*/ 450055 w 507205"/>
                      <a:gd name="connsiteY2" fmla="*/ 221456 h 228600"/>
                      <a:gd name="connsiteX3" fmla="*/ 0 w 507205"/>
                      <a:gd name="connsiteY3" fmla="*/ 228600 h 228600"/>
                      <a:gd name="connsiteX4" fmla="*/ 0 w 507205"/>
                      <a:gd name="connsiteY4" fmla="*/ 0 h 228600"/>
                      <a:gd name="connsiteX0" fmla="*/ 0 w 507205"/>
                      <a:gd name="connsiteY0" fmla="*/ 0 h 228600"/>
                      <a:gd name="connsiteX1" fmla="*/ 507205 w 507205"/>
                      <a:gd name="connsiteY1" fmla="*/ 128587 h 228600"/>
                      <a:gd name="connsiteX2" fmla="*/ 450055 w 507205"/>
                      <a:gd name="connsiteY2" fmla="*/ 221456 h 228600"/>
                      <a:gd name="connsiteX3" fmla="*/ 0 w 507205"/>
                      <a:gd name="connsiteY3" fmla="*/ 228600 h 228600"/>
                      <a:gd name="connsiteX4" fmla="*/ 0 w 507205"/>
                      <a:gd name="connsiteY4" fmla="*/ 0 h 228600"/>
                      <a:gd name="connsiteX0" fmla="*/ 0 w 507205"/>
                      <a:gd name="connsiteY0" fmla="*/ 0 h 228600"/>
                      <a:gd name="connsiteX1" fmla="*/ 507205 w 507205"/>
                      <a:gd name="connsiteY1" fmla="*/ 128587 h 228600"/>
                      <a:gd name="connsiteX2" fmla="*/ 452436 w 507205"/>
                      <a:gd name="connsiteY2" fmla="*/ 223838 h 228600"/>
                      <a:gd name="connsiteX3" fmla="*/ 0 w 507205"/>
                      <a:gd name="connsiteY3" fmla="*/ 228600 h 228600"/>
                      <a:gd name="connsiteX4" fmla="*/ 0 w 507205"/>
                      <a:gd name="connsiteY4" fmla="*/ 0 h 228600"/>
                      <a:gd name="connsiteX0" fmla="*/ 0 w 507205"/>
                      <a:gd name="connsiteY0" fmla="*/ 0 h 228600"/>
                      <a:gd name="connsiteX1" fmla="*/ 507205 w 507205"/>
                      <a:gd name="connsiteY1" fmla="*/ 128587 h 228600"/>
                      <a:gd name="connsiteX2" fmla="*/ 452436 w 507205"/>
                      <a:gd name="connsiteY2" fmla="*/ 223838 h 228600"/>
                      <a:gd name="connsiteX3" fmla="*/ 0 w 507205"/>
                      <a:gd name="connsiteY3" fmla="*/ 228600 h 228600"/>
                      <a:gd name="connsiteX4" fmla="*/ 0 w 507205"/>
                      <a:gd name="connsiteY4" fmla="*/ 0 h 228600"/>
                      <a:gd name="connsiteX0" fmla="*/ 0 w 507205"/>
                      <a:gd name="connsiteY0" fmla="*/ 0 h 228600"/>
                      <a:gd name="connsiteX1" fmla="*/ 507205 w 507205"/>
                      <a:gd name="connsiteY1" fmla="*/ 128587 h 228600"/>
                      <a:gd name="connsiteX2" fmla="*/ 459579 w 507205"/>
                      <a:gd name="connsiteY2" fmla="*/ 223838 h 228600"/>
                      <a:gd name="connsiteX3" fmla="*/ 0 w 507205"/>
                      <a:gd name="connsiteY3" fmla="*/ 228600 h 228600"/>
                      <a:gd name="connsiteX4" fmla="*/ 0 w 507205"/>
                      <a:gd name="connsiteY4" fmla="*/ 0 h 228600"/>
                      <a:gd name="connsiteX0" fmla="*/ 0 w 514349"/>
                      <a:gd name="connsiteY0" fmla="*/ 0 h 228600"/>
                      <a:gd name="connsiteX1" fmla="*/ 514349 w 514349"/>
                      <a:gd name="connsiteY1" fmla="*/ 130969 h 228600"/>
                      <a:gd name="connsiteX2" fmla="*/ 459579 w 514349"/>
                      <a:gd name="connsiteY2" fmla="*/ 223838 h 228600"/>
                      <a:gd name="connsiteX3" fmla="*/ 0 w 514349"/>
                      <a:gd name="connsiteY3" fmla="*/ 228600 h 228600"/>
                      <a:gd name="connsiteX4" fmla="*/ 0 w 514349"/>
                      <a:gd name="connsiteY4" fmla="*/ 0 h 228600"/>
                      <a:gd name="connsiteX0" fmla="*/ 83343 w 514349"/>
                      <a:gd name="connsiteY0" fmla="*/ 0 h 273844"/>
                      <a:gd name="connsiteX1" fmla="*/ 514349 w 514349"/>
                      <a:gd name="connsiteY1" fmla="*/ 176213 h 273844"/>
                      <a:gd name="connsiteX2" fmla="*/ 459579 w 514349"/>
                      <a:gd name="connsiteY2" fmla="*/ 269082 h 273844"/>
                      <a:gd name="connsiteX3" fmla="*/ 0 w 514349"/>
                      <a:gd name="connsiteY3" fmla="*/ 273844 h 273844"/>
                      <a:gd name="connsiteX4" fmla="*/ 83343 w 514349"/>
                      <a:gd name="connsiteY4" fmla="*/ 0 h 273844"/>
                      <a:gd name="connsiteX0" fmla="*/ 95250 w 514349"/>
                      <a:gd name="connsiteY0" fmla="*/ 0 h 280988"/>
                      <a:gd name="connsiteX1" fmla="*/ 514349 w 514349"/>
                      <a:gd name="connsiteY1" fmla="*/ 183357 h 280988"/>
                      <a:gd name="connsiteX2" fmla="*/ 459579 w 514349"/>
                      <a:gd name="connsiteY2" fmla="*/ 276226 h 280988"/>
                      <a:gd name="connsiteX3" fmla="*/ 0 w 514349"/>
                      <a:gd name="connsiteY3" fmla="*/ 280988 h 280988"/>
                      <a:gd name="connsiteX4" fmla="*/ 95250 w 514349"/>
                      <a:gd name="connsiteY4" fmla="*/ 0 h 280988"/>
                      <a:gd name="connsiteX0" fmla="*/ 28575 w 447674"/>
                      <a:gd name="connsiteY0" fmla="*/ 0 h 276226"/>
                      <a:gd name="connsiteX1" fmla="*/ 447674 w 447674"/>
                      <a:gd name="connsiteY1" fmla="*/ 183357 h 276226"/>
                      <a:gd name="connsiteX2" fmla="*/ 392904 w 447674"/>
                      <a:gd name="connsiteY2" fmla="*/ 276226 h 276226"/>
                      <a:gd name="connsiteX3" fmla="*/ 0 w 447674"/>
                      <a:gd name="connsiteY3" fmla="*/ 59531 h 276226"/>
                      <a:gd name="connsiteX4" fmla="*/ 28575 w 447674"/>
                      <a:gd name="connsiteY4" fmla="*/ 0 h 276226"/>
                      <a:gd name="connsiteX0" fmla="*/ 34750 w 453849"/>
                      <a:gd name="connsiteY0" fmla="*/ 0 h 276226"/>
                      <a:gd name="connsiteX1" fmla="*/ 453849 w 453849"/>
                      <a:gd name="connsiteY1" fmla="*/ 183357 h 276226"/>
                      <a:gd name="connsiteX2" fmla="*/ 399079 w 453849"/>
                      <a:gd name="connsiteY2" fmla="*/ 276226 h 276226"/>
                      <a:gd name="connsiteX3" fmla="*/ 6175 w 453849"/>
                      <a:gd name="connsiteY3" fmla="*/ 59531 h 276226"/>
                      <a:gd name="connsiteX4" fmla="*/ 34750 w 453849"/>
                      <a:gd name="connsiteY4" fmla="*/ 0 h 276226"/>
                      <a:gd name="connsiteX0" fmla="*/ 39703 w 458802"/>
                      <a:gd name="connsiteY0" fmla="*/ 0 h 276226"/>
                      <a:gd name="connsiteX1" fmla="*/ 458802 w 458802"/>
                      <a:gd name="connsiteY1" fmla="*/ 183357 h 276226"/>
                      <a:gd name="connsiteX2" fmla="*/ 404032 w 458802"/>
                      <a:gd name="connsiteY2" fmla="*/ 276226 h 276226"/>
                      <a:gd name="connsiteX3" fmla="*/ 11128 w 458802"/>
                      <a:gd name="connsiteY3" fmla="*/ 59531 h 276226"/>
                      <a:gd name="connsiteX4" fmla="*/ 39703 w 458802"/>
                      <a:gd name="connsiteY4" fmla="*/ 0 h 276226"/>
                      <a:gd name="connsiteX0" fmla="*/ 42178 w 461277"/>
                      <a:gd name="connsiteY0" fmla="*/ 0 h 276226"/>
                      <a:gd name="connsiteX1" fmla="*/ 461277 w 461277"/>
                      <a:gd name="connsiteY1" fmla="*/ 183357 h 276226"/>
                      <a:gd name="connsiteX2" fmla="*/ 406507 w 461277"/>
                      <a:gd name="connsiteY2" fmla="*/ 276226 h 276226"/>
                      <a:gd name="connsiteX3" fmla="*/ 13603 w 461277"/>
                      <a:gd name="connsiteY3" fmla="*/ 59531 h 276226"/>
                      <a:gd name="connsiteX4" fmla="*/ 42178 w 461277"/>
                      <a:gd name="connsiteY4" fmla="*/ 0 h 276226"/>
                      <a:gd name="connsiteX0" fmla="*/ 45081 w 464180"/>
                      <a:gd name="connsiteY0" fmla="*/ 0 h 276226"/>
                      <a:gd name="connsiteX1" fmla="*/ 464180 w 464180"/>
                      <a:gd name="connsiteY1" fmla="*/ 183357 h 276226"/>
                      <a:gd name="connsiteX2" fmla="*/ 409410 w 464180"/>
                      <a:gd name="connsiteY2" fmla="*/ 276226 h 276226"/>
                      <a:gd name="connsiteX3" fmla="*/ 16506 w 464180"/>
                      <a:gd name="connsiteY3" fmla="*/ 59531 h 276226"/>
                      <a:gd name="connsiteX4" fmla="*/ 45081 w 464180"/>
                      <a:gd name="connsiteY4" fmla="*/ 0 h 276226"/>
                      <a:gd name="connsiteX0" fmla="*/ 40883 w 459982"/>
                      <a:gd name="connsiteY0" fmla="*/ 50 h 276276"/>
                      <a:gd name="connsiteX1" fmla="*/ 459982 w 459982"/>
                      <a:gd name="connsiteY1" fmla="*/ 183407 h 276276"/>
                      <a:gd name="connsiteX2" fmla="*/ 405212 w 459982"/>
                      <a:gd name="connsiteY2" fmla="*/ 276276 h 276276"/>
                      <a:gd name="connsiteX3" fmla="*/ 12308 w 459982"/>
                      <a:gd name="connsiteY3" fmla="*/ 59581 h 276276"/>
                      <a:gd name="connsiteX4" fmla="*/ 40883 w 459982"/>
                      <a:gd name="connsiteY4" fmla="*/ 50 h 276276"/>
                      <a:gd name="connsiteX0" fmla="*/ 45081 w 464180"/>
                      <a:gd name="connsiteY0" fmla="*/ 0 h 276226"/>
                      <a:gd name="connsiteX1" fmla="*/ 464180 w 464180"/>
                      <a:gd name="connsiteY1" fmla="*/ 183357 h 276226"/>
                      <a:gd name="connsiteX2" fmla="*/ 409410 w 464180"/>
                      <a:gd name="connsiteY2" fmla="*/ 276226 h 276226"/>
                      <a:gd name="connsiteX3" fmla="*/ 16506 w 464180"/>
                      <a:gd name="connsiteY3" fmla="*/ 59531 h 276226"/>
                      <a:gd name="connsiteX4" fmla="*/ 45081 w 464180"/>
                      <a:gd name="connsiteY4" fmla="*/ 0 h 276226"/>
                      <a:gd name="connsiteX0" fmla="*/ 48073 w 467172"/>
                      <a:gd name="connsiteY0" fmla="*/ 0 h 276226"/>
                      <a:gd name="connsiteX1" fmla="*/ 467172 w 467172"/>
                      <a:gd name="connsiteY1" fmla="*/ 183357 h 276226"/>
                      <a:gd name="connsiteX2" fmla="*/ 412402 w 467172"/>
                      <a:gd name="connsiteY2" fmla="*/ 276226 h 276226"/>
                      <a:gd name="connsiteX3" fmla="*/ 19498 w 467172"/>
                      <a:gd name="connsiteY3" fmla="*/ 59531 h 276226"/>
                      <a:gd name="connsiteX4" fmla="*/ 48073 w 467172"/>
                      <a:gd name="connsiteY4" fmla="*/ 0 h 276226"/>
                      <a:gd name="connsiteX0" fmla="*/ 45289 w 464388"/>
                      <a:gd name="connsiteY0" fmla="*/ 0 h 276226"/>
                      <a:gd name="connsiteX1" fmla="*/ 464388 w 464388"/>
                      <a:gd name="connsiteY1" fmla="*/ 183357 h 276226"/>
                      <a:gd name="connsiteX2" fmla="*/ 409618 w 464388"/>
                      <a:gd name="connsiteY2" fmla="*/ 276226 h 276226"/>
                      <a:gd name="connsiteX3" fmla="*/ 16714 w 464388"/>
                      <a:gd name="connsiteY3" fmla="*/ 59531 h 276226"/>
                      <a:gd name="connsiteX4" fmla="*/ 45289 w 464388"/>
                      <a:gd name="connsiteY4" fmla="*/ 0 h 276226"/>
                      <a:gd name="connsiteX0" fmla="*/ 43442 w 462541"/>
                      <a:gd name="connsiteY0" fmla="*/ 0 h 276226"/>
                      <a:gd name="connsiteX1" fmla="*/ 462541 w 462541"/>
                      <a:gd name="connsiteY1" fmla="*/ 183357 h 276226"/>
                      <a:gd name="connsiteX2" fmla="*/ 407771 w 462541"/>
                      <a:gd name="connsiteY2" fmla="*/ 276226 h 276226"/>
                      <a:gd name="connsiteX3" fmla="*/ 14867 w 462541"/>
                      <a:gd name="connsiteY3" fmla="*/ 59531 h 276226"/>
                      <a:gd name="connsiteX4" fmla="*/ 43442 w 462541"/>
                      <a:gd name="connsiteY4" fmla="*/ 0 h 276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541" h="276226">
                        <a:moveTo>
                          <a:pt x="43442" y="0"/>
                        </a:moveTo>
                        <a:lnTo>
                          <a:pt x="462541" y="183357"/>
                        </a:lnTo>
                        <a:cubicBezTo>
                          <a:pt x="461748" y="233364"/>
                          <a:pt x="429996" y="271462"/>
                          <a:pt x="407771" y="276226"/>
                        </a:cubicBezTo>
                        <a:lnTo>
                          <a:pt x="14867" y="59531"/>
                        </a:lnTo>
                        <a:cubicBezTo>
                          <a:pt x="-13709" y="34924"/>
                          <a:pt x="580" y="793"/>
                          <a:pt x="43442" y="0"/>
                        </a:cubicBezTo>
                        <a:close/>
                      </a:path>
                    </a:pathLst>
                  </a:custGeom>
                  <a:solidFill>
                    <a:srgbClr val="D9D9D9"/>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46" name="Rectangle 16"/>
                  <p:cNvSpPr/>
                  <p:nvPr/>
                </p:nvSpPr>
                <p:spPr>
                  <a:xfrm rot="1545906" flipH="1">
                    <a:off x="6975673" y="3149300"/>
                    <a:ext cx="99211" cy="132601"/>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4368"/>
                      <a:gd name="connsiteY0" fmla="*/ 0 h 368300"/>
                      <a:gd name="connsiteX1" fmla="*/ 664368 w 664368"/>
                      <a:gd name="connsiteY1" fmla="*/ 235744 h 368300"/>
                      <a:gd name="connsiteX2" fmla="*/ 571500 w 664368"/>
                      <a:gd name="connsiteY2" fmla="*/ 368300 h 368300"/>
                      <a:gd name="connsiteX3" fmla="*/ 0 w 664368"/>
                      <a:gd name="connsiteY3" fmla="*/ 368300 h 368300"/>
                      <a:gd name="connsiteX4" fmla="*/ 0 w 664368"/>
                      <a:gd name="connsiteY4" fmla="*/ 0 h 368300"/>
                      <a:gd name="connsiteX0" fmla="*/ 0 w 671347"/>
                      <a:gd name="connsiteY0" fmla="*/ 0 h 368300"/>
                      <a:gd name="connsiteX1" fmla="*/ 664368 w 671347"/>
                      <a:gd name="connsiteY1" fmla="*/ 235744 h 368300"/>
                      <a:gd name="connsiteX2" fmla="*/ 571500 w 671347"/>
                      <a:gd name="connsiteY2" fmla="*/ 368300 h 368300"/>
                      <a:gd name="connsiteX3" fmla="*/ 0 w 671347"/>
                      <a:gd name="connsiteY3" fmla="*/ 368300 h 368300"/>
                      <a:gd name="connsiteX4" fmla="*/ 0 w 671347"/>
                      <a:gd name="connsiteY4" fmla="*/ 0 h 368300"/>
                      <a:gd name="connsiteX0" fmla="*/ 0 w 664610"/>
                      <a:gd name="connsiteY0" fmla="*/ 0 h 368300"/>
                      <a:gd name="connsiteX1" fmla="*/ 664368 w 664610"/>
                      <a:gd name="connsiteY1" fmla="*/ 235744 h 368300"/>
                      <a:gd name="connsiteX2" fmla="*/ 571500 w 664610"/>
                      <a:gd name="connsiteY2" fmla="*/ 368300 h 368300"/>
                      <a:gd name="connsiteX3" fmla="*/ 0 w 664610"/>
                      <a:gd name="connsiteY3" fmla="*/ 368300 h 368300"/>
                      <a:gd name="connsiteX4" fmla="*/ 0 w 664610"/>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490538 w 664748"/>
                      <a:gd name="connsiteY0" fmla="*/ 0 h 215900"/>
                      <a:gd name="connsiteX1" fmla="*/ 664368 w 664748"/>
                      <a:gd name="connsiteY1" fmla="*/ 83344 h 215900"/>
                      <a:gd name="connsiteX2" fmla="*/ 571500 w 664748"/>
                      <a:gd name="connsiteY2" fmla="*/ 215900 h 215900"/>
                      <a:gd name="connsiteX3" fmla="*/ 0 w 664748"/>
                      <a:gd name="connsiteY3" fmla="*/ 215900 h 215900"/>
                      <a:gd name="connsiteX4" fmla="*/ 490538 w 664748"/>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5251 w 271842"/>
                      <a:gd name="connsiteY0" fmla="*/ 0 h 225425"/>
                      <a:gd name="connsiteX1" fmla="*/ 271462 w 271842"/>
                      <a:gd name="connsiteY1" fmla="*/ 92869 h 225425"/>
                      <a:gd name="connsiteX2" fmla="*/ 178594 w 271842"/>
                      <a:gd name="connsiteY2" fmla="*/ 225425 h 225425"/>
                      <a:gd name="connsiteX3" fmla="*/ 0 w 271842"/>
                      <a:gd name="connsiteY3" fmla="*/ 139700 h 225425"/>
                      <a:gd name="connsiteX4" fmla="*/ 95251 w 271842"/>
                      <a:gd name="connsiteY4" fmla="*/ 0 h 225425"/>
                      <a:gd name="connsiteX0" fmla="*/ 92870 w 271842"/>
                      <a:gd name="connsiteY0" fmla="*/ 0 h 220662"/>
                      <a:gd name="connsiteX1" fmla="*/ 271462 w 271842"/>
                      <a:gd name="connsiteY1" fmla="*/ 88106 h 220662"/>
                      <a:gd name="connsiteX2" fmla="*/ 178594 w 271842"/>
                      <a:gd name="connsiteY2" fmla="*/ 220662 h 220662"/>
                      <a:gd name="connsiteX3" fmla="*/ 0 w 271842"/>
                      <a:gd name="connsiteY3" fmla="*/ 134937 h 220662"/>
                      <a:gd name="connsiteX4" fmla="*/ 92870 w 271842"/>
                      <a:gd name="connsiteY4" fmla="*/ 0 h 220662"/>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85726 w 271842"/>
                      <a:gd name="connsiteY0" fmla="*/ 0 h 230186"/>
                      <a:gd name="connsiteX1" fmla="*/ 271462 w 271842"/>
                      <a:gd name="connsiteY1" fmla="*/ 97630 h 230186"/>
                      <a:gd name="connsiteX2" fmla="*/ 178594 w 271842"/>
                      <a:gd name="connsiteY2" fmla="*/ 230186 h 230186"/>
                      <a:gd name="connsiteX3" fmla="*/ 0 w 271842"/>
                      <a:gd name="connsiteY3" fmla="*/ 144461 h 230186"/>
                      <a:gd name="connsiteX4" fmla="*/ 85726 w 271842"/>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2567"/>
                      <a:gd name="connsiteX1" fmla="*/ 285750 w 286111"/>
                      <a:gd name="connsiteY1" fmla="*/ 97630 h 232567"/>
                      <a:gd name="connsiteX2" fmla="*/ 190501 w 286111"/>
                      <a:gd name="connsiteY2" fmla="*/ 232567 h 232567"/>
                      <a:gd name="connsiteX3" fmla="*/ 0 w 286111"/>
                      <a:gd name="connsiteY3" fmla="*/ 153986 h 232567"/>
                      <a:gd name="connsiteX4" fmla="*/ 97633 w 286111"/>
                      <a:gd name="connsiteY4" fmla="*/ 0 h 232567"/>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200027 w 286111"/>
                      <a:gd name="connsiteY0" fmla="*/ 0 h 182561"/>
                      <a:gd name="connsiteX1" fmla="*/ 285750 w 286111"/>
                      <a:gd name="connsiteY1" fmla="*/ 47624 h 182561"/>
                      <a:gd name="connsiteX2" fmla="*/ 190501 w 286111"/>
                      <a:gd name="connsiteY2" fmla="*/ 182561 h 182561"/>
                      <a:gd name="connsiteX3" fmla="*/ 0 w 286111"/>
                      <a:gd name="connsiteY3" fmla="*/ 103980 h 182561"/>
                      <a:gd name="connsiteX4" fmla="*/ 200027 w 286111"/>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2080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66678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66678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6204 w 167050"/>
                      <a:gd name="connsiteY0" fmla="*/ 0 h 182561"/>
                      <a:gd name="connsiteX1" fmla="*/ 166689 w 167050"/>
                      <a:gd name="connsiteY1" fmla="*/ 47624 h 182561"/>
                      <a:gd name="connsiteX2" fmla="*/ 71440 w 167050"/>
                      <a:gd name="connsiteY2" fmla="*/ 182561 h 182561"/>
                      <a:gd name="connsiteX3" fmla="*/ 0 w 167050"/>
                      <a:gd name="connsiteY3" fmla="*/ 144462 h 182561"/>
                      <a:gd name="connsiteX4" fmla="*/ 76204 w 167050"/>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900"/>
                      <a:gd name="connsiteY0" fmla="*/ 0 h 189705"/>
                      <a:gd name="connsiteX1" fmla="*/ 164308 w 164900"/>
                      <a:gd name="connsiteY1" fmla="*/ 47624 h 189705"/>
                      <a:gd name="connsiteX2" fmla="*/ 88109 w 164900"/>
                      <a:gd name="connsiteY2" fmla="*/ 189705 h 189705"/>
                      <a:gd name="connsiteX3" fmla="*/ 0 w 164900"/>
                      <a:gd name="connsiteY3" fmla="*/ 139699 h 189705"/>
                      <a:gd name="connsiteX4" fmla="*/ 73823 w 164900"/>
                      <a:gd name="connsiteY4" fmla="*/ 0 h 189705"/>
                      <a:gd name="connsiteX0" fmla="*/ 73823 w 164711"/>
                      <a:gd name="connsiteY0" fmla="*/ 0 h 189705"/>
                      <a:gd name="connsiteX1" fmla="*/ 164308 w 164711"/>
                      <a:gd name="connsiteY1" fmla="*/ 47624 h 189705"/>
                      <a:gd name="connsiteX2" fmla="*/ 88109 w 164711"/>
                      <a:gd name="connsiteY2" fmla="*/ 189705 h 189705"/>
                      <a:gd name="connsiteX3" fmla="*/ 0 w 164711"/>
                      <a:gd name="connsiteY3" fmla="*/ 139699 h 189705"/>
                      <a:gd name="connsiteX4" fmla="*/ 73823 w 164711"/>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54773 w 164599"/>
                      <a:gd name="connsiteY0" fmla="*/ 0 h 201611"/>
                      <a:gd name="connsiteX1" fmla="*/ 164308 w 164599"/>
                      <a:gd name="connsiteY1" fmla="*/ 59530 h 201611"/>
                      <a:gd name="connsiteX2" fmla="*/ 88109 w 164599"/>
                      <a:gd name="connsiteY2" fmla="*/ 201611 h 201611"/>
                      <a:gd name="connsiteX3" fmla="*/ 0 w 164599"/>
                      <a:gd name="connsiteY3" fmla="*/ 151605 h 201611"/>
                      <a:gd name="connsiteX4" fmla="*/ 54773 w 164599"/>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380"/>
                      <a:gd name="connsiteY0" fmla="*/ 0 h 201611"/>
                      <a:gd name="connsiteX1" fmla="*/ 180977 w 181380"/>
                      <a:gd name="connsiteY1" fmla="*/ 59530 h 201611"/>
                      <a:gd name="connsiteX2" fmla="*/ 104778 w 181380"/>
                      <a:gd name="connsiteY2" fmla="*/ 201611 h 201611"/>
                      <a:gd name="connsiteX3" fmla="*/ 0 w 181380"/>
                      <a:gd name="connsiteY3" fmla="*/ 151605 h 201611"/>
                      <a:gd name="connsiteX4" fmla="*/ 71442 w 181380"/>
                      <a:gd name="connsiteY4" fmla="*/ 0 h 201611"/>
                      <a:gd name="connsiteX0" fmla="*/ 71442 w 180977"/>
                      <a:gd name="connsiteY0" fmla="*/ 0 h 201611"/>
                      <a:gd name="connsiteX1" fmla="*/ 180977 w 180977"/>
                      <a:gd name="connsiteY1" fmla="*/ 59530 h 201611"/>
                      <a:gd name="connsiteX2" fmla="*/ 104778 w 180977"/>
                      <a:gd name="connsiteY2" fmla="*/ 201611 h 201611"/>
                      <a:gd name="connsiteX3" fmla="*/ 0 w 180977"/>
                      <a:gd name="connsiteY3" fmla="*/ 151605 h 201611"/>
                      <a:gd name="connsiteX4" fmla="*/ 71442 w 180977"/>
                      <a:gd name="connsiteY4" fmla="*/ 0 h 201611"/>
                      <a:gd name="connsiteX0" fmla="*/ 73823 w 180977"/>
                      <a:gd name="connsiteY0" fmla="*/ 0 h 199230"/>
                      <a:gd name="connsiteX1" fmla="*/ 180977 w 180977"/>
                      <a:gd name="connsiteY1" fmla="*/ 57149 h 199230"/>
                      <a:gd name="connsiteX2" fmla="*/ 104778 w 180977"/>
                      <a:gd name="connsiteY2" fmla="*/ 199230 h 199230"/>
                      <a:gd name="connsiteX3" fmla="*/ 0 w 180977"/>
                      <a:gd name="connsiteY3" fmla="*/ 149224 h 199230"/>
                      <a:gd name="connsiteX4" fmla="*/ 73823 w 180977"/>
                      <a:gd name="connsiteY4" fmla="*/ 0 h 199230"/>
                      <a:gd name="connsiteX0" fmla="*/ 73823 w 180977"/>
                      <a:gd name="connsiteY0" fmla="*/ 0 h 199230"/>
                      <a:gd name="connsiteX1" fmla="*/ 180977 w 180977"/>
                      <a:gd name="connsiteY1" fmla="*/ 57149 h 199230"/>
                      <a:gd name="connsiteX2" fmla="*/ 104778 w 180977"/>
                      <a:gd name="connsiteY2" fmla="*/ 199230 h 199230"/>
                      <a:gd name="connsiteX3" fmla="*/ 0 w 180977"/>
                      <a:gd name="connsiteY3" fmla="*/ 149224 h 199230"/>
                      <a:gd name="connsiteX4" fmla="*/ 73823 w 180977"/>
                      <a:gd name="connsiteY4" fmla="*/ 0 h 199230"/>
                      <a:gd name="connsiteX0" fmla="*/ 111923 w 180977"/>
                      <a:gd name="connsiteY0" fmla="*/ 0 h 180180"/>
                      <a:gd name="connsiteX1" fmla="*/ 180977 w 180977"/>
                      <a:gd name="connsiteY1" fmla="*/ 38099 h 180180"/>
                      <a:gd name="connsiteX2" fmla="*/ 104778 w 180977"/>
                      <a:gd name="connsiteY2" fmla="*/ 180180 h 180180"/>
                      <a:gd name="connsiteX3" fmla="*/ 0 w 180977"/>
                      <a:gd name="connsiteY3" fmla="*/ 130174 h 180180"/>
                      <a:gd name="connsiteX4" fmla="*/ 111923 w 180977"/>
                      <a:gd name="connsiteY4" fmla="*/ 0 h 180180"/>
                      <a:gd name="connsiteX0" fmla="*/ 111923 w 180977"/>
                      <a:gd name="connsiteY0" fmla="*/ 0 h 180180"/>
                      <a:gd name="connsiteX1" fmla="*/ 180977 w 180977"/>
                      <a:gd name="connsiteY1" fmla="*/ 38099 h 180180"/>
                      <a:gd name="connsiteX2" fmla="*/ 104778 w 180977"/>
                      <a:gd name="connsiteY2" fmla="*/ 180180 h 180180"/>
                      <a:gd name="connsiteX3" fmla="*/ 0 w 180977"/>
                      <a:gd name="connsiteY3" fmla="*/ 130174 h 180180"/>
                      <a:gd name="connsiteX4" fmla="*/ 111923 w 180977"/>
                      <a:gd name="connsiteY4" fmla="*/ 0 h 180180"/>
                      <a:gd name="connsiteX0" fmla="*/ 138117 w 180977"/>
                      <a:gd name="connsiteY0" fmla="*/ 0 h 165892"/>
                      <a:gd name="connsiteX1" fmla="*/ 180977 w 180977"/>
                      <a:gd name="connsiteY1" fmla="*/ 23811 h 165892"/>
                      <a:gd name="connsiteX2" fmla="*/ 104778 w 180977"/>
                      <a:gd name="connsiteY2" fmla="*/ 165892 h 165892"/>
                      <a:gd name="connsiteX3" fmla="*/ 0 w 180977"/>
                      <a:gd name="connsiteY3" fmla="*/ 115886 h 165892"/>
                      <a:gd name="connsiteX4" fmla="*/ 138117 w 180977"/>
                      <a:gd name="connsiteY4" fmla="*/ 0 h 165892"/>
                      <a:gd name="connsiteX0" fmla="*/ 78585 w 121445"/>
                      <a:gd name="connsiteY0" fmla="*/ 0 h 165892"/>
                      <a:gd name="connsiteX1" fmla="*/ 121445 w 121445"/>
                      <a:gd name="connsiteY1" fmla="*/ 23811 h 165892"/>
                      <a:gd name="connsiteX2" fmla="*/ 45246 w 121445"/>
                      <a:gd name="connsiteY2" fmla="*/ 165892 h 165892"/>
                      <a:gd name="connsiteX3" fmla="*/ 0 w 121445"/>
                      <a:gd name="connsiteY3" fmla="*/ 149224 h 165892"/>
                      <a:gd name="connsiteX4" fmla="*/ 78585 w 121445"/>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1763"/>
                      <a:gd name="connsiteY0" fmla="*/ 0 h 165892"/>
                      <a:gd name="connsiteX1" fmla="*/ 121763 w 121763"/>
                      <a:gd name="connsiteY1" fmla="*/ 23811 h 165892"/>
                      <a:gd name="connsiteX2" fmla="*/ 45564 w 121763"/>
                      <a:gd name="connsiteY2" fmla="*/ 165892 h 165892"/>
                      <a:gd name="connsiteX3" fmla="*/ 318 w 121763"/>
                      <a:gd name="connsiteY3" fmla="*/ 149224 h 165892"/>
                      <a:gd name="connsiteX4" fmla="*/ 78903 w 121763"/>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65892"/>
                      <a:gd name="connsiteX1" fmla="*/ 124145 w 124145"/>
                      <a:gd name="connsiteY1" fmla="*/ 21430 h 165892"/>
                      <a:gd name="connsiteX2" fmla="*/ 45564 w 124145"/>
                      <a:gd name="connsiteY2" fmla="*/ 165892 h 165892"/>
                      <a:gd name="connsiteX3" fmla="*/ 318 w 124145"/>
                      <a:gd name="connsiteY3" fmla="*/ 149224 h 165892"/>
                      <a:gd name="connsiteX4" fmla="*/ 78903 w 124145"/>
                      <a:gd name="connsiteY4" fmla="*/ 0 h 165892"/>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24145"/>
                      <a:gd name="connsiteY0" fmla="*/ 0 h 173036"/>
                      <a:gd name="connsiteX1" fmla="*/ 124145 w 124145"/>
                      <a:gd name="connsiteY1" fmla="*/ 21430 h 173036"/>
                      <a:gd name="connsiteX2" fmla="*/ 45564 w 124145"/>
                      <a:gd name="connsiteY2" fmla="*/ 173036 h 173036"/>
                      <a:gd name="connsiteX3" fmla="*/ 318 w 124145"/>
                      <a:gd name="connsiteY3" fmla="*/ 149224 h 173036"/>
                      <a:gd name="connsiteX4" fmla="*/ 78903 w 124145"/>
                      <a:gd name="connsiteY4" fmla="*/ 0 h 173036"/>
                      <a:gd name="connsiteX0" fmla="*/ 78903 w 132609"/>
                      <a:gd name="connsiteY0" fmla="*/ 0 h 173036"/>
                      <a:gd name="connsiteX1" fmla="*/ 132609 w 132609"/>
                      <a:gd name="connsiteY1" fmla="*/ 24092 h 173036"/>
                      <a:gd name="connsiteX2" fmla="*/ 45564 w 132609"/>
                      <a:gd name="connsiteY2" fmla="*/ 173036 h 173036"/>
                      <a:gd name="connsiteX3" fmla="*/ 318 w 132609"/>
                      <a:gd name="connsiteY3" fmla="*/ 149224 h 173036"/>
                      <a:gd name="connsiteX4" fmla="*/ 78903 w 132609"/>
                      <a:gd name="connsiteY4" fmla="*/ 0 h 173036"/>
                      <a:gd name="connsiteX0" fmla="*/ 78903 w 135431"/>
                      <a:gd name="connsiteY0" fmla="*/ 0 h 173036"/>
                      <a:gd name="connsiteX1" fmla="*/ 135431 w 135431"/>
                      <a:gd name="connsiteY1" fmla="*/ 24092 h 173036"/>
                      <a:gd name="connsiteX2" fmla="*/ 45564 w 135431"/>
                      <a:gd name="connsiteY2" fmla="*/ 173036 h 173036"/>
                      <a:gd name="connsiteX3" fmla="*/ 318 w 135431"/>
                      <a:gd name="connsiteY3" fmla="*/ 149224 h 173036"/>
                      <a:gd name="connsiteX4" fmla="*/ 78903 w 135431"/>
                      <a:gd name="connsiteY4" fmla="*/ 0 h 173036"/>
                      <a:gd name="connsiteX0" fmla="*/ 78903 w 129787"/>
                      <a:gd name="connsiteY0" fmla="*/ 0 h 173036"/>
                      <a:gd name="connsiteX1" fmla="*/ 129787 w 129787"/>
                      <a:gd name="connsiteY1" fmla="*/ 18768 h 173036"/>
                      <a:gd name="connsiteX2" fmla="*/ 45564 w 129787"/>
                      <a:gd name="connsiteY2" fmla="*/ 173036 h 173036"/>
                      <a:gd name="connsiteX3" fmla="*/ 318 w 129787"/>
                      <a:gd name="connsiteY3" fmla="*/ 149224 h 173036"/>
                      <a:gd name="connsiteX4" fmla="*/ 78903 w 129787"/>
                      <a:gd name="connsiteY4" fmla="*/ 0 h 173036"/>
                      <a:gd name="connsiteX0" fmla="*/ 78903 w 129787"/>
                      <a:gd name="connsiteY0" fmla="*/ 0 h 173036"/>
                      <a:gd name="connsiteX1" fmla="*/ 129787 w 129787"/>
                      <a:gd name="connsiteY1" fmla="*/ 18768 h 173036"/>
                      <a:gd name="connsiteX2" fmla="*/ 45564 w 129787"/>
                      <a:gd name="connsiteY2" fmla="*/ 173036 h 173036"/>
                      <a:gd name="connsiteX3" fmla="*/ 318 w 129787"/>
                      <a:gd name="connsiteY3" fmla="*/ 149224 h 173036"/>
                      <a:gd name="connsiteX4" fmla="*/ 78903 w 129787"/>
                      <a:gd name="connsiteY4" fmla="*/ 0 h 173036"/>
                      <a:gd name="connsiteX0" fmla="*/ 78903 w 132608"/>
                      <a:gd name="connsiteY0" fmla="*/ 0 h 173036"/>
                      <a:gd name="connsiteX1" fmla="*/ 132608 w 132608"/>
                      <a:gd name="connsiteY1" fmla="*/ 18768 h 173036"/>
                      <a:gd name="connsiteX2" fmla="*/ 45564 w 132608"/>
                      <a:gd name="connsiteY2" fmla="*/ 173036 h 173036"/>
                      <a:gd name="connsiteX3" fmla="*/ 318 w 132608"/>
                      <a:gd name="connsiteY3" fmla="*/ 149224 h 173036"/>
                      <a:gd name="connsiteX4" fmla="*/ 78903 w 132608"/>
                      <a:gd name="connsiteY4" fmla="*/ 0 h 173036"/>
                      <a:gd name="connsiteX0" fmla="*/ 78584 w 132289"/>
                      <a:gd name="connsiteY0" fmla="*/ 0 h 173036"/>
                      <a:gd name="connsiteX1" fmla="*/ 132289 w 132289"/>
                      <a:gd name="connsiteY1" fmla="*/ 18768 h 173036"/>
                      <a:gd name="connsiteX2" fmla="*/ 45245 w 132289"/>
                      <a:gd name="connsiteY2" fmla="*/ 173036 h 173036"/>
                      <a:gd name="connsiteX3" fmla="*/ -1 w 132289"/>
                      <a:gd name="connsiteY3" fmla="*/ 149224 h 173036"/>
                      <a:gd name="connsiteX4" fmla="*/ 78584 w 132289"/>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3036"/>
                      <a:gd name="connsiteX1" fmla="*/ 132290 w 132290"/>
                      <a:gd name="connsiteY1" fmla="*/ 18768 h 173036"/>
                      <a:gd name="connsiteX2" fmla="*/ 45246 w 132290"/>
                      <a:gd name="connsiteY2" fmla="*/ 173036 h 173036"/>
                      <a:gd name="connsiteX3" fmla="*/ 0 w 132290"/>
                      <a:gd name="connsiteY3" fmla="*/ 149224 h 173036"/>
                      <a:gd name="connsiteX4" fmla="*/ 78585 w 132290"/>
                      <a:gd name="connsiteY4" fmla="*/ 0 h 173036"/>
                      <a:gd name="connsiteX0" fmla="*/ 78585 w 132290"/>
                      <a:gd name="connsiteY0" fmla="*/ 0 h 175672"/>
                      <a:gd name="connsiteX1" fmla="*/ 132290 w 132290"/>
                      <a:gd name="connsiteY1" fmla="*/ 18768 h 175672"/>
                      <a:gd name="connsiteX2" fmla="*/ 50549 w 132290"/>
                      <a:gd name="connsiteY2" fmla="*/ 175672 h 175672"/>
                      <a:gd name="connsiteX3" fmla="*/ 0 w 132290"/>
                      <a:gd name="connsiteY3" fmla="*/ 149224 h 175672"/>
                      <a:gd name="connsiteX4" fmla="*/ 78585 w 132290"/>
                      <a:gd name="connsiteY4" fmla="*/ 0 h 175672"/>
                      <a:gd name="connsiteX0" fmla="*/ 78585 w 132290"/>
                      <a:gd name="connsiteY0" fmla="*/ 0 h 175672"/>
                      <a:gd name="connsiteX1" fmla="*/ 132290 w 132290"/>
                      <a:gd name="connsiteY1" fmla="*/ 18768 h 175672"/>
                      <a:gd name="connsiteX2" fmla="*/ 50549 w 132290"/>
                      <a:gd name="connsiteY2" fmla="*/ 175672 h 175672"/>
                      <a:gd name="connsiteX3" fmla="*/ 0 w 132290"/>
                      <a:gd name="connsiteY3" fmla="*/ 149224 h 175672"/>
                      <a:gd name="connsiteX4" fmla="*/ 78585 w 132290"/>
                      <a:gd name="connsiteY4" fmla="*/ 0 h 175672"/>
                      <a:gd name="connsiteX0" fmla="*/ 78585 w 132290"/>
                      <a:gd name="connsiteY0" fmla="*/ 0 h 175672"/>
                      <a:gd name="connsiteX1" fmla="*/ 132290 w 132290"/>
                      <a:gd name="connsiteY1" fmla="*/ 18768 h 175672"/>
                      <a:gd name="connsiteX2" fmla="*/ 47898 w 132290"/>
                      <a:gd name="connsiteY2" fmla="*/ 175672 h 175672"/>
                      <a:gd name="connsiteX3" fmla="*/ 0 w 132290"/>
                      <a:gd name="connsiteY3" fmla="*/ 149224 h 175672"/>
                      <a:gd name="connsiteX4" fmla="*/ 78585 w 132290"/>
                      <a:gd name="connsiteY4" fmla="*/ 0 h 175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90" h="175672">
                        <a:moveTo>
                          <a:pt x="78585" y="0"/>
                        </a:moveTo>
                        <a:cubicBezTo>
                          <a:pt x="103192" y="7939"/>
                          <a:pt x="108125" y="11393"/>
                          <a:pt x="132290" y="18768"/>
                        </a:cubicBezTo>
                        <a:cubicBezTo>
                          <a:pt x="129909" y="115340"/>
                          <a:pt x="90760" y="155300"/>
                          <a:pt x="47898" y="175672"/>
                        </a:cubicBezTo>
                        <a:cubicBezTo>
                          <a:pt x="27510" y="162209"/>
                          <a:pt x="27856" y="162178"/>
                          <a:pt x="0" y="149224"/>
                        </a:cubicBezTo>
                        <a:cubicBezTo>
                          <a:pt x="56717" y="116053"/>
                          <a:pt x="80436" y="78697"/>
                          <a:pt x="78585" y="0"/>
                        </a:cubicBezTo>
                        <a:close/>
                      </a:path>
                    </a:pathLst>
                  </a:custGeom>
                  <a:solidFill>
                    <a:srgbClr val="D85454"/>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47" name="Rectangle 17"/>
                  <p:cNvSpPr/>
                  <p:nvPr/>
                </p:nvSpPr>
                <p:spPr>
                  <a:xfrm rot="1545906" flipH="1">
                    <a:off x="5118366" y="3165232"/>
                    <a:ext cx="95914" cy="124993"/>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14363"/>
                      <a:gd name="connsiteY0" fmla="*/ 0 h 368300"/>
                      <a:gd name="connsiteX1" fmla="*/ 614363 w 614363"/>
                      <a:gd name="connsiteY1" fmla="*/ 254794 h 368300"/>
                      <a:gd name="connsiteX2" fmla="*/ 571500 w 614363"/>
                      <a:gd name="connsiteY2" fmla="*/ 368300 h 368300"/>
                      <a:gd name="connsiteX3" fmla="*/ 0 w 614363"/>
                      <a:gd name="connsiteY3" fmla="*/ 368300 h 368300"/>
                      <a:gd name="connsiteX4" fmla="*/ 0 w 614363"/>
                      <a:gd name="connsiteY4" fmla="*/ 0 h 368300"/>
                      <a:gd name="connsiteX0" fmla="*/ 0 w 614824"/>
                      <a:gd name="connsiteY0" fmla="*/ 0 h 368300"/>
                      <a:gd name="connsiteX1" fmla="*/ 614363 w 614824"/>
                      <a:gd name="connsiteY1" fmla="*/ 254794 h 368300"/>
                      <a:gd name="connsiteX2" fmla="*/ 571500 w 614824"/>
                      <a:gd name="connsiteY2" fmla="*/ 368300 h 368300"/>
                      <a:gd name="connsiteX3" fmla="*/ 0 w 614824"/>
                      <a:gd name="connsiteY3" fmla="*/ 368300 h 368300"/>
                      <a:gd name="connsiteX4" fmla="*/ 0 w 614824"/>
                      <a:gd name="connsiteY4" fmla="*/ 0 h 368300"/>
                      <a:gd name="connsiteX0" fmla="*/ 0 w 614892"/>
                      <a:gd name="connsiteY0" fmla="*/ 0 h 368300"/>
                      <a:gd name="connsiteX1" fmla="*/ 614363 w 614892"/>
                      <a:gd name="connsiteY1" fmla="*/ 254794 h 368300"/>
                      <a:gd name="connsiteX2" fmla="*/ 576263 w 614892"/>
                      <a:gd name="connsiteY2" fmla="*/ 358775 h 368300"/>
                      <a:gd name="connsiteX3" fmla="*/ 0 w 614892"/>
                      <a:gd name="connsiteY3" fmla="*/ 368300 h 368300"/>
                      <a:gd name="connsiteX4" fmla="*/ 0 w 614892"/>
                      <a:gd name="connsiteY4" fmla="*/ 0 h 368300"/>
                      <a:gd name="connsiteX0" fmla="*/ 0 w 615512"/>
                      <a:gd name="connsiteY0" fmla="*/ 0 h 368300"/>
                      <a:gd name="connsiteX1" fmla="*/ 614363 w 615512"/>
                      <a:gd name="connsiteY1" fmla="*/ 254794 h 368300"/>
                      <a:gd name="connsiteX2" fmla="*/ 576263 w 615512"/>
                      <a:gd name="connsiteY2" fmla="*/ 358775 h 368300"/>
                      <a:gd name="connsiteX3" fmla="*/ 0 w 615512"/>
                      <a:gd name="connsiteY3" fmla="*/ 368300 h 368300"/>
                      <a:gd name="connsiteX4" fmla="*/ 0 w 615512"/>
                      <a:gd name="connsiteY4" fmla="*/ 0 h 368300"/>
                      <a:gd name="connsiteX0" fmla="*/ 0 w 615512"/>
                      <a:gd name="connsiteY0" fmla="*/ 0 h 368300"/>
                      <a:gd name="connsiteX1" fmla="*/ 614363 w 615512"/>
                      <a:gd name="connsiteY1" fmla="*/ 254794 h 368300"/>
                      <a:gd name="connsiteX2" fmla="*/ 576263 w 615512"/>
                      <a:gd name="connsiteY2" fmla="*/ 358775 h 368300"/>
                      <a:gd name="connsiteX3" fmla="*/ 0 w 615512"/>
                      <a:gd name="connsiteY3" fmla="*/ 368300 h 368300"/>
                      <a:gd name="connsiteX4" fmla="*/ 0 w 615512"/>
                      <a:gd name="connsiteY4" fmla="*/ 0 h 368300"/>
                      <a:gd name="connsiteX0" fmla="*/ 0 w 615512"/>
                      <a:gd name="connsiteY0" fmla="*/ 0 h 358775"/>
                      <a:gd name="connsiteX1" fmla="*/ 614363 w 615512"/>
                      <a:gd name="connsiteY1" fmla="*/ 254794 h 358775"/>
                      <a:gd name="connsiteX2" fmla="*/ 576263 w 615512"/>
                      <a:gd name="connsiteY2" fmla="*/ 358775 h 358775"/>
                      <a:gd name="connsiteX3" fmla="*/ 500063 w 615512"/>
                      <a:gd name="connsiteY3" fmla="*/ 358775 h 358775"/>
                      <a:gd name="connsiteX4" fmla="*/ 0 w 615512"/>
                      <a:gd name="connsiteY4" fmla="*/ 0 h 358775"/>
                      <a:gd name="connsiteX0" fmla="*/ 80962 w 115449"/>
                      <a:gd name="connsiteY0" fmla="*/ 0 h 123032"/>
                      <a:gd name="connsiteX1" fmla="*/ 114300 w 115449"/>
                      <a:gd name="connsiteY1" fmla="*/ 19051 h 123032"/>
                      <a:gd name="connsiteX2" fmla="*/ 76200 w 115449"/>
                      <a:gd name="connsiteY2" fmla="*/ 123032 h 123032"/>
                      <a:gd name="connsiteX3" fmla="*/ 0 w 115449"/>
                      <a:gd name="connsiteY3" fmla="*/ 123032 h 123032"/>
                      <a:gd name="connsiteX4" fmla="*/ 80962 w 115449"/>
                      <a:gd name="connsiteY4" fmla="*/ 0 h 123032"/>
                      <a:gd name="connsiteX0" fmla="*/ 78581 w 115449"/>
                      <a:gd name="connsiteY0" fmla="*/ 0 h 120651"/>
                      <a:gd name="connsiteX1" fmla="*/ 114300 w 115449"/>
                      <a:gd name="connsiteY1" fmla="*/ 16670 h 120651"/>
                      <a:gd name="connsiteX2" fmla="*/ 76200 w 115449"/>
                      <a:gd name="connsiteY2" fmla="*/ 120651 h 120651"/>
                      <a:gd name="connsiteX3" fmla="*/ 0 w 115449"/>
                      <a:gd name="connsiteY3" fmla="*/ 120651 h 120651"/>
                      <a:gd name="connsiteX4" fmla="*/ 78581 w 115449"/>
                      <a:gd name="connsiteY4" fmla="*/ 0 h 120651"/>
                      <a:gd name="connsiteX0" fmla="*/ 76200 w 113068"/>
                      <a:gd name="connsiteY0" fmla="*/ 0 h 127795"/>
                      <a:gd name="connsiteX1" fmla="*/ 111919 w 113068"/>
                      <a:gd name="connsiteY1" fmla="*/ 16670 h 127795"/>
                      <a:gd name="connsiteX2" fmla="*/ 73819 w 113068"/>
                      <a:gd name="connsiteY2" fmla="*/ 120651 h 127795"/>
                      <a:gd name="connsiteX3" fmla="*/ 0 w 113068"/>
                      <a:gd name="connsiteY3" fmla="*/ 127795 h 127795"/>
                      <a:gd name="connsiteX4" fmla="*/ 76200 w 113068"/>
                      <a:gd name="connsiteY4" fmla="*/ 0 h 127795"/>
                      <a:gd name="connsiteX0" fmla="*/ 76200 w 113068"/>
                      <a:gd name="connsiteY0" fmla="*/ 0 h 132040"/>
                      <a:gd name="connsiteX1" fmla="*/ 111919 w 113068"/>
                      <a:gd name="connsiteY1" fmla="*/ 16670 h 132040"/>
                      <a:gd name="connsiteX2" fmla="*/ 73819 w 113068"/>
                      <a:gd name="connsiteY2" fmla="*/ 120651 h 132040"/>
                      <a:gd name="connsiteX3" fmla="*/ 0 w 113068"/>
                      <a:gd name="connsiteY3" fmla="*/ 127795 h 132040"/>
                      <a:gd name="connsiteX4" fmla="*/ 76200 w 113068"/>
                      <a:gd name="connsiteY4" fmla="*/ 0 h 132040"/>
                      <a:gd name="connsiteX0" fmla="*/ 76200 w 113068"/>
                      <a:gd name="connsiteY0" fmla="*/ 0 h 135236"/>
                      <a:gd name="connsiteX1" fmla="*/ 111919 w 113068"/>
                      <a:gd name="connsiteY1" fmla="*/ 16670 h 135236"/>
                      <a:gd name="connsiteX2" fmla="*/ 73819 w 113068"/>
                      <a:gd name="connsiteY2" fmla="*/ 120651 h 135236"/>
                      <a:gd name="connsiteX3" fmla="*/ 0 w 113068"/>
                      <a:gd name="connsiteY3" fmla="*/ 127795 h 135236"/>
                      <a:gd name="connsiteX4" fmla="*/ 76200 w 113068"/>
                      <a:gd name="connsiteY4" fmla="*/ 0 h 135236"/>
                      <a:gd name="connsiteX0" fmla="*/ 76200 w 113068"/>
                      <a:gd name="connsiteY0" fmla="*/ 0 h 135236"/>
                      <a:gd name="connsiteX1" fmla="*/ 111919 w 113068"/>
                      <a:gd name="connsiteY1" fmla="*/ 16670 h 135236"/>
                      <a:gd name="connsiteX2" fmla="*/ 73819 w 113068"/>
                      <a:gd name="connsiteY2" fmla="*/ 120651 h 135236"/>
                      <a:gd name="connsiteX3" fmla="*/ 0 w 113068"/>
                      <a:gd name="connsiteY3" fmla="*/ 127795 h 135236"/>
                      <a:gd name="connsiteX4" fmla="*/ 76200 w 113068"/>
                      <a:gd name="connsiteY4" fmla="*/ 0 h 135236"/>
                      <a:gd name="connsiteX0" fmla="*/ 76200 w 113068"/>
                      <a:gd name="connsiteY0" fmla="*/ 0 h 135236"/>
                      <a:gd name="connsiteX1" fmla="*/ 111919 w 113068"/>
                      <a:gd name="connsiteY1" fmla="*/ 16670 h 135236"/>
                      <a:gd name="connsiteX2" fmla="*/ 73819 w 113068"/>
                      <a:gd name="connsiteY2" fmla="*/ 120651 h 135236"/>
                      <a:gd name="connsiteX3" fmla="*/ 0 w 113068"/>
                      <a:gd name="connsiteY3" fmla="*/ 127795 h 135236"/>
                      <a:gd name="connsiteX4" fmla="*/ 76200 w 113068"/>
                      <a:gd name="connsiteY4" fmla="*/ 0 h 135236"/>
                      <a:gd name="connsiteX0" fmla="*/ 76200 w 113068"/>
                      <a:gd name="connsiteY0" fmla="*/ 0 h 135236"/>
                      <a:gd name="connsiteX1" fmla="*/ 111919 w 113068"/>
                      <a:gd name="connsiteY1" fmla="*/ 16670 h 135236"/>
                      <a:gd name="connsiteX2" fmla="*/ 73819 w 113068"/>
                      <a:gd name="connsiteY2" fmla="*/ 120651 h 135236"/>
                      <a:gd name="connsiteX3" fmla="*/ 0 w 113068"/>
                      <a:gd name="connsiteY3" fmla="*/ 127795 h 135236"/>
                      <a:gd name="connsiteX4" fmla="*/ 76200 w 113068"/>
                      <a:gd name="connsiteY4" fmla="*/ 0 h 135236"/>
                      <a:gd name="connsiteX0" fmla="*/ 76200 w 113068"/>
                      <a:gd name="connsiteY0" fmla="*/ 0 h 137617"/>
                      <a:gd name="connsiteX1" fmla="*/ 111919 w 113068"/>
                      <a:gd name="connsiteY1" fmla="*/ 19051 h 137617"/>
                      <a:gd name="connsiteX2" fmla="*/ 73819 w 113068"/>
                      <a:gd name="connsiteY2" fmla="*/ 123032 h 137617"/>
                      <a:gd name="connsiteX3" fmla="*/ 0 w 113068"/>
                      <a:gd name="connsiteY3" fmla="*/ 130176 h 137617"/>
                      <a:gd name="connsiteX4" fmla="*/ 76200 w 113068"/>
                      <a:gd name="connsiteY4" fmla="*/ 0 h 137617"/>
                      <a:gd name="connsiteX0" fmla="*/ 76200 w 113068"/>
                      <a:gd name="connsiteY0" fmla="*/ 0 h 137617"/>
                      <a:gd name="connsiteX1" fmla="*/ 111919 w 113068"/>
                      <a:gd name="connsiteY1" fmla="*/ 19051 h 137617"/>
                      <a:gd name="connsiteX2" fmla="*/ 73819 w 113068"/>
                      <a:gd name="connsiteY2" fmla="*/ 123032 h 137617"/>
                      <a:gd name="connsiteX3" fmla="*/ 0 w 113068"/>
                      <a:gd name="connsiteY3" fmla="*/ 130176 h 137617"/>
                      <a:gd name="connsiteX4" fmla="*/ 76200 w 113068"/>
                      <a:gd name="connsiteY4" fmla="*/ 0 h 137617"/>
                      <a:gd name="connsiteX0" fmla="*/ 76200 w 113068"/>
                      <a:gd name="connsiteY0" fmla="*/ 0 h 137617"/>
                      <a:gd name="connsiteX1" fmla="*/ 111919 w 113068"/>
                      <a:gd name="connsiteY1" fmla="*/ 19051 h 137617"/>
                      <a:gd name="connsiteX2" fmla="*/ 73819 w 113068"/>
                      <a:gd name="connsiteY2" fmla="*/ 123032 h 137617"/>
                      <a:gd name="connsiteX3" fmla="*/ 0 w 113068"/>
                      <a:gd name="connsiteY3" fmla="*/ 130176 h 137617"/>
                      <a:gd name="connsiteX4" fmla="*/ 76200 w 113068"/>
                      <a:gd name="connsiteY4" fmla="*/ 0 h 137617"/>
                      <a:gd name="connsiteX0" fmla="*/ 76200 w 113068"/>
                      <a:gd name="connsiteY0" fmla="*/ 0 h 137617"/>
                      <a:gd name="connsiteX1" fmla="*/ 111919 w 113068"/>
                      <a:gd name="connsiteY1" fmla="*/ 19051 h 137617"/>
                      <a:gd name="connsiteX2" fmla="*/ 73819 w 113068"/>
                      <a:gd name="connsiteY2" fmla="*/ 123032 h 137617"/>
                      <a:gd name="connsiteX3" fmla="*/ 0 w 113068"/>
                      <a:gd name="connsiteY3" fmla="*/ 130176 h 137617"/>
                      <a:gd name="connsiteX4" fmla="*/ 76200 w 113068"/>
                      <a:gd name="connsiteY4" fmla="*/ 0 h 137617"/>
                      <a:gd name="connsiteX0" fmla="*/ 76200 w 113068"/>
                      <a:gd name="connsiteY0" fmla="*/ 0 h 139998"/>
                      <a:gd name="connsiteX1" fmla="*/ 111919 w 113068"/>
                      <a:gd name="connsiteY1" fmla="*/ 21432 h 139998"/>
                      <a:gd name="connsiteX2" fmla="*/ 73819 w 113068"/>
                      <a:gd name="connsiteY2" fmla="*/ 125413 h 139998"/>
                      <a:gd name="connsiteX3" fmla="*/ 0 w 113068"/>
                      <a:gd name="connsiteY3" fmla="*/ 132557 h 139998"/>
                      <a:gd name="connsiteX4" fmla="*/ 76200 w 113068"/>
                      <a:gd name="connsiteY4" fmla="*/ 0 h 139998"/>
                      <a:gd name="connsiteX0" fmla="*/ 76200 w 113068"/>
                      <a:gd name="connsiteY0" fmla="*/ 0 h 139998"/>
                      <a:gd name="connsiteX1" fmla="*/ 111919 w 113068"/>
                      <a:gd name="connsiteY1" fmla="*/ 21432 h 139998"/>
                      <a:gd name="connsiteX2" fmla="*/ 73819 w 113068"/>
                      <a:gd name="connsiteY2" fmla="*/ 125413 h 139998"/>
                      <a:gd name="connsiteX3" fmla="*/ 0 w 113068"/>
                      <a:gd name="connsiteY3" fmla="*/ 132557 h 139998"/>
                      <a:gd name="connsiteX4" fmla="*/ 76200 w 113068"/>
                      <a:gd name="connsiteY4" fmla="*/ 0 h 139998"/>
                      <a:gd name="connsiteX0" fmla="*/ 76200 w 113912"/>
                      <a:gd name="connsiteY0" fmla="*/ 0 h 139998"/>
                      <a:gd name="connsiteX1" fmla="*/ 111919 w 113912"/>
                      <a:gd name="connsiteY1" fmla="*/ 21432 h 139998"/>
                      <a:gd name="connsiteX2" fmla="*/ 73819 w 113912"/>
                      <a:gd name="connsiteY2" fmla="*/ 125413 h 139998"/>
                      <a:gd name="connsiteX3" fmla="*/ 0 w 113912"/>
                      <a:gd name="connsiteY3" fmla="*/ 132557 h 139998"/>
                      <a:gd name="connsiteX4" fmla="*/ 76200 w 113912"/>
                      <a:gd name="connsiteY4" fmla="*/ 0 h 139998"/>
                      <a:gd name="connsiteX0" fmla="*/ 76200 w 113912"/>
                      <a:gd name="connsiteY0" fmla="*/ 0 h 139998"/>
                      <a:gd name="connsiteX1" fmla="*/ 111919 w 113912"/>
                      <a:gd name="connsiteY1" fmla="*/ 21432 h 139998"/>
                      <a:gd name="connsiteX2" fmla="*/ 73819 w 113912"/>
                      <a:gd name="connsiteY2" fmla="*/ 125413 h 139998"/>
                      <a:gd name="connsiteX3" fmla="*/ 0 w 113912"/>
                      <a:gd name="connsiteY3" fmla="*/ 132557 h 139998"/>
                      <a:gd name="connsiteX4" fmla="*/ 76200 w 113912"/>
                      <a:gd name="connsiteY4" fmla="*/ 0 h 139998"/>
                      <a:gd name="connsiteX0" fmla="*/ 76200 w 113912"/>
                      <a:gd name="connsiteY0" fmla="*/ 0 h 139998"/>
                      <a:gd name="connsiteX1" fmla="*/ 111919 w 113912"/>
                      <a:gd name="connsiteY1" fmla="*/ 21432 h 139998"/>
                      <a:gd name="connsiteX2" fmla="*/ 73819 w 113912"/>
                      <a:gd name="connsiteY2" fmla="*/ 125413 h 139998"/>
                      <a:gd name="connsiteX3" fmla="*/ 0 w 113912"/>
                      <a:gd name="connsiteY3" fmla="*/ 132557 h 139998"/>
                      <a:gd name="connsiteX4" fmla="*/ 76200 w 113912"/>
                      <a:gd name="connsiteY4" fmla="*/ 0 h 139998"/>
                      <a:gd name="connsiteX0" fmla="*/ 76200 w 113912"/>
                      <a:gd name="connsiteY0" fmla="*/ 0 h 139998"/>
                      <a:gd name="connsiteX1" fmla="*/ 111919 w 113912"/>
                      <a:gd name="connsiteY1" fmla="*/ 21432 h 139998"/>
                      <a:gd name="connsiteX2" fmla="*/ 73819 w 113912"/>
                      <a:gd name="connsiteY2" fmla="*/ 125413 h 139998"/>
                      <a:gd name="connsiteX3" fmla="*/ 0 w 113912"/>
                      <a:gd name="connsiteY3" fmla="*/ 132557 h 139998"/>
                      <a:gd name="connsiteX4" fmla="*/ 76200 w 113912"/>
                      <a:gd name="connsiteY4" fmla="*/ 0 h 139998"/>
                      <a:gd name="connsiteX0" fmla="*/ 76200 w 113912"/>
                      <a:gd name="connsiteY0" fmla="*/ 0 h 139998"/>
                      <a:gd name="connsiteX1" fmla="*/ 111919 w 113912"/>
                      <a:gd name="connsiteY1" fmla="*/ 21432 h 139998"/>
                      <a:gd name="connsiteX2" fmla="*/ 73819 w 113912"/>
                      <a:gd name="connsiteY2" fmla="*/ 125413 h 139998"/>
                      <a:gd name="connsiteX3" fmla="*/ 0 w 113912"/>
                      <a:gd name="connsiteY3" fmla="*/ 132557 h 139998"/>
                      <a:gd name="connsiteX4" fmla="*/ 76200 w 113912"/>
                      <a:gd name="connsiteY4" fmla="*/ 0 h 139998"/>
                      <a:gd name="connsiteX0" fmla="*/ 76200 w 113912"/>
                      <a:gd name="connsiteY0" fmla="*/ 0 h 139998"/>
                      <a:gd name="connsiteX1" fmla="*/ 111919 w 113912"/>
                      <a:gd name="connsiteY1" fmla="*/ 21432 h 139998"/>
                      <a:gd name="connsiteX2" fmla="*/ 73819 w 113912"/>
                      <a:gd name="connsiteY2" fmla="*/ 125413 h 139998"/>
                      <a:gd name="connsiteX3" fmla="*/ 0 w 113912"/>
                      <a:gd name="connsiteY3" fmla="*/ 132557 h 139998"/>
                      <a:gd name="connsiteX4" fmla="*/ 76200 w 113912"/>
                      <a:gd name="connsiteY4" fmla="*/ 0 h 139998"/>
                      <a:gd name="connsiteX0" fmla="*/ 76200 w 113949"/>
                      <a:gd name="connsiteY0" fmla="*/ 0 h 140582"/>
                      <a:gd name="connsiteX1" fmla="*/ 111919 w 113949"/>
                      <a:gd name="connsiteY1" fmla="*/ 21432 h 140582"/>
                      <a:gd name="connsiteX2" fmla="*/ 73819 w 113949"/>
                      <a:gd name="connsiteY2" fmla="*/ 125413 h 140582"/>
                      <a:gd name="connsiteX3" fmla="*/ 0 w 113949"/>
                      <a:gd name="connsiteY3" fmla="*/ 132557 h 140582"/>
                      <a:gd name="connsiteX4" fmla="*/ 76200 w 113949"/>
                      <a:gd name="connsiteY4" fmla="*/ 0 h 140582"/>
                      <a:gd name="connsiteX0" fmla="*/ 76200 w 113949"/>
                      <a:gd name="connsiteY0" fmla="*/ 0 h 141362"/>
                      <a:gd name="connsiteX1" fmla="*/ 111919 w 113949"/>
                      <a:gd name="connsiteY1" fmla="*/ 21432 h 141362"/>
                      <a:gd name="connsiteX2" fmla="*/ 73819 w 113949"/>
                      <a:gd name="connsiteY2" fmla="*/ 125413 h 141362"/>
                      <a:gd name="connsiteX3" fmla="*/ 0 w 113949"/>
                      <a:gd name="connsiteY3" fmla="*/ 132557 h 141362"/>
                      <a:gd name="connsiteX4" fmla="*/ 76200 w 113949"/>
                      <a:gd name="connsiteY4" fmla="*/ 0 h 141362"/>
                      <a:gd name="connsiteX0" fmla="*/ 76200 w 113949"/>
                      <a:gd name="connsiteY0" fmla="*/ 0 h 143745"/>
                      <a:gd name="connsiteX1" fmla="*/ 111919 w 113949"/>
                      <a:gd name="connsiteY1" fmla="*/ 21432 h 143745"/>
                      <a:gd name="connsiteX2" fmla="*/ 73819 w 113949"/>
                      <a:gd name="connsiteY2" fmla="*/ 125413 h 143745"/>
                      <a:gd name="connsiteX3" fmla="*/ 0 w 113949"/>
                      <a:gd name="connsiteY3" fmla="*/ 132557 h 143745"/>
                      <a:gd name="connsiteX4" fmla="*/ 76200 w 113949"/>
                      <a:gd name="connsiteY4" fmla="*/ 0 h 143745"/>
                      <a:gd name="connsiteX0" fmla="*/ 76200 w 112839"/>
                      <a:gd name="connsiteY0" fmla="*/ 0 h 153673"/>
                      <a:gd name="connsiteX1" fmla="*/ 111919 w 112839"/>
                      <a:gd name="connsiteY1" fmla="*/ 21432 h 153673"/>
                      <a:gd name="connsiteX2" fmla="*/ 49586 w 112839"/>
                      <a:gd name="connsiteY2" fmla="*/ 144053 h 153673"/>
                      <a:gd name="connsiteX3" fmla="*/ 0 w 112839"/>
                      <a:gd name="connsiteY3" fmla="*/ 132557 h 153673"/>
                      <a:gd name="connsiteX4" fmla="*/ 76200 w 112839"/>
                      <a:gd name="connsiteY4" fmla="*/ 0 h 153673"/>
                      <a:gd name="connsiteX0" fmla="*/ 76200 w 112839"/>
                      <a:gd name="connsiteY0" fmla="*/ 0 h 144842"/>
                      <a:gd name="connsiteX1" fmla="*/ 111919 w 112839"/>
                      <a:gd name="connsiteY1" fmla="*/ 21432 h 144842"/>
                      <a:gd name="connsiteX2" fmla="*/ 49586 w 112839"/>
                      <a:gd name="connsiteY2" fmla="*/ 144053 h 144842"/>
                      <a:gd name="connsiteX3" fmla="*/ 0 w 112839"/>
                      <a:gd name="connsiteY3" fmla="*/ 132557 h 144842"/>
                      <a:gd name="connsiteX4" fmla="*/ 76200 w 112839"/>
                      <a:gd name="connsiteY4" fmla="*/ 0 h 144842"/>
                      <a:gd name="connsiteX0" fmla="*/ 76200 w 112765"/>
                      <a:gd name="connsiteY0" fmla="*/ 0 h 149645"/>
                      <a:gd name="connsiteX1" fmla="*/ 111919 w 112765"/>
                      <a:gd name="connsiteY1" fmla="*/ 21432 h 149645"/>
                      <a:gd name="connsiteX2" fmla="*/ 45858 w 112765"/>
                      <a:gd name="connsiteY2" fmla="*/ 149645 h 149645"/>
                      <a:gd name="connsiteX3" fmla="*/ 0 w 112765"/>
                      <a:gd name="connsiteY3" fmla="*/ 132557 h 149645"/>
                      <a:gd name="connsiteX4" fmla="*/ 76200 w 112765"/>
                      <a:gd name="connsiteY4" fmla="*/ 0 h 149645"/>
                      <a:gd name="connsiteX0" fmla="*/ 76200 w 112765"/>
                      <a:gd name="connsiteY0" fmla="*/ 0 h 149645"/>
                      <a:gd name="connsiteX1" fmla="*/ 111919 w 112765"/>
                      <a:gd name="connsiteY1" fmla="*/ 21432 h 149645"/>
                      <a:gd name="connsiteX2" fmla="*/ 45858 w 112765"/>
                      <a:gd name="connsiteY2" fmla="*/ 149645 h 149645"/>
                      <a:gd name="connsiteX3" fmla="*/ 0 w 112765"/>
                      <a:gd name="connsiteY3" fmla="*/ 132557 h 149645"/>
                      <a:gd name="connsiteX4" fmla="*/ 76200 w 112765"/>
                      <a:gd name="connsiteY4" fmla="*/ 0 h 149645"/>
                      <a:gd name="connsiteX0" fmla="*/ 76200 w 112765"/>
                      <a:gd name="connsiteY0" fmla="*/ 0 h 149645"/>
                      <a:gd name="connsiteX1" fmla="*/ 111919 w 112765"/>
                      <a:gd name="connsiteY1" fmla="*/ 21432 h 149645"/>
                      <a:gd name="connsiteX2" fmla="*/ 45858 w 112765"/>
                      <a:gd name="connsiteY2" fmla="*/ 149645 h 149645"/>
                      <a:gd name="connsiteX3" fmla="*/ 0 w 112765"/>
                      <a:gd name="connsiteY3" fmla="*/ 132557 h 149645"/>
                      <a:gd name="connsiteX4" fmla="*/ 76200 w 112765"/>
                      <a:gd name="connsiteY4" fmla="*/ 0 h 149645"/>
                      <a:gd name="connsiteX0" fmla="*/ 76200 w 112765"/>
                      <a:gd name="connsiteY0" fmla="*/ 0 h 149645"/>
                      <a:gd name="connsiteX1" fmla="*/ 111919 w 112765"/>
                      <a:gd name="connsiteY1" fmla="*/ 21432 h 149645"/>
                      <a:gd name="connsiteX2" fmla="*/ 45858 w 112765"/>
                      <a:gd name="connsiteY2" fmla="*/ 149645 h 149645"/>
                      <a:gd name="connsiteX3" fmla="*/ 0 w 112765"/>
                      <a:gd name="connsiteY3" fmla="*/ 132557 h 149645"/>
                      <a:gd name="connsiteX4" fmla="*/ 76200 w 112765"/>
                      <a:gd name="connsiteY4" fmla="*/ 0 h 149645"/>
                      <a:gd name="connsiteX0" fmla="*/ 76200 w 112837"/>
                      <a:gd name="connsiteY0" fmla="*/ 0 h 149645"/>
                      <a:gd name="connsiteX1" fmla="*/ 111919 w 112837"/>
                      <a:gd name="connsiteY1" fmla="*/ 21432 h 149645"/>
                      <a:gd name="connsiteX2" fmla="*/ 45858 w 112837"/>
                      <a:gd name="connsiteY2" fmla="*/ 149645 h 149645"/>
                      <a:gd name="connsiteX3" fmla="*/ 0 w 112837"/>
                      <a:gd name="connsiteY3" fmla="*/ 132557 h 149645"/>
                      <a:gd name="connsiteX4" fmla="*/ 76200 w 112837"/>
                      <a:gd name="connsiteY4" fmla="*/ 0 h 149645"/>
                      <a:gd name="connsiteX0" fmla="*/ 76200 w 114829"/>
                      <a:gd name="connsiteY0" fmla="*/ 0 h 149645"/>
                      <a:gd name="connsiteX1" fmla="*/ 111919 w 114829"/>
                      <a:gd name="connsiteY1" fmla="*/ 21432 h 149645"/>
                      <a:gd name="connsiteX2" fmla="*/ 45858 w 114829"/>
                      <a:gd name="connsiteY2" fmla="*/ 149645 h 149645"/>
                      <a:gd name="connsiteX3" fmla="*/ 0 w 114829"/>
                      <a:gd name="connsiteY3" fmla="*/ 132557 h 149645"/>
                      <a:gd name="connsiteX4" fmla="*/ 76200 w 114829"/>
                      <a:gd name="connsiteY4" fmla="*/ 0 h 149645"/>
                      <a:gd name="connsiteX0" fmla="*/ 76200 w 114829"/>
                      <a:gd name="connsiteY0" fmla="*/ 0 h 149645"/>
                      <a:gd name="connsiteX1" fmla="*/ 111919 w 114829"/>
                      <a:gd name="connsiteY1" fmla="*/ 21432 h 149645"/>
                      <a:gd name="connsiteX2" fmla="*/ 45858 w 114829"/>
                      <a:gd name="connsiteY2" fmla="*/ 149645 h 149645"/>
                      <a:gd name="connsiteX3" fmla="*/ 0 w 114829"/>
                      <a:gd name="connsiteY3" fmla="*/ 132557 h 149645"/>
                      <a:gd name="connsiteX4" fmla="*/ 76200 w 114829"/>
                      <a:gd name="connsiteY4" fmla="*/ 0 h 149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829" h="149645">
                        <a:moveTo>
                          <a:pt x="76200" y="0"/>
                        </a:moveTo>
                        <a:cubicBezTo>
                          <a:pt x="92868" y="7144"/>
                          <a:pt x="97632" y="11907"/>
                          <a:pt x="111919" y="21432"/>
                        </a:cubicBezTo>
                        <a:cubicBezTo>
                          <a:pt x="126518" y="57403"/>
                          <a:pt x="83355" y="145360"/>
                          <a:pt x="45858" y="149645"/>
                        </a:cubicBezTo>
                        <a:cubicBezTo>
                          <a:pt x="22286" y="140217"/>
                          <a:pt x="28229" y="144464"/>
                          <a:pt x="0" y="132557"/>
                        </a:cubicBezTo>
                        <a:cubicBezTo>
                          <a:pt x="58737" y="99483"/>
                          <a:pt x="78545" y="55021"/>
                          <a:pt x="76200" y="0"/>
                        </a:cubicBezTo>
                        <a:close/>
                      </a:path>
                    </a:pathLst>
                  </a:custGeom>
                  <a:solidFill>
                    <a:srgbClr val="D85454"/>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48" name="Rectangle 16"/>
                  <p:cNvSpPr/>
                  <p:nvPr/>
                </p:nvSpPr>
                <p:spPr>
                  <a:xfrm rot="1545906" flipH="1">
                    <a:off x="5694877" y="3132649"/>
                    <a:ext cx="161013" cy="170622"/>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4368"/>
                      <a:gd name="connsiteY0" fmla="*/ 0 h 368300"/>
                      <a:gd name="connsiteX1" fmla="*/ 664368 w 664368"/>
                      <a:gd name="connsiteY1" fmla="*/ 235744 h 368300"/>
                      <a:gd name="connsiteX2" fmla="*/ 571500 w 664368"/>
                      <a:gd name="connsiteY2" fmla="*/ 368300 h 368300"/>
                      <a:gd name="connsiteX3" fmla="*/ 0 w 664368"/>
                      <a:gd name="connsiteY3" fmla="*/ 368300 h 368300"/>
                      <a:gd name="connsiteX4" fmla="*/ 0 w 664368"/>
                      <a:gd name="connsiteY4" fmla="*/ 0 h 368300"/>
                      <a:gd name="connsiteX0" fmla="*/ 0 w 671347"/>
                      <a:gd name="connsiteY0" fmla="*/ 0 h 368300"/>
                      <a:gd name="connsiteX1" fmla="*/ 664368 w 671347"/>
                      <a:gd name="connsiteY1" fmla="*/ 235744 h 368300"/>
                      <a:gd name="connsiteX2" fmla="*/ 571500 w 671347"/>
                      <a:gd name="connsiteY2" fmla="*/ 368300 h 368300"/>
                      <a:gd name="connsiteX3" fmla="*/ 0 w 671347"/>
                      <a:gd name="connsiteY3" fmla="*/ 368300 h 368300"/>
                      <a:gd name="connsiteX4" fmla="*/ 0 w 671347"/>
                      <a:gd name="connsiteY4" fmla="*/ 0 h 368300"/>
                      <a:gd name="connsiteX0" fmla="*/ 0 w 664610"/>
                      <a:gd name="connsiteY0" fmla="*/ 0 h 368300"/>
                      <a:gd name="connsiteX1" fmla="*/ 664368 w 664610"/>
                      <a:gd name="connsiteY1" fmla="*/ 235744 h 368300"/>
                      <a:gd name="connsiteX2" fmla="*/ 571500 w 664610"/>
                      <a:gd name="connsiteY2" fmla="*/ 368300 h 368300"/>
                      <a:gd name="connsiteX3" fmla="*/ 0 w 664610"/>
                      <a:gd name="connsiteY3" fmla="*/ 368300 h 368300"/>
                      <a:gd name="connsiteX4" fmla="*/ 0 w 664610"/>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490538 w 664748"/>
                      <a:gd name="connsiteY0" fmla="*/ 0 h 215900"/>
                      <a:gd name="connsiteX1" fmla="*/ 664368 w 664748"/>
                      <a:gd name="connsiteY1" fmla="*/ 83344 h 215900"/>
                      <a:gd name="connsiteX2" fmla="*/ 571500 w 664748"/>
                      <a:gd name="connsiteY2" fmla="*/ 215900 h 215900"/>
                      <a:gd name="connsiteX3" fmla="*/ 0 w 664748"/>
                      <a:gd name="connsiteY3" fmla="*/ 215900 h 215900"/>
                      <a:gd name="connsiteX4" fmla="*/ 490538 w 664748"/>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5251 w 271842"/>
                      <a:gd name="connsiteY0" fmla="*/ 0 h 225425"/>
                      <a:gd name="connsiteX1" fmla="*/ 271462 w 271842"/>
                      <a:gd name="connsiteY1" fmla="*/ 92869 h 225425"/>
                      <a:gd name="connsiteX2" fmla="*/ 178594 w 271842"/>
                      <a:gd name="connsiteY2" fmla="*/ 225425 h 225425"/>
                      <a:gd name="connsiteX3" fmla="*/ 0 w 271842"/>
                      <a:gd name="connsiteY3" fmla="*/ 139700 h 225425"/>
                      <a:gd name="connsiteX4" fmla="*/ 95251 w 271842"/>
                      <a:gd name="connsiteY4" fmla="*/ 0 h 225425"/>
                      <a:gd name="connsiteX0" fmla="*/ 92870 w 271842"/>
                      <a:gd name="connsiteY0" fmla="*/ 0 h 220662"/>
                      <a:gd name="connsiteX1" fmla="*/ 271462 w 271842"/>
                      <a:gd name="connsiteY1" fmla="*/ 88106 h 220662"/>
                      <a:gd name="connsiteX2" fmla="*/ 178594 w 271842"/>
                      <a:gd name="connsiteY2" fmla="*/ 220662 h 220662"/>
                      <a:gd name="connsiteX3" fmla="*/ 0 w 271842"/>
                      <a:gd name="connsiteY3" fmla="*/ 134937 h 220662"/>
                      <a:gd name="connsiteX4" fmla="*/ 92870 w 271842"/>
                      <a:gd name="connsiteY4" fmla="*/ 0 h 220662"/>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85726 w 271842"/>
                      <a:gd name="connsiteY0" fmla="*/ 0 h 230186"/>
                      <a:gd name="connsiteX1" fmla="*/ 271462 w 271842"/>
                      <a:gd name="connsiteY1" fmla="*/ 97630 h 230186"/>
                      <a:gd name="connsiteX2" fmla="*/ 178594 w 271842"/>
                      <a:gd name="connsiteY2" fmla="*/ 230186 h 230186"/>
                      <a:gd name="connsiteX3" fmla="*/ 0 w 271842"/>
                      <a:gd name="connsiteY3" fmla="*/ 144461 h 230186"/>
                      <a:gd name="connsiteX4" fmla="*/ 85726 w 271842"/>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2567"/>
                      <a:gd name="connsiteX1" fmla="*/ 285750 w 286111"/>
                      <a:gd name="connsiteY1" fmla="*/ 97630 h 232567"/>
                      <a:gd name="connsiteX2" fmla="*/ 190501 w 286111"/>
                      <a:gd name="connsiteY2" fmla="*/ 232567 h 232567"/>
                      <a:gd name="connsiteX3" fmla="*/ 0 w 286111"/>
                      <a:gd name="connsiteY3" fmla="*/ 153986 h 232567"/>
                      <a:gd name="connsiteX4" fmla="*/ 97633 w 286111"/>
                      <a:gd name="connsiteY4" fmla="*/ 0 h 232567"/>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200027 w 286111"/>
                      <a:gd name="connsiteY0" fmla="*/ 0 h 182561"/>
                      <a:gd name="connsiteX1" fmla="*/ 285750 w 286111"/>
                      <a:gd name="connsiteY1" fmla="*/ 47624 h 182561"/>
                      <a:gd name="connsiteX2" fmla="*/ 190501 w 286111"/>
                      <a:gd name="connsiteY2" fmla="*/ 182561 h 182561"/>
                      <a:gd name="connsiteX3" fmla="*/ 0 w 286111"/>
                      <a:gd name="connsiteY3" fmla="*/ 103980 h 182561"/>
                      <a:gd name="connsiteX4" fmla="*/ 200027 w 286111"/>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2080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66678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66678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6204 w 167050"/>
                      <a:gd name="connsiteY0" fmla="*/ 0 h 182561"/>
                      <a:gd name="connsiteX1" fmla="*/ 166689 w 167050"/>
                      <a:gd name="connsiteY1" fmla="*/ 47624 h 182561"/>
                      <a:gd name="connsiteX2" fmla="*/ 71440 w 167050"/>
                      <a:gd name="connsiteY2" fmla="*/ 182561 h 182561"/>
                      <a:gd name="connsiteX3" fmla="*/ 0 w 167050"/>
                      <a:gd name="connsiteY3" fmla="*/ 144462 h 182561"/>
                      <a:gd name="connsiteX4" fmla="*/ 76204 w 167050"/>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900"/>
                      <a:gd name="connsiteY0" fmla="*/ 0 h 189705"/>
                      <a:gd name="connsiteX1" fmla="*/ 164308 w 164900"/>
                      <a:gd name="connsiteY1" fmla="*/ 47624 h 189705"/>
                      <a:gd name="connsiteX2" fmla="*/ 88109 w 164900"/>
                      <a:gd name="connsiteY2" fmla="*/ 189705 h 189705"/>
                      <a:gd name="connsiteX3" fmla="*/ 0 w 164900"/>
                      <a:gd name="connsiteY3" fmla="*/ 139699 h 189705"/>
                      <a:gd name="connsiteX4" fmla="*/ 73823 w 164900"/>
                      <a:gd name="connsiteY4" fmla="*/ 0 h 189705"/>
                      <a:gd name="connsiteX0" fmla="*/ 73823 w 164711"/>
                      <a:gd name="connsiteY0" fmla="*/ 0 h 189705"/>
                      <a:gd name="connsiteX1" fmla="*/ 164308 w 164711"/>
                      <a:gd name="connsiteY1" fmla="*/ 47624 h 189705"/>
                      <a:gd name="connsiteX2" fmla="*/ 88109 w 164711"/>
                      <a:gd name="connsiteY2" fmla="*/ 189705 h 189705"/>
                      <a:gd name="connsiteX3" fmla="*/ 0 w 164711"/>
                      <a:gd name="connsiteY3" fmla="*/ 139699 h 189705"/>
                      <a:gd name="connsiteX4" fmla="*/ 73823 w 164711"/>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54773 w 164599"/>
                      <a:gd name="connsiteY0" fmla="*/ 0 h 201611"/>
                      <a:gd name="connsiteX1" fmla="*/ 164308 w 164599"/>
                      <a:gd name="connsiteY1" fmla="*/ 59530 h 201611"/>
                      <a:gd name="connsiteX2" fmla="*/ 88109 w 164599"/>
                      <a:gd name="connsiteY2" fmla="*/ 201611 h 201611"/>
                      <a:gd name="connsiteX3" fmla="*/ 0 w 164599"/>
                      <a:gd name="connsiteY3" fmla="*/ 151605 h 201611"/>
                      <a:gd name="connsiteX4" fmla="*/ 54773 w 164599"/>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8586 w 181268"/>
                      <a:gd name="connsiteY0" fmla="*/ 0 h 196848"/>
                      <a:gd name="connsiteX1" fmla="*/ 180977 w 181268"/>
                      <a:gd name="connsiteY1" fmla="*/ 54767 h 196848"/>
                      <a:gd name="connsiteX2" fmla="*/ 104778 w 181268"/>
                      <a:gd name="connsiteY2" fmla="*/ 196848 h 196848"/>
                      <a:gd name="connsiteX3" fmla="*/ 0 w 181268"/>
                      <a:gd name="connsiteY3" fmla="*/ 146842 h 196848"/>
                      <a:gd name="connsiteX4" fmla="*/ 78586 w 181268"/>
                      <a:gd name="connsiteY4" fmla="*/ 0 h 196848"/>
                      <a:gd name="connsiteX0" fmla="*/ 78586 w 181268"/>
                      <a:gd name="connsiteY0" fmla="*/ 0 h 196848"/>
                      <a:gd name="connsiteX1" fmla="*/ 180977 w 181268"/>
                      <a:gd name="connsiteY1" fmla="*/ 54767 h 196848"/>
                      <a:gd name="connsiteX2" fmla="*/ 104778 w 181268"/>
                      <a:gd name="connsiteY2" fmla="*/ 196848 h 196848"/>
                      <a:gd name="connsiteX3" fmla="*/ 0 w 181268"/>
                      <a:gd name="connsiteY3" fmla="*/ 146842 h 196848"/>
                      <a:gd name="connsiteX4" fmla="*/ 78586 w 181268"/>
                      <a:gd name="connsiteY4" fmla="*/ 0 h 196848"/>
                      <a:gd name="connsiteX0" fmla="*/ 78586 w 181268"/>
                      <a:gd name="connsiteY0" fmla="*/ 0 h 196848"/>
                      <a:gd name="connsiteX1" fmla="*/ 180977 w 181268"/>
                      <a:gd name="connsiteY1" fmla="*/ 54767 h 196848"/>
                      <a:gd name="connsiteX2" fmla="*/ 104778 w 181268"/>
                      <a:gd name="connsiteY2" fmla="*/ 196848 h 196848"/>
                      <a:gd name="connsiteX3" fmla="*/ 0 w 181268"/>
                      <a:gd name="connsiteY3" fmla="*/ 146842 h 196848"/>
                      <a:gd name="connsiteX4" fmla="*/ 78586 w 181268"/>
                      <a:gd name="connsiteY4" fmla="*/ 0 h 196848"/>
                      <a:gd name="connsiteX0" fmla="*/ 76205 w 178887"/>
                      <a:gd name="connsiteY0" fmla="*/ 0 h 196848"/>
                      <a:gd name="connsiteX1" fmla="*/ 178596 w 178887"/>
                      <a:gd name="connsiteY1" fmla="*/ 54767 h 196848"/>
                      <a:gd name="connsiteX2" fmla="*/ 102397 w 178887"/>
                      <a:gd name="connsiteY2" fmla="*/ 196848 h 196848"/>
                      <a:gd name="connsiteX3" fmla="*/ 0 w 178887"/>
                      <a:gd name="connsiteY3" fmla="*/ 149223 h 196848"/>
                      <a:gd name="connsiteX4" fmla="*/ 76205 w 178887"/>
                      <a:gd name="connsiteY4" fmla="*/ 0 h 196848"/>
                      <a:gd name="connsiteX0" fmla="*/ 76205 w 178887"/>
                      <a:gd name="connsiteY0" fmla="*/ 0 h 196848"/>
                      <a:gd name="connsiteX1" fmla="*/ 178596 w 178887"/>
                      <a:gd name="connsiteY1" fmla="*/ 54767 h 196848"/>
                      <a:gd name="connsiteX2" fmla="*/ 102397 w 178887"/>
                      <a:gd name="connsiteY2" fmla="*/ 196848 h 196848"/>
                      <a:gd name="connsiteX3" fmla="*/ 0 w 178887"/>
                      <a:gd name="connsiteY3" fmla="*/ 149223 h 196848"/>
                      <a:gd name="connsiteX4" fmla="*/ 76205 w 178887"/>
                      <a:gd name="connsiteY4" fmla="*/ 0 h 196848"/>
                      <a:gd name="connsiteX0" fmla="*/ 76205 w 178887"/>
                      <a:gd name="connsiteY0" fmla="*/ 0 h 196848"/>
                      <a:gd name="connsiteX1" fmla="*/ 178596 w 178887"/>
                      <a:gd name="connsiteY1" fmla="*/ 54767 h 196848"/>
                      <a:gd name="connsiteX2" fmla="*/ 102397 w 178887"/>
                      <a:gd name="connsiteY2" fmla="*/ 196848 h 196848"/>
                      <a:gd name="connsiteX3" fmla="*/ 0 w 178887"/>
                      <a:gd name="connsiteY3" fmla="*/ 149223 h 196848"/>
                      <a:gd name="connsiteX4" fmla="*/ 76205 w 178887"/>
                      <a:gd name="connsiteY4" fmla="*/ 0 h 196848"/>
                      <a:gd name="connsiteX0" fmla="*/ 76205 w 178887"/>
                      <a:gd name="connsiteY0" fmla="*/ 0 h 196848"/>
                      <a:gd name="connsiteX1" fmla="*/ 178596 w 178887"/>
                      <a:gd name="connsiteY1" fmla="*/ 54767 h 196848"/>
                      <a:gd name="connsiteX2" fmla="*/ 102397 w 178887"/>
                      <a:gd name="connsiteY2" fmla="*/ 196848 h 196848"/>
                      <a:gd name="connsiteX3" fmla="*/ 0 w 178887"/>
                      <a:gd name="connsiteY3" fmla="*/ 149223 h 196848"/>
                      <a:gd name="connsiteX4" fmla="*/ 76205 w 178887"/>
                      <a:gd name="connsiteY4" fmla="*/ 0 h 196848"/>
                      <a:gd name="connsiteX0" fmla="*/ 76205 w 178913"/>
                      <a:gd name="connsiteY0" fmla="*/ 0 h 196848"/>
                      <a:gd name="connsiteX1" fmla="*/ 178596 w 178913"/>
                      <a:gd name="connsiteY1" fmla="*/ 54767 h 196848"/>
                      <a:gd name="connsiteX2" fmla="*/ 102397 w 178913"/>
                      <a:gd name="connsiteY2" fmla="*/ 196848 h 196848"/>
                      <a:gd name="connsiteX3" fmla="*/ 0 w 178913"/>
                      <a:gd name="connsiteY3" fmla="*/ 149223 h 196848"/>
                      <a:gd name="connsiteX4" fmla="*/ 76205 w 178913"/>
                      <a:gd name="connsiteY4" fmla="*/ 0 h 196848"/>
                      <a:gd name="connsiteX0" fmla="*/ 76205 w 178887"/>
                      <a:gd name="connsiteY0" fmla="*/ 0 h 196848"/>
                      <a:gd name="connsiteX1" fmla="*/ 178596 w 178887"/>
                      <a:gd name="connsiteY1" fmla="*/ 54767 h 196848"/>
                      <a:gd name="connsiteX2" fmla="*/ 102397 w 178887"/>
                      <a:gd name="connsiteY2" fmla="*/ 196848 h 196848"/>
                      <a:gd name="connsiteX3" fmla="*/ 0 w 178887"/>
                      <a:gd name="connsiteY3" fmla="*/ 149223 h 196848"/>
                      <a:gd name="connsiteX4" fmla="*/ 76205 w 178887"/>
                      <a:gd name="connsiteY4" fmla="*/ 0 h 196848"/>
                      <a:gd name="connsiteX0" fmla="*/ 76205 w 178913"/>
                      <a:gd name="connsiteY0" fmla="*/ 0 h 196848"/>
                      <a:gd name="connsiteX1" fmla="*/ 178596 w 178913"/>
                      <a:gd name="connsiteY1" fmla="*/ 54767 h 196848"/>
                      <a:gd name="connsiteX2" fmla="*/ 102397 w 178913"/>
                      <a:gd name="connsiteY2" fmla="*/ 196848 h 196848"/>
                      <a:gd name="connsiteX3" fmla="*/ 0 w 178913"/>
                      <a:gd name="connsiteY3" fmla="*/ 149223 h 196848"/>
                      <a:gd name="connsiteX4" fmla="*/ 76205 w 178913"/>
                      <a:gd name="connsiteY4" fmla="*/ 0 h 196848"/>
                      <a:gd name="connsiteX0" fmla="*/ 76205 w 178913"/>
                      <a:gd name="connsiteY0" fmla="*/ 0 h 199230"/>
                      <a:gd name="connsiteX1" fmla="*/ 178596 w 178913"/>
                      <a:gd name="connsiteY1" fmla="*/ 54767 h 199230"/>
                      <a:gd name="connsiteX2" fmla="*/ 102397 w 178913"/>
                      <a:gd name="connsiteY2" fmla="*/ 199230 h 199230"/>
                      <a:gd name="connsiteX3" fmla="*/ 0 w 178913"/>
                      <a:gd name="connsiteY3" fmla="*/ 149223 h 199230"/>
                      <a:gd name="connsiteX4" fmla="*/ 76205 w 178913"/>
                      <a:gd name="connsiteY4" fmla="*/ 0 h 199230"/>
                      <a:gd name="connsiteX0" fmla="*/ 78587 w 181295"/>
                      <a:gd name="connsiteY0" fmla="*/ 0 h 199230"/>
                      <a:gd name="connsiteX1" fmla="*/ 180978 w 181295"/>
                      <a:gd name="connsiteY1" fmla="*/ 54767 h 199230"/>
                      <a:gd name="connsiteX2" fmla="*/ 104779 w 181295"/>
                      <a:gd name="connsiteY2" fmla="*/ 199230 h 199230"/>
                      <a:gd name="connsiteX3" fmla="*/ 0 w 181295"/>
                      <a:gd name="connsiteY3" fmla="*/ 151605 h 199230"/>
                      <a:gd name="connsiteX4" fmla="*/ 78587 w 181295"/>
                      <a:gd name="connsiteY4" fmla="*/ 0 h 199230"/>
                      <a:gd name="connsiteX0" fmla="*/ 78587 w 181309"/>
                      <a:gd name="connsiteY0" fmla="*/ 0 h 203993"/>
                      <a:gd name="connsiteX1" fmla="*/ 180978 w 181309"/>
                      <a:gd name="connsiteY1" fmla="*/ 54767 h 203993"/>
                      <a:gd name="connsiteX2" fmla="*/ 107160 w 181309"/>
                      <a:gd name="connsiteY2" fmla="*/ 203993 h 203993"/>
                      <a:gd name="connsiteX3" fmla="*/ 0 w 181309"/>
                      <a:gd name="connsiteY3" fmla="*/ 151605 h 203993"/>
                      <a:gd name="connsiteX4" fmla="*/ 78587 w 181309"/>
                      <a:gd name="connsiteY4" fmla="*/ 0 h 203993"/>
                      <a:gd name="connsiteX0" fmla="*/ 78587 w 181309"/>
                      <a:gd name="connsiteY0" fmla="*/ 0 h 203993"/>
                      <a:gd name="connsiteX1" fmla="*/ 180978 w 181309"/>
                      <a:gd name="connsiteY1" fmla="*/ 54767 h 203993"/>
                      <a:gd name="connsiteX2" fmla="*/ 107160 w 181309"/>
                      <a:gd name="connsiteY2" fmla="*/ 203993 h 203993"/>
                      <a:gd name="connsiteX3" fmla="*/ 0 w 181309"/>
                      <a:gd name="connsiteY3" fmla="*/ 151605 h 203993"/>
                      <a:gd name="connsiteX4" fmla="*/ 78587 w 181309"/>
                      <a:gd name="connsiteY4" fmla="*/ 0 h 203993"/>
                      <a:gd name="connsiteX0" fmla="*/ 78587 w 183676"/>
                      <a:gd name="connsiteY0" fmla="*/ 0 h 203993"/>
                      <a:gd name="connsiteX1" fmla="*/ 183359 w 183676"/>
                      <a:gd name="connsiteY1" fmla="*/ 54767 h 203993"/>
                      <a:gd name="connsiteX2" fmla="*/ 107160 w 183676"/>
                      <a:gd name="connsiteY2" fmla="*/ 203993 h 203993"/>
                      <a:gd name="connsiteX3" fmla="*/ 0 w 183676"/>
                      <a:gd name="connsiteY3" fmla="*/ 151605 h 203993"/>
                      <a:gd name="connsiteX4" fmla="*/ 78587 w 183676"/>
                      <a:gd name="connsiteY4" fmla="*/ 0 h 203993"/>
                      <a:gd name="connsiteX0" fmla="*/ 78587 w 183676"/>
                      <a:gd name="connsiteY0" fmla="*/ 0 h 203993"/>
                      <a:gd name="connsiteX1" fmla="*/ 183359 w 183676"/>
                      <a:gd name="connsiteY1" fmla="*/ 54767 h 203993"/>
                      <a:gd name="connsiteX2" fmla="*/ 107160 w 183676"/>
                      <a:gd name="connsiteY2" fmla="*/ 203993 h 203993"/>
                      <a:gd name="connsiteX3" fmla="*/ 0 w 183676"/>
                      <a:gd name="connsiteY3" fmla="*/ 151605 h 203993"/>
                      <a:gd name="connsiteX4" fmla="*/ 78587 w 183676"/>
                      <a:gd name="connsiteY4" fmla="*/ 0 h 203993"/>
                      <a:gd name="connsiteX0" fmla="*/ 78587 w 183676"/>
                      <a:gd name="connsiteY0" fmla="*/ 0 h 203993"/>
                      <a:gd name="connsiteX1" fmla="*/ 183359 w 183676"/>
                      <a:gd name="connsiteY1" fmla="*/ 54767 h 203993"/>
                      <a:gd name="connsiteX2" fmla="*/ 107160 w 183676"/>
                      <a:gd name="connsiteY2" fmla="*/ 203993 h 203993"/>
                      <a:gd name="connsiteX3" fmla="*/ 0 w 183676"/>
                      <a:gd name="connsiteY3" fmla="*/ 151605 h 203993"/>
                      <a:gd name="connsiteX4" fmla="*/ 78587 w 183676"/>
                      <a:gd name="connsiteY4" fmla="*/ 0 h 203993"/>
                      <a:gd name="connsiteX0" fmla="*/ 78587 w 184965"/>
                      <a:gd name="connsiteY0" fmla="*/ 0 h 203993"/>
                      <a:gd name="connsiteX1" fmla="*/ 183359 w 184965"/>
                      <a:gd name="connsiteY1" fmla="*/ 54767 h 203993"/>
                      <a:gd name="connsiteX2" fmla="*/ 107160 w 184965"/>
                      <a:gd name="connsiteY2" fmla="*/ 203993 h 203993"/>
                      <a:gd name="connsiteX3" fmla="*/ 0 w 184965"/>
                      <a:gd name="connsiteY3" fmla="*/ 151605 h 203993"/>
                      <a:gd name="connsiteX4" fmla="*/ 78587 w 184965"/>
                      <a:gd name="connsiteY4" fmla="*/ 0 h 203993"/>
                      <a:gd name="connsiteX0" fmla="*/ 78587 w 185083"/>
                      <a:gd name="connsiteY0" fmla="*/ 0 h 203993"/>
                      <a:gd name="connsiteX1" fmla="*/ 183359 w 185083"/>
                      <a:gd name="connsiteY1" fmla="*/ 54767 h 203993"/>
                      <a:gd name="connsiteX2" fmla="*/ 107160 w 185083"/>
                      <a:gd name="connsiteY2" fmla="*/ 203993 h 203993"/>
                      <a:gd name="connsiteX3" fmla="*/ 0 w 185083"/>
                      <a:gd name="connsiteY3" fmla="*/ 151605 h 203993"/>
                      <a:gd name="connsiteX4" fmla="*/ 78587 w 185083"/>
                      <a:gd name="connsiteY4" fmla="*/ 0 h 203993"/>
                      <a:gd name="connsiteX0" fmla="*/ 78587 w 185083"/>
                      <a:gd name="connsiteY0" fmla="*/ 0 h 204007"/>
                      <a:gd name="connsiteX1" fmla="*/ 183359 w 185083"/>
                      <a:gd name="connsiteY1" fmla="*/ 54767 h 204007"/>
                      <a:gd name="connsiteX2" fmla="*/ 107160 w 185083"/>
                      <a:gd name="connsiteY2" fmla="*/ 203993 h 204007"/>
                      <a:gd name="connsiteX3" fmla="*/ 0 w 185083"/>
                      <a:gd name="connsiteY3" fmla="*/ 151605 h 204007"/>
                      <a:gd name="connsiteX4" fmla="*/ 78587 w 185083"/>
                      <a:gd name="connsiteY4" fmla="*/ 0 h 204007"/>
                      <a:gd name="connsiteX0" fmla="*/ 78587 w 185373"/>
                      <a:gd name="connsiteY0" fmla="*/ 0 h 204364"/>
                      <a:gd name="connsiteX1" fmla="*/ 183359 w 185373"/>
                      <a:gd name="connsiteY1" fmla="*/ 54767 h 204364"/>
                      <a:gd name="connsiteX2" fmla="*/ 107160 w 185373"/>
                      <a:gd name="connsiteY2" fmla="*/ 203993 h 204364"/>
                      <a:gd name="connsiteX3" fmla="*/ 0 w 185373"/>
                      <a:gd name="connsiteY3" fmla="*/ 151605 h 204364"/>
                      <a:gd name="connsiteX4" fmla="*/ 78587 w 185373"/>
                      <a:gd name="connsiteY4" fmla="*/ 0 h 204364"/>
                      <a:gd name="connsiteX0" fmla="*/ 78587 w 188308"/>
                      <a:gd name="connsiteY0" fmla="*/ 0 h 204263"/>
                      <a:gd name="connsiteX1" fmla="*/ 183359 w 188308"/>
                      <a:gd name="connsiteY1" fmla="*/ 54767 h 204263"/>
                      <a:gd name="connsiteX2" fmla="*/ 107160 w 188308"/>
                      <a:gd name="connsiteY2" fmla="*/ 203993 h 204263"/>
                      <a:gd name="connsiteX3" fmla="*/ 0 w 188308"/>
                      <a:gd name="connsiteY3" fmla="*/ 151605 h 204263"/>
                      <a:gd name="connsiteX4" fmla="*/ 78587 w 188308"/>
                      <a:gd name="connsiteY4" fmla="*/ 0 h 204263"/>
                      <a:gd name="connsiteX0" fmla="*/ 78587 w 188308"/>
                      <a:gd name="connsiteY0" fmla="*/ 0 h 204263"/>
                      <a:gd name="connsiteX1" fmla="*/ 183359 w 188308"/>
                      <a:gd name="connsiteY1" fmla="*/ 54767 h 204263"/>
                      <a:gd name="connsiteX2" fmla="*/ 107160 w 188308"/>
                      <a:gd name="connsiteY2" fmla="*/ 203993 h 204263"/>
                      <a:gd name="connsiteX3" fmla="*/ 0 w 188308"/>
                      <a:gd name="connsiteY3" fmla="*/ 151605 h 204263"/>
                      <a:gd name="connsiteX4" fmla="*/ 78587 w 188308"/>
                      <a:gd name="connsiteY4" fmla="*/ 0 h 204263"/>
                      <a:gd name="connsiteX0" fmla="*/ 78587 w 188308"/>
                      <a:gd name="connsiteY0" fmla="*/ 0 h 204263"/>
                      <a:gd name="connsiteX1" fmla="*/ 183359 w 188308"/>
                      <a:gd name="connsiteY1" fmla="*/ 54767 h 204263"/>
                      <a:gd name="connsiteX2" fmla="*/ 107160 w 188308"/>
                      <a:gd name="connsiteY2" fmla="*/ 203993 h 204263"/>
                      <a:gd name="connsiteX3" fmla="*/ 0 w 188308"/>
                      <a:gd name="connsiteY3" fmla="*/ 151605 h 204263"/>
                      <a:gd name="connsiteX4" fmla="*/ 78587 w 188308"/>
                      <a:gd name="connsiteY4" fmla="*/ 0 h 204263"/>
                      <a:gd name="connsiteX0" fmla="*/ 78587 w 188308"/>
                      <a:gd name="connsiteY0" fmla="*/ 0 h 204263"/>
                      <a:gd name="connsiteX1" fmla="*/ 183359 w 188308"/>
                      <a:gd name="connsiteY1" fmla="*/ 54767 h 204263"/>
                      <a:gd name="connsiteX2" fmla="*/ 107160 w 188308"/>
                      <a:gd name="connsiteY2" fmla="*/ 203993 h 204263"/>
                      <a:gd name="connsiteX3" fmla="*/ 0 w 188308"/>
                      <a:gd name="connsiteY3" fmla="*/ 151605 h 204263"/>
                      <a:gd name="connsiteX4" fmla="*/ 78587 w 188308"/>
                      <a:gd name="connsiteY4" fmla="*/ 0 h 204263"/>
                      <a:gd name="connsiteX0" fmla="*/ 78587 w 188308"/>
                      <a:gd name="connsiteY0" fmla="*/ 0 h 204263"/>
                      <a:gd name="connsiteX1" fmla="*/ 183359 w 188308"/>
                      <a:gd name="connsiteY1" fmla="*/ 54767 h 204263"/>
                      <a:gd name="connsiteX2" fmla="*/ 107160 w 188308"/>
                      <a:gd name="connsiteY2" fmla="*/ 203993 h 204263"/>
                      <a:gd name="connsiteX3" fmla="*/ 0 w 188308"/>
                      <a:gd name="connsiteY3" fmla="*/ 151605 h 204263"/>
                      <a:gd name="connsiteX4" fmla="*/ 78587 w 188308"/>
                      <a:gd name="connsiteY4" fmla="*/ 0 h 204263"/>
                      <a:gd name="connsiteX0" fmla="*/ 78587 w 186094"/>
                      <a:gd name="connsiteY0" fmla="*/ 0 h 204256"/>
                      <a:gd name="connsiteX1" fmla="*/ 180978 w 186094"/>
                      <a:gd name="connsiteY1" fmla="*/ 52386 h 204256"/>
                      <a:gd name="connsiteX2" fmla="*/ 107160 w 186094"/>
                      <a:gd name="connsiteY2" fmla="*/ 203993 h 204256"/>
                      <a:gd name="connsiteX3" fmla="*/ 0 w 186094"/>
                      <a:gd name="connsiteY3" fmla="*/ 151605 h 204256"/>
                      <a:gd name="connsiteX4" fmla="*/ 78587 w 186094"/>
                      <a:gd name="connsiteY4" fmla="*/ 0 h 204256"/>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3470 h 204270"/>
                      <a:gd name="connsiteX4" fmla="*/ 80451 w 194631"/>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5 h 204270"/>
                      <a:gd name="connsiteX4" fmla="*/ 78587 w 192767"/>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1605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1605 h 204270"/>
                      <a:gd name="connsiteX4" fmla="*/ 80451 w 194631"/>
                      <a:gd name="connsiteY4" fmla="*/ 0 h 204270"/>
                      <a:gd name="connsiteX0" fmla="*/ 80451 w 194631"/>
                      <a:gd name="connsiteY0" fmla="*/ 0 h 204270"/>
                      <a:gd name="connsiteX1" fmla="*/ 189986 w 194631"/>
                      <a:gd name="connsiteY1" fmla="*/ 57149 h 204270"/>
                      <a:gd name="connsiteX2" fmla="*/ 109024 w 194631"/>
                      <a:gd name="connsiteY2" fmla="*/ 203993 h 204270"/>
                      <a:gd name="connsiteX3" fmla="*/ 0 w 194631"/>
                      <a:gd name="connsiteY3" fmla="*/ 151605 h 204270"/>
                      <a:gd name="connsiteX4" fmla="*/ 80451 w 194631"/>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49740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49740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49740 h 204270"/>
                      <a:gd name="connsiteX4" fmla="*/ 78587 w 192767"/>
                      <a:gd name="connsiteY4" fmla="*/ 0 h 204270"/>
                      <a:gd name="connsiteX0" fmla="*/ 78587 w 192767"/>
                      <a:gd name="connsiteY0" fmla="*/ 0 h 204270"/>
                      <a:gd name="connsiteX1" fmla="*/ 188122 w 192767"/>
                      <a:gd name="connsiteY1" fmla="*/ 57149 h 204270"/>
                      <a:gd name="connsiteX2" fmla="*/ 107160 w 192767"/>
                      <a:gd name="connsiteY2" fmla="*/ 203993 h 204270"/>
                      <a:gd name="connsiteX3" fmla="*/ 0 w 192767"/>
                      <a:gd name="connsiteY3" fmla="*/ 151603 h 204270"/>
                      <a:gd name="connsiteX4" fmla="*/ 78587 w 192767"/>
                      <a:gd name="connsiteY4" fmla="*/ 0 h 204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7" h="204270">
                        <a:moveTo>
                          <a:pt x="78587" y="0"/>
                        </a:moveTo>
                        <a:cubicBezTo>
                          <a:pt x="127006" y="24607"/>
                          <a:pt x="151922" y="38135"/>
                          <a:pt x="188122" y="57149"/>
                        </a:cubicBezTo>
                        <a:cubicBezTo>
                          <a:pt x="209554" y="122766"/>
                          <a:pt x="152403" y="209814"/>
                          <a:pt x="107160" y="203993"/>
                        </a:cubicBezTo>
                        <a:cubicBezTo>
                          <a:pt x="72683" y="187152"/>
                          <a:pt x="40069" y="168444"/>
                          <a:pt x="0" y="151603"/>
                        </a:cubicBezTo>
                        <a:cubicBezTo>
                          <a:pt x="64537" y="155117"/>
                          <a:pt x="96048" y="43391"/>
                          <a:pt x="78587" y="0"/>
                        </a:cubicBezTo>
                        <a:close/>
                      </a:path>
                    </a:pathLst>
                  </a:custGeom>
                  <a:solidFill>
                    <a:srgbClr val="D85454"/>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49" name="Rectangle 16"/>
                  <p:cNvSpPr/>
                  <p:nvPr/>
                </p:nvSpPr>
                <p:spPr>
                  <a:xfrm rot="1545906" flipH="1">
                    <a:off x="5838213" y="3102726"/>
                    <a:ext cx="276663" cy="234238"/>
                  </a:xfrm>
                  <a:custGeom>
                    <a:avLst/>
                    <a:gdLst>
                      <a:gd name="connsiteX0" fmla="*/ 0 w 571500"/>
                      <a:gd name="connsiteY0" fmla="*/ 0 h 368300"/>
                      <a:gd name="connsiteX1" fmla="*/ 571500 w 571500"/>
                      <a:gd name="connsiteY1" fmla="*/ 0 h 368300"/>
                      <a:gd name="connsiteX2" fmla="*/ 571500 w 571500"/>
                      <a:gd name="connsiteY2" fmla="*/ 368300 h 368300"/>
                      <a:gd name="connsiteX3" fmla="*/ 0 w 571500"/>
                      <a:gd name="connsiteY3" fmla="*/ 368300 h 368300"/>
                      <a:gd name="connsiteX4" fmla="*/ 0 w 571500"/>
                      <a:gd name="connsiteY4" fmla="*/ 0 h 368300"/>
                      <a:gd name="connsiteX0" fmla="*/ 0 w 664368"/>
                      <a:gd name="connsiteY0" fmla="*/ 0 h 368300"/>
                      <a:gd name="connsiteX1" fmla="*/ 664368 w 664368"/>
                      <a:gd name="connsiteY1" fmla="*/ 235744 h 368300"/>
                      <a:gd name="connsiteX2" fmla="*/ 571500 w 664368"/>
                      <a:gd name="connsiteY2" fmla="*/ 368300 h 368300"/>
                      <a:gd name="connsiteX3" fmla="*/ 0 w 664368"/>
                      <a:gd name="connsiteY3" fmla="*/ 368300 h 368300"/>
                      <a:gd name="connsiteX4" fmla="*/ 0 w 664368"/>
                      <a:gd name="connsiteY4" fmla="*/ 0 h 368300"/>
                      <a:gd name="connsiteX0" fmla="*/ 0 w 671347"/>
                      <a:gd name="connsiteY0" fmla="*/ 0 h 368300"/>
                      <a:gd name="connsiteX1" fmla="*/ 664368 w 671347"/>
                      <a:gd name="connsiteY1" fmla="*/ 235744 h 368300"/>
                      <a:gd name="connsiteX2" fmla="*/ 571500 w 671347"/>
                      <a:gd name="connsiteY2" fmla="*/ 368300 h 368300"/>
                      <a:gd name="connsiteX3" fmla="*/ 0 w 671347"/>
                      <a:gd name="connsiteY3" fmla="*/ 368300 h 368300"/>
                      <a:gd name="connsiteX4" fmla="*/ 0 w 671347"/>
                      <a:gd name="connsiteY4" fmla="*/ 0 h 368300"/>
                      <a:gd name="connsiteX0" fmla="*/ 0 w 664610"/>
                      <a:gd name="connsiteY0" fmla="*/ 0 h 368300"/>
                      <a:gd name="connsiteX1" fmla="*/ 664368 w 664610"/>
                      <a:gd name="connsiteY1" fmla="*/ 235744 h 368300"/>
                      <a:gd name="connsiteX2" fmla="*/ 571500 w 664610"/>
                      <a:gd name="connsiteY2" fmla="*/ 368300 h 368300"/>
                      <a:gd name="connsiteX3" fmla="*/ 0 w 664610"/>
                      <a:gd name="connsiteY3" fmla="*/ 368300 h 368300"/>
                      <a:gd name="connsiteX4" fmla="*/ 0 w 664610"/>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0 w 664748"/>
                      <a:gd name="connsiteY0" fmla="*/ 0 h 368300"/>
                      <a:gd name="connsiteX1" fmla="*/ 664368 w 664748"/>
                      <a:gd name="connsiteY1" fmla="*/ 235744 h 368300"/>
                      <a:gd name="connsiteX2" fmla="*/ 571500 w 664748"/>
                      <a:gd name="connsiteY2" fmla="*/ 368300 h 368300"/>
                      <a:gd name="connsiteX3" fmla="*/ 0 w 664748"/>
                      <a:gd name="connsiteY3" fmla="*/ 368300 h 368300"/>
                      <a:gd name="connsiteX4" fmla="*/ 0 w 664748"/>
                      <a:gd name="connsiteY4" fmla="*/ 0 h 368300"/>
                      <a:gd name="connsiteX0" fmla="*/ 490538 w 664748"/>
                      <a:gd name="connsiteY0" fmla="*/ 0 h 215900"/>
                      <a:gd name="connsiteX1" fmla="*/ 664368 w 664748"/>
                      <a:gd name="connsiteY1" fmla="*/ 83344 h 215900"/>
                      <a:gd name="connsiteX2" fmla="*/ 571500 w 664748"/>
                      <a:gd name="connsiteY2" fmla="*/ 215900 h 215900"/>
                      <a:gd name="connsiteX3" fmla="*/ 0 w 664748"/>
                      <a:gd name="connsiteY3" fmla="*/ 215900 h 215900"/>
                      <a:gd name="connsiteX4" fmla="*/ 490538 w 664748"/>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7632 w 271842"/>
                      <a:gd name="connsiteY0" fmla="*/ 0 h 215900"/>
                      <a:gd name="connsiteX1" fmla="*/ 271462 w 271842"/>
                      <a:gd name="connsiteY1" fmla="*/ 83344 h 215900"/>
                      <a:gd name="connsiteX2" fmla="*/ 178594 w 271842"/>
                      <a:gd name="connsiteY2" fmla="*/ 215900 h 215900"/>
                      <a:gd name="connsiteX3" fmla="*/ 0 w 271842"/>
                      <a:gd name="connsiteY3" fmla="*/ 130175 h 215900"/>
                      <a:gd name="connsiteX4" fmla="*/ 97632 w 271842"/>
                      <a:gd name="connsiteY4" fmla="*/ 0 h 215900"/>
                      <a:gd name="connsiteX0" fmla="*/ 95251 w 271842"/>
                      <a:gd name="connsiteY0" fmla="*/ 0 h 225425"/>
                      <a:gd name="connsiteX1" fmla="*/ 271462 w 271842"/>
                      <a:gd name="connsiteY1" fmla="*/ 92869 h 225425"/>
                      <a:gd name="connsiteX2" fmla="*/ 178594 w 271842"/>
                      <a:gd name="connsiteY2" fmla="*/ 225425 h 225425"/>
                      <a:gd name="connsiteX3" fmla="*/ 0 w 271842"/>
                      <a:gd name="connsiteY3" fmla="*/ 139700 h 225425"/>
                      <a:gd name="connsiteX4" fmla="*/ 95251 w 271842"/>
                      <a:gd name="connsiteY4" fmla="*/ 0 h 225425"/>
                      <a:gd name="connsiteX0" fmla="*/ 92870 w 271842"/>
                      <a:gd name="connsiteY0" fmla="*/ 0 h 220662"/>
                      <a:gd name="connsiteX1" fmla="*/ 271462 w 271842"/>
                      <a:gd name="connsiteY1" fmla="*/ 88106 h 220662"/>
                      <a:gd name="connsiteX2" fmla="*/ 178594 w 271842"/>
                      <a:gd name="connsiteY2" fmla="*/ 220662 h 220662"/>
                      <a:gd name="connsiteX3" fmla="*/ 0 w 271842"/>
                      <a:gd name="connsiteY3" fmla="*/ 134937 h 220662"/>
                      <a:gd name="connsiteX4" fmla="*/ 92870 w 271842"/>
                      <a:gd name="connsiteY4" fmla="*/ 0 h 220662"/>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97633 w 271842"/>
                      <a:gd name="connsiteY0" fmla="*/ 0 h 223043"/>
                      <a:gd name="connsiteX1" fmla="*/ 271462 w 271842"/>
                      <a:gd name="connsiteY1" fmla="*/ 90487 h 223043"/>
                      <a:gd name="connsiteX2" fmla="*/ 178594 w 271842"/>
                      <a:gd name="connsiteY2" fmla="*/ 223043 h 223043"/>
                      <a:gd name="connsiteX3" fmla="*/ 0 w 271842"/>
                      <a:gd name="connsiteY3" fmla="*/ 137318 h 223043"/>
                      <a:gd name="connsiteX4" fmla="*/ 97633 w 271842"/>
                      <a:gd name="connsiteY4" fmla="*/ 0 h 223043"/>
                      <a:gd name="connsiteX0" fmla="*/ 85726 w 271842"/>
                      <a:gd name="connsiteY0" fmla="*/ 0 h 230186"/>
                      <a:gd name="connsiteX1" fmla="*/ 271462 w 271842"/>
                      <a:gd name="connsiteY1" fmla="*/ 97630 h 230186"/>
                      <a:gd name="connsiteX2" fmla="*/ 178594 w 271842"/>
                      <a:gd name="connsiteY2" fmla="*/ 230186 h 230186"/>
                      <a:gd name="connsiteX3" fmla="*/ 0 w 271842"/>
                      <a:gd name="connsiteY3" fmla="*/ 144461 h 230186"/>
                      <a:gd name="connsiteX4" fmla="*/ 85726 w 271842"/>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3749"/>
                      <a:gd name="connsiteY0" fmla="*/ 0 h 230186"/>
                      <a:gd name="connsiteX1" fmla="*/ 283369 w 283749"/>
                      <a:gd name="connsiteY1" fmla="*/ 97630 h 230186"/>
                      <a:gd name="connsiteX2" fmla="*/ 190501 w 283749"/>
                      <a:gd name="connsiteY2" fmla="*/ 230186 h 230186"/>
                      <a:gd name="connsiteX3" fmla="*/ 0 w 283749"/>
                      <a:gd name="connsiteY3" fmla="*/ 151605 h 230186"/>
                      <a:gd name="connsiteX4" fmla="*/ 97633 w 283749"/>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2567"/>
                      <a:gd name="connsiteX1" fmla="*/ 285750 w 286111"/>
                      <a:gd name="connsiteY1" fmla="*/ 97630 h 232567"/>
                      <a:gd name="connsiteX2" fmla="*/ 190501 w 286111"/>
                      <a:gd name="connsiteY2" fmla="*/ 232567 h 232567"/>
                      <a:gd name="connsiteX3" fmla="*/ 0 w 286111"/>
                      <a:gd name="connsiteY3" fmla="*/ 153986 h 232567"/>
                      <a:gd name="connsiteX4" fmla="*/ 97633 w 286111"/>
                      <a:gd name="connsiteY4" fmla="*/ 0 h 232567"/>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97633 w 286111"/>
                      <a:gd name="connsiteY0" fmla="*/ 0 h 230186"/>
                      <a:gd name="connsiteX1" fmla="*/ 285750 w 286111"/>
                      <a:gd name="connsiteY1" fmla="*/ 95249 h 230186"/>
                      <a:gd name="connsiteX2" fmla="*/ 190501 w 286111"/>
                      <a:gd name="connsiteY2" fmla="*/ 230186 h 230186"/>
                      <a:gd name="connsiteX3" fmla="*/ 0 w 286111"/>
                      <a:gd name="connsiteY3" fmla="*/ 151605 h 230186"/>
                      <a:gd name="connsiteX4" fmla="*/ 97633 w 286111"/>
                      <a:gd name="connsiteY4" fmla="*/ 0 h 230186"/>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100014 w 286111"/>
                      <a:gd name="connsiteY0" fmla="*/ 0 h 234948"/>
                      <a:gd name="connsiteX1" fmla="*/ 285750 w 286111"/>
                      <a:gd name="connsiteY1" fmla="*/ 100011 h 234948"/>
                      <a:gd name="connsiteX2" fmla="*/ 190501 w 286111"/>
                      <a:gd name="connsiteY2" fmla="*/ 234948 h 234948"/>
                      <a:gd name="connsiteX3" fmla="*/ 0 w 286111"/>
                      <a:gd name="connsiteY3" fmla="*/ 156367 h 234948"/>
                      <a:gd name="connsiteX4" fmla="*/ 100014 w 286111"/>
                      <a:gd name="connsiteY4" fmla="*/ 0 h 234948"/>
                      <a:gd name="connsiteX0" fmla="*/ 200027 w 286111"/>
                      <a:gd name="connsiteY0" fmla="*/ 0 h 182561"/>
                      <a:gd name="connsiteX1" fmla="*/ 285750 w 286111"/>
                      <a:gd name="connsiteY1" fmla="*/ 47624 h 182561"/>
                      <a:gd name="connsiteX2" fmla="*/ 190501 w 286111"/>
                      <a:gd name="connsiteY2" fmla="*/ 182561 h 182561"/>
                      <a:gd name="connsiteX3" fmla="*/ 0 w 286111"/>
                      <a:gd name="connsiteY3" fmla="*/ 103980 h 182561"/>
                      <a:gd name="connsiteX4" fmla="*/ 200027 w 286111"/>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56368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2080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1440 w 157524"/>
                      <a:gd name="connsiteY0" fmla="*/ 0 h 182561"/>
                      <a:gd name="connsiteX1" fmla="*/ 157163 w 157524"/>
                      <a:gd name="connsiteY1" fmla="*/ 47624 h 182561"/>
                      <a:gd name="connsiteX2" fmla="*/ 61914 w 157524"/>
                      <a:gd name="connsiteY2" fmla="*/ 182561 h 182561"/>
                      <a:gd name="connsiteX3" fmla="*/ 0 w 157524"/>
                      <a:gd name="connsiteY3" fmla="*/ 149224 h 182561"/>
                      <a:gd name="connsiteX4" fmla="*/ 71440 w 157524"/>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76203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6203 w 162287"/>
                      <a:gd name="connsiteY4" fmla="*/ 0 h 182561"/>
                      <a:gd name="connsiteX0" fmla="*/ 66678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66678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1441 w 162287"/>
                      <a:gd name="connsiteY0" fmla="*/ 0 h 182561"/>
                      <a:gd name="connsiteX1" fmla="*/ 161926 w 162287"/>
                      <a:gd name="connsiteY1" fmla="*/ 47624 h 182561"/>
                      <a:gd name="connsiteX2" fmla="*/ 66677 w 162287"/>
                      <a:gd name="connsiteY2" fmla="*/ 182561 h 182561"/>
                      <a:gd name="connsiteX3" fmla="*/ 0 w 162287"/>
                      <a:gd name="connsiteY3" fmla="*/ 144462 h 182561"/>
                      <a:gd name="connsiteX4" fmla="*/ 71441 w 162287"/>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3822 w 164668"/>
                      <a:gd name="connsiteY0" fmla="*/ 0 h 182561"/>
                      <a:gd name="connsiteX1" fmla="*/ 164307 w 164668"/>
                      <a:gd name="connsiteY1" fmla="*/ 47624 h 182561"/>
                      <a:gd name="connsiteX2" fmla="*/ 69058 w 164668"/>
                      <a:gd name="connsiteY2" fmla="*/ 182561 h 182561"/>
                      <a:gd name="connsiteX3" fmla="*/ 0 w 164668"/>
                      <a:gd name="connsiteY3" fmla="*/ 142081 h 182561"/>
                      <a:gd name="connsiteX4" fmla="*/ 73822 w 164668"/>
                      <a:gd name="connsiteY4" fmla="*/ 0 h 182561"/>
                      <a:gd name="connsiteX0" fmla="*/ 76204 w 167050"/>
                      <a:gd name="connsiteY0" fmla="*/ 0 h 182561"/>
                      <a:gd name="connsiteX1" fmla="*/ 166689 w 167050"/>
                      <a:gd name="connsiteY1" fmla="*/ 47624 h 182561"/>
                      <a:gd name="connsiteX2" fmla="*/ 71440 w 167050"/>
                      <a:gd name="connsiteY2" fmla="*/ 182561 h 182561"/>
                      <a:gd name="connsiteX3" fmla="*/ 0 w 167050"/>
                      <a:gd name="connsiteY3" fmla="*/ 144462 h 182561"/>
                      <a:gd name="connsiteX4" fmla="*/ 76204 w 167050"/>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669"/>
                      <a:gd name="connsiteY0" fmla="*/ 0 h 182561"/>
                      <a:gd name="connsiteX1" fmla="*/ 164308 w 164669"/>
                      <a:gd name="connsiteY1" fmla="*/ 47624 h 182561"/>
                      <a:gd name="connsiteX2" fmla="*/ 69059 w 164669"/>
                      <a:gd name="connsiteY2" fmla="*/ 182561 h 182561"/>
                      <a:gd name="connsiteX3" fmla="*/ 0 w 164669"/>
                      <a:gd name="connsiteY3" fmla="*/ 139699 h 182561"/>
                      <a:gd name="connsiteX4" fmla="*/ 73823 w 164669"/>
                      <a:gd name="connsiteY4" fmla="*/ 0 h 182561"/>
                      <a:gd name="connsiteX0" fmla="*/ 73823 w 164900"/>
                      <a:gd name="connsiteY0" fmla="*/ 0 h 189705"/>
                      <a:gd name="connsiteX1" fmla="*/ 164308 w 164900"/>
                      <a:gd name="connsiteY1" fmla="*/ 47624 h 189705"/>
                      <a:gd name="connsiteX2" fmla="*/ 88109 w 164900"/>
                      <a:gd name="connsiteY2" fmla="*/ 189705 h 189705"/>
                      <a:gd name="connsiteX3" fmla="*/ 0 w 164900"/>
                      <a:gd name="connsiteY3" fmla="*/ 139699 h 189705"/>
                      <a:gd name="connsiteX4" fmla="*/ 73823 w 164900"/>
                      <a:gd name="connsiteY4" fmla="*/ 0 h 189705"/>
                      <a:gd name="connsiteX0" fmla="*/ 73823 w 164711"/>
                      <a:gd name="connsiteY0" fmla="*/ 0 h 189705"/>
                      <a:gd name="connsiteX1" fmla="*/ 164308 w 164711"/>
                      <a:gd name="connsiteY1" fmla="*/ 47624 h 189705"/>
                      <a:gd name="connsiteX2" fmla="*/ 88109 w 164711"/>
                      <a:gd name="connsiteY2" fmla="*/ 189705 h 189705"/>
                      <a:gd name="connsiteX3" fmla="*/ 0 w 164711"/>
                      <a:gd name="connsiteY3" fmla="*/ 139699 h 189705"/>
                      <a:gd name="connsiteX4" fmla="*/ 73823 w 164711"/>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73823 w 164599"/>
                      <a:gd name="connsiteY0" fmla="*/ 0 h 189705"/>
                      <a:gd name="connsiteX1" fmla="*/ 164308 w 164599"/>
                      <a:gd name="connsiteY1" fmla="*/ 47624 h 189705"/>
                      <a:gd name="connsiteX2" fmla="*/ 88109 w 164599"/>
                      <a:gd name="connsiteY2" fmla="*/ 189705 h 189705"/>
                      <a:gd name="connsiteX3" fmla="*/ 0 w 164599"/>
                      <a:gd name="connsiteY3" fmla="*/ 139699 h 189705"/>
                      <a:gd name="connsiteX4" fmla="*/ 73823 w 164599"/>
                      <a:gd name="connsiteY4" fmla="*/ 0 h 189705"/>
                      <a:gd name="connsiteX0" fmla="*/ 54773 w 164599"/>
                      <a:gd name="connsiteY0" fmla="*/ 0 h 201611"/>
                      <a:gd name="connsiteX1" fmla="*/ 164308 w 164599"/>
                      <a:gd name="connsiteY1" fmla="*/ 59530 h 201611"/>
                      <a:gd name="connsiteX2" fmla="*/ 88109 w 164599"/>
                      <a:gd name="connsiteY2" fmla="*/ 201611 h 201611"/>
                      <a:gd name="connsiteX3" fmla="*/ 0 w 164599"/>
                      <a:gd name="connsiteY3" fmla="*/ 151605 h 201611"/>
                      <a:gd name="connsiteX4" fmla="*/ 54773 w 164599"/>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66679 w 176505"/>
                      <a:gd name="connsiteY0" fmla="*/ 0 h 201611"/>
                      <a:gd name="connsiteX1" fmla="*/ 176214 w 176505"/>
                      <a:gd name="connsiteY1" fmla="*/ 59530 h 201611"/>
                      <a:gd name="connsiteX2" fmla="*/ 100015 w 176505"/>
                      <a:gd name="connsiteY2" fmla="*/ 201611 h 201611"/>
                      <a:gd name="connsiteX3" fmla="*/ 0 w 176505"/>
                      <a:gd name="connsiteY3" fmla="*/ 151605 h 201611"/>
                      <a:gd name="connsiteX4" fmla="*/ 66679 w 176505"/>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268"/>
                      <a:gd name="connsiteY0" fmla="*/ 0 h 201611"/>
                      <a:gd name="connsiteX1" fmla="*/ 180977 w 181268"/>
                      <a:gd name="connsiteY1" fmla="*/ 59530 h 201611"/>
                      <a:gd name="connsiteX2" fmla="*/ 104778 w 181268"/>
                      <a:gd name="connsiteY2" fmla="*/ 201611 h 201611"/>
                      <a:gd name="connsiteX3" fmla="*/ 0 w 181268"/>
                      <a:gd name="connsiteY3" fmla="*/ 151605 h 201611"/>
                      <a:gd name="connsiteX4" fmla="*/ 71442 w 181268"/>
                      <a:gd name="connsiteY4" fmla="*/ 0 h 201611"/>
                      <a:gd name="connsiteX0" fmla="*/ 71442 w 181725"/>
                      <a:gd name="connsiteY0" fmla="*/ 0 h 201611"/>
                      <a:gd name="connsiteX1" fmla="*/ 180977 w 181725"/>
                      <a:gd name="connsiteY1" fmla="*/ 59530 h 201611"/>
                      <a:gd name="connsiteX2" fmla="*/ 104778 w 181725"/>
                      <a:gd name="connsiteY2" fmla="*/ 201611 h 201611"/>
                      <a:gd name="connsiteX3" fmla="*/ 0 w 181725"/>
                      <a:gd name="connsiteY3" fmla="*/ 151605 h 201611"/>
                      <a:gd name="connsiteX4" fmla="*/ 71442 w 181725"/>
                      <a:gd name="connsiteY4" fmla="*/ 0 h 201611"/>
                      <a:gd name="connsiteX0" fmla="*/ 71442 w 183091"/>
                      <a:gd name="connsiteY0" fmla="*/ 0 h 201611"/>
                      <a:gd name="connsiteX1" fmla="*/ 180977 w 183091"/>
                      <a:gd name="connsiteY1" fmla="*/ 59530 h 201611"/>
                      <a:gd name="connsiteX2" fmla="*/ 104778 w 183091"/>
                      <a:gd name="connsiteY2" fmla="*/ 201611 h 201611"/>
                      <a:gd name="connsiteX3" fmla="*/ 0 w 183091"/>
                      <a:gd name="connsiteY3" fmla="*/ 151605 h 201611"/>
                      <a:gd name="connsiteX4" fmla="*/ 71442 w 183091"/>
                      <a:gd name="connsiteY4" fmla="*/ 0 h 201611"/>
                      <a:gd name="connsiteX0" fmla="*/ 0 w 224645"/>
                      <a:gd name="connsiteY0" fmla="*/ 0 h 254016"/>
                      <a:gd name="connsiteX1" fmla="*/ 222531 w 224645"/>
                      <a:gd name="connsiteY1" fmla="*/ 111935 h 254016"/>
                      <a:gd name="connsiteX2" fmla="*/ 146332 w 224645"/>
                      <a:gd name="connsiteY2" fmla="*/ 254016 h 254016"/>
                      <a:gd name="connsiteX3" fmla="*/ 41554 w 224645"/>
                      <a:gd name="connsiteY3" fmla="*/ 204010 h 254016"/>
                      <a:gd name="connsiteX4" fmla="*/ 0 w 224645"/>
                      <a:gd name="connsiteY4" fmla="*/ 0 h 254016"/>
                      <a:gd name="connsiteX0" fmla="*/ 94983 w 319628"/>
                      <a:gd name="connsiteY0" fmla="*/ 0 h 254016"/>
                      <a:gd name="connsiteX1" fmla="*/ 317514 w 319628"/>
                      <a:gd name="connsiteY1" fmla="*/ 111935 h 254016"/>
                      <a:gd name="connsiteX2" fmla="*/ 241315 w 319628"/>
                      <a:gd name="connsiteY2" fmla="*/ 254016 h 254016"/>
                      <a:gd name="connsiteX3" fmla="*/ 0 w 319628"/>
                      <a:gd name="connsiteY3" fmla="*/ 160339 h 254016"/>
                      <a:gd name="connsiteX4" fmla="*/ 94983 w 319628"/>
                      <a:gd name="connsiteY4" fmla="*/ 0 h 254016"/>
                      <a:gd name="connsiteX0" fmla="*/ 97337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97337 w 321982"/>
                      <a:gd name="connsiteY4" fmla="*/ 0 h 254016"/>
                      <a:gd name="connsiteX0" fmla="*/ 97337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97337 w 321982"/>
                      <a:gd name="connsiteY4" fmla="*/ 0 h 254016"/>
                      <a:gd name="connsiteX0" fmla="*/ 97337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97337 w 321982"/>
                      <a:gd name="connsiteY4" fmla="*/ 0 h 254016"/>
                      <a:gd name="connsiteX0" fmla="*/ 85565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85565 w 321982"/>
                      <a:gd name="connsiteY4" fmla="*/ 0 h 254016"/>
                      <a:gd name="connsiteX0" fmla="*/ 85565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85565 w 321982"/>
                      <a:gd name="connsiteY4" fmla="*/ 0 h 254016"/>
                      <a:gd name="connsiteX0" fmla="*/ 85565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85565 w 321982"/>
                      <a:gd name="connsiteY4" fmla="*/ 0 h 254016"/>
                      <a:gd name="connsiteX0" fmla="*/ 85565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85565 w 321982"/>
                      <a:gd name="connsiteY4" fmla="*/ 0 h 254016"/>
                      <a:gd name="connsiteX0" fmla="*/ 78504 w 321982"/>
                      <a:gd name="connsiteY0" fmla="*/ 0 h 251833"/>
                      <a:gd name="connsiteX1" fmla="*/ 319868 w 321982"/>
                      <a:gd name="connsiteY1" fmla="*/ 109752 h 251833"/>
                      <a:gd name="connsiteX2" fmla="*/ 243669 w 321982"/>
                      <a:gd name="connsiteY2" fmla="*/ 251833 h 251833"/>
                      <a:gd name="connsiteX3" fmla="*/ 0 w 321982"/>
                      <a:gd name="connsiteY3" fmla="*/ 158156 h 251833"/>
                      <a:gd name="connsiteX4" fmla="*/ 78504 w 321982"/>
                      <a:gd name="connsiteY4" fmla="*/ 0 h 251833"/>
                      <a:gd name="connsiteX0" fmla="*/ 83212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83212 w 321982"/>
                      <a:gd name="connsiteY4" fmla="*/ 0 h 254016"/>
                      <a:gd name="connsiteX0" fmla="*/ 78504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78504 w 321982"/>
                      <a:gd name="connsiteY4" fmla="*/ 0 h 254016"/>
                      <a:gd name="connsiteX0" fmla="*/ 78504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78504 w 321982"/>
                      <a:gd name="connsiteY4" fmla="*/ 0 h 254016"/>
                      <a:gd name="connsiteX0" fmla="*/ 78504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78504 w 321982"/>
                      <a:gd name="connsiteY4" fmla="*/ 0 h 254016"/>
                      <a:gd name="connsiteX0" fmla="*/ 78504 w 321982"/>
                      <a:gd name="connsiteY0" fmla="*/ 0 h 254016"/>
                      <a:gd name="connsiteX1" fmla="*/ 319868 w 321982"/>
                      <a:gd name="connsiteY1" fmla="*/ 111935 h 254016"/>
                      <a:gd name="connsiteX2" fmla="*/ 243669 w 321982"/>
                      <a:gd name="connsiteY2" fmla="*/ 254016 h 254016"/>
                      <a:gd name="connsiteX3" fmla="*/ 0 w 321982"/>
                      <a:gd name="connsiteY3" fmla="*/ 160339 h 254016"/>
                      <a:gd name="connsiteX4" fmla="*/ 78504 w 321982"/>
                      <a:gd name="connsiteY4" fmla="*/ 0 h 254016"/>
                      <a:gd name="connsiteX0" fmla="*/ 78504 w 321982"/>
                      <a:gd name="connsiteY0" fmla="*/ 0 h 256200"/>
                      <a:gd name="connsiteX1" fmla="*/ 319868 w 321982"/>
                      <a:gd name="connsiteY1" fmla="*/ 114119 h 256200"/>
                      <a:gd name="connsiteX2" fmla="*/ 243669 w 321982"/>
                      <a:gd name="connsiteY2" fmla="*/ 256200 h 256200"/>
                      <a:gd name="connsiteX3" fmla="*/ 0 w 321982"/>
                      <a:gd name="connsiteY3" fmla="*/ 162523 h 256200"/>
                      <a:gd name="connsiteX4" fmla="*/ 78504 w 321982"/>
                      <a:gd name="connsiteY4" fmla="*/ 0 h 256200"/>
                      <a:gd name="connsiteX0" fmla="*/ 78504 w 321982"/>
                      <a:gd name="connsiteY0" fmla="*/ 0 h 256200"/>
                      <a:gd name="connsiteX1" fmla="*/ 319868 w 321982"/>
                      <a:gd name="connsiteY1" fmla="*/ 114119 h 256200"/>
                      <a:gd name="connsiteX2" fmla="*/ 243669 w 321982"/>
                      <a:gd name="connsiteY2" fmla="*/ 256200 h 256200"/>
                      <a:gd name="connsiteX3" fmla="*/ 0 w 321982"/>
                      <a:gd name="connsiteY3" fmla="*/ 162523 h 256200"/>
                      <a:gd name="connsiteX4" fmla="*/ 78504 w 321982"/>
                      <a:gd name="connsiteY4" fmla="*/ 0 h 256200"/>
                      <a:gd name="connsiteX0" fmla="*/ 78504 w 321982"/>
                      <a:gd name="connsiteY0" fmla="*/ 0 h 258383"/>
                      <a:gd name="connsiteX1" fmla="*/ 319868 w 321982"/>
                      <a:gd name="connsiteY1" fmla="*/ 114119 h 258383"/>
                      <a:gd name="connsiteX2" fmla="*/ 243669 w 321982"/>
                      <a:gd name="connsiteY2" fmla="*/ 258383 h 258383"/>
                      <a:gd name="connsiteX3" fmla="*/ 0 w 321982"/>
                      <a:gd name="connsiteY3" fmla="*/ 162523 h 258383"/>
                      <a:gd name="connsiteX4" fmla="*/ 78504 w 321982"/>
                      <a:gd name="connsiteY4" fmla="*/ 0 h 258383"/>
                      <a:gd name="connsiteX0" fmla="*/ 78504 w 321982"/>
                      <a:gd name="connsiteY0" fmla="*/ 0 h 258383"/>
                      <a:gd name="connsiteX1" fmla="*/ 319868 w 321982"/>
                      <a:gd name="connsiteY1" fmla="*/ 114119 h 258383"/>
                      <a:gd name="connsiteX2" fmla="*/ 243669 w 321982"/>
                      <a:gd name="connsiteY2" fmla="*/ 258383 h 258383"/>
                      <a:gd name="connsiteX3" fmla="*/ 0 w 321982"/>
                      <a:gd name="connsiteY3" fmla="*/ 162523 h 258383"/>
                      <a:gd name="connsiteX4" fmla="*/ 78504 w 321982"/>
                      <a:gd name="connsiteY4" fmla="*/ 0 h 258383"/>
                      <a:gd name="connsiteX0" fmla="*/ 78504 w 321982"/>
                      <a:gd name="connsiteY0" fmla="*/ 0 h 258383"/>
                      <a:gd name="connsiteX1" fmla="*/ 319868 w 321982"/>
                      <a:gd name="connsiteY1" fmla="*/ 114119 h 258383"/>
                      <a:gd name="connsiteX2" fmla="*/ 243669 w 321982"/>
                      <a:gd name="connsiteY2" fmla="*/ 258383 h 258383"/>
                      <a:gd name="connsiteX3" fmla="*/ 0 w 321982"/>
                      <a:gd name="connsiteY3" fmla="*/ 160339 h 258383"/>
                      <a:gd name="connsiteX4" fmla="*/ 78504 w 321982"/>
                      <a:gd name="connsiteY4" fmla="*/ 0 h 258383"/>
                      <a:gd name="connsiteX0" fmla="*/ 76150 w 319628"/>
                      <a:gd name="connsiteY0" fmla="*/ 0 h 258383"/>
                      <a:gd name="connsiteX1" fmla="*/ 317514 w 319628"/>
                      <a:gd name="connsiteY1" fmla="*/ 114119 h 258383"/>
                      <a:gd name="connsiteX2" fmla="*/ 241315 w 319628"/>
                      <a:gd name="connsiteY2" fmla="*/ 258383 h 258383"/>
                      <a:gd name="connsiteX3" fmla="*/ 0 w 319628"/>
                      <a:gd name="connsiteY3" fmla="*/ 158155 h 258383"/>
                      <a:gd name="connsiteX4" fmla="*/ 76150 w 319628"/>
                      <a:gd name="connsiteY4" fmla="*/ 0 h 258383"/>
                      <a:gd name="connsiteX0" fmla="*/ 76150 w 319628"/>
                      <a:gd name="connsiteY0" fmla="*/ 0 h 258383"/>
                      <a:gd name="connsiteX1" fmla="*/ 317514 w 319628"/>
                      <a:gd name="connsiteY1" fmla="*/ 114119 h 258383"/>
                      <a:gd name="connsiteX2" fmla="*/ 241315 w 319628"/>
                      <a:gd name="connsiteY2" fmla="*/ 258383 h 258383"/>
                      <a:gd name="connsiteX3" fmla="*/ 0 w 319628"/>
                      <a:gd name="connsiteY3" fmla="*/ 158155 h 258383"/>
                      <a:gd name="connsiteX4" fmla="*/ 76150 w 319628"/>
                      <a:gd name="connsiteY4" fmla="*/ 0 h 258383"/>
                      <a:gd name="connsiteX0" fmla="*/ 76150 w 319628"/>
                      <a:gd name="connsiteY0" fmla="*/ 0 h 258383"/>
                      <a:gd name="connsiteX1" fmla="*/ 317514 w 319628"/>
                      <a:gd name="connsiteY1" fmla="*/ 114119 h 258383"/>
                      <a:gd name="connsiteX2" fmla="*/ 241315 w 319628"/>
                      <a:gd name="connsiteY2" fmla="*/ 258383 h 258383"/>
                      <a:gd name="connsiteX3" fmla="*/ 0 w 319628"/>
                      <a:gd name="connsiteY3" fmla="*/ 158155 h 258383"/>
                      <a:gd name="connsiteX4" fmla="*/ 76150 w 319628"/>
                      <a:gd name="connsiteY4" fmla="*/ 0 h 258383"/>
                      <a:gd name="connsiteX0" fmla="*/ 78504 w 321982"/>
                      <a:gd name="connsiteY0" fmla="*/ 0 h 258383"/>
                      <a:gd name="connsiteX1" fmla="*/ 319868 w 321982"/>
                      <a:gd name="connsiteY1" fmla="*/ 114119 h 258383"/>
                      <a:gd name="connsiteX2" fmla="*/ 243669 w 321982"/>
                      <a:gd name="connsiteY2" fmla="*/ 258383 h 258383"/>
                      <a:gd name="connsiteX3" fmla="*/ 0 w 321982"/>
                      <a:gd name="connsiteY3" fmla="*/ 158155 h 258383"/>
                      <a:gd name="connsiteX4" fmla="*/ 78504 w 321982"/>
                      <a:gd name="connsiteY4" fmla="*/ 0 h 258383"/>
                      <a:gd name="connsiteX0" fmla="*/ 78504 w 322129"/>
                      <a:gd name="connsiteY0" fmla="*/ 0 h 260566"/>
                      <a:gd name="connsiteX1" fmla="*/ 319868 w 322129"/>
                      <a:gd name="connsiteY1" fmla="*/ 114119 h 260566"/>
                      <a:gd name="connsiteX2" fmla="*/ 246023 w 322129"/>
                      <a:gd name="connsiteY2" fmla="*/ 260566 h 260566"/>
                      <a:gd name="connsiteX3" fmla="*/ 0 w 322129"/>
                      <a:gd name="connsiteY3" fmla="*/ 158155 h 260566"/>
                      <a:gd name="connsiteX4" fmla="*/ 78504 w 322129"/>
                      <a:gd name="connsiteY4" fmla="*/ 0 h 260566"/>
                      <a:gd name="connsiteX0" fmla="*/ 78504 w 322129"/>
                      <a:gd name="connsiteY0" fmla="*/ 0 h 260566"/>
                      <a:gd name="connsiteX1" fmla="*/ 319868 w 322129"/>
                      <a:gd name="connsiteY1" fmla="*/ 114119 h 260566"/>
                      <a:gd name="connsiteX2" fmla="*/ 246023 w 322129"/>
                      <a:gd name="connsiteY2" fmla="*/ 260566 h 260566"/>
                      <a:gd name="connsiteX3" fmla="*/ 0 w 322129"/>
                      <a:gd name="connsiteY3" fmla="*/ 158155 h 260566"/>
                      <a:gd name="connsiteX4" fmla="*/ 78504 w 322129"/>
                      <a:gd name="connsiteY4" fmla="*/ 0 h 260566"/>
                      <a:gd name="connsiteX0" fmla="*/ 78504 w 322129"/>
                      <a:gd name="connsiteY0" fmla="*/ 0 h 260566"/>
                      <a:gd name="connsiteX1" fmla="*/ 319868 w 322129"/>
                      <a:gd name="connsiteY1" fmla="*/ 114119 h 260566"/>
                      <a:gd name="connsiteX2" fmla="*/ 246023 w 322129"/>
                      <a:gd name="connsiteY2" fmla="*/ 260566 h 260566"/>
                      <a:gd name="connsiteX3" fmla="*/ 0 w 322129"/>
                      <a:gd name="connsiteY3" fmla="*/ 158155 h 260566"/>
                      <a:gd name="connsiteX4" fmla="*/ 78504 w 322129"/>
                      <a:gd name="connsiteY4" fmla="*/ 0 h 260566"/>
                      <a:gd name="connsiteX0" fmla="*/ 78504 w 321553"/>
                      <a:gd name="connsiteY0" fmla="*/ 0 h 260566"/>
                      <a:gd name="connsiteX1" fmla="*/ 319868 w 321553"/>
                      <a:gd name="connsiteY1" fmla="*/ 114119 h 260566"/>
                      <a:gd name="connsiteX2" fmla="*/ 246023 w 321553"/>
                      <a:gd name="connsiteY2" fmla="*/ 260566 h 260566"/>
                      <a:gd name="connsiteX3" fmla="*/ 0 w 321553"/>
                      <a:gd name="connsiteY3" fmla="*/ 158155 h 260566"/>
                      <a:gd name="connsiteX4" fmla="*/ 78504 w 321553"/>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1553"/>
                      <a:gd name="connsiteY0" fmla="*/ 0 h 260566"/>
                      <a:gd name="connsiteX1" fmla="*/ 319868 w 321553"/>
                      <a:gd name="connsiteY1" fmla="*/ 114119 h 260566"/>
                      <a:gd name="connsiteX2" fmla="*/ 246023 w 321553"/>
                      <a:gd name="connsiteY2" fmla="*/ 260566 h 260566"/>
                      <a:gd name="connsiteX3" fmla="*/ 0 w 321553"/>
                      <a:gd name="connsiteY3" fmla="*/ 158155 h 260566"/>
                      <a:gd name="connsiteX4" fmla="*/ 78504 w 321553"/>
                      <a:gd name="connsiteY4" fmla="*/ 0 h 260566"/>
                      <a:gd name="connsiteX0" fmla="*/ 78504 w 321553"/>
                      <a:gd name="connsiteY0" fmla="*/ 0 h 260566"/>
                      <a:gd name="connsiteX1" fmla="*/ 319868 w 321553"/>
                      <a:gd name="connsiteY1" fmla="*/ 114119 h 260566"/>
                      <a:gd name="connsiteX2" fmla="*/ 246023 w 321553"/>
                      <a:gd name="connsiteY2" fmla="*/ 260566 h 260566"/>
                      <a:gd name="connsiteX3" fmla="*/ 0 w 321553"/>
                      <a:gd name="connsiteY3" fmla="*/ 158155 h 260566"/>
                      <a:gd name="connsiteX4" fmla="*/ 78504 w 321553"/>
                      <a:gd name="connsiteY4" fmla="*/ 0 h 260566"/>
                      <a:gd name="connsiteX0" fmla="*/ 78504 w 321553"/>
                      <a:gd name="connsiteY0" fmla="*/ 0 h 260566"/>
                      <a:gd name="connsiteX1" fmla="*/ 319868 w 321553"/>
                      <a:gd name="connsiteY1" fmla="*/ 114119 h 260566"/>
                      <a:gd name="connsiteX2" fmla="*/ 246023 w 321553"/>
                      <a:gd name="connsiteY2" fmla="*/ 260566 h 260566"/>
                      <a:gd name="connsiteX3" fmla="*/ 0 w 321553"/>
                      <a:gd name="connsiteY3" fmla="*/ 158155 h 260566"/>
                      <a:gd name="connsiteX4" fmla="*/ 78504 w 321553"/>
                      <a:gd name="connsiteY4" fmla="*/ 0 h 260566"/>
                      <a:gd name="connsiteX0" fmla="*/ 78504 w 322980"/>
                      <a:gd name="connsiteY0" fmla="*/ 0 h 260566"/>
                      <a:gd name="connsiteX1" fmla="*/ 319868 w 322980"/>
                      <a:gd name="connsiteY1" fmla="*/ 114119 h 260566"/>
                      <a:gd name="connsiteX2" fmla="*/ 246023 w 322980"/>
                      <a:gd name="connsiteY2" fmla="*/ 260566 h 260566"/>
                      <a:gd name="connsiteX3" fmla="*/ 0 w 322980"/>
                      <a:gd name="connsiteY3" fmla="*/ 158155 h 260566"/>
                      <a:gd name="connsiteX4" fmla="*/ 78504 w 322980"/>
                      <a:gd name="connsiteY4" fmla="*/ 0 h 260566"/>
                      <a:gd name="connsiteX0" fmla="*/ 78504 w 322980"/>
                      <a:gd name="connsiteY0" fmla="*/ 0 h 260566"/>
                      <a:gd name="connsiteX1" fmla="*/ 319868 w 322980"/>
                      <a:gd name="connsiteY1" fmla="*/ 114119 h 260566"/>
                      <a:gd name="connsiteX2" fmla="*/ 246023 w 322980"/>
                      <a:gd name="connsiteY2" fmla="*/ 260566 h 260566"/>
                      <a:gd name="connsiteX3" fmla="*/ 0 w 322980"/>
                      <a:gd name="connsiteY3" fmla="*/ 158155 h 260566"/>
                      <a:gd name="connsiteX4" fmla="*/ 78504 w 322980"/>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60566"/>
                      <a:gd name="connsiteX1" fmla="*/ 319868 w 323761"/>
                      <a:gd name="connsiteY1" fmla="*/ 114119 h 260566"/>
                      <a:gd name="connsiteX2" fmla="*/ 246023 w 323761"/>
                      <a:gd name="connsiteY2" fmla="*/ 260566 h 260566"/>
                      <a:gd name="connsiteX3" fmla="*/ 0 w 323761"/>
                      <a:gd name="connsiteY3" fmla="*/ 158155 h 260566"/>
                      <a:gd name="connsiteX4" fmla="*/ 78504 w 323761"/>
                      <a:gd name="connsiteY4" fmla="*/ 0 h 260566"/>
                      <a:gd name="connsiteX0" fmla="*/ 78504 w 323761"/>
                      <a:gd name="connsiteY0" fmla="*/ 0 h 258857"/>
                      <a:gd name="connsiteX1" fmla="*/ 319868 w 323761"/>
                      <a:gd name="connsiteY1" fmla="*/ 112410 h 258857"/>
                      <a:gd name="connsiteX2" fmla="*/ 246023 w 323761"/>
                      <a:gd name="connsiteY2" fmla="*/ 258857 h 258857"/>
                      <a:gd name="connsiteX3" fmla="*/ 0 w 323761"/>
                      <a:gd name="connsiteY3" fmla="*/ 156446 h 258857"/>
                      <a:gd name="connsiteX4" fmla="*/ 78504 w 323761"/>
                      <a:gd name="connsiteY4" fmla="*/ 0 h 258857"/>
                      <a:gd name="connsiteX0" fmla="*/ 78504 w 323761"/>
                      <a:gd name="connsiteY0" fmla="*/ 0 h 258857"/>
                      <a:gd name="connsiteX1" fmla="*/ 319868 w 323761"/>
                      <a:gd name="connsiteY1" fmla="*/ 112410 h 258857"/>
                      <a:gd name="connsiteX2" fmla="*/ 246023 w 323761"/>
                      <a:gd name="connsiteY2" fmla="*/ 258857 h 258857"/>
                      <a:gd name="connsiteX3" fmla="*/ 0 w 323761"/>
                      <a:gd name="connsiteY3" fmla="*/ 156446 h 258857"/>
                      <a:gd name="connsiteX4" fmla="*/ 78504 w 323761"/>
                      <a:gd name="connsiteY4" fmla="*/ 0 h 258857"/>
                      <a:gd name="connsiteX0" fmla="*/ 78504 w 323761"/>
                      <a:gd name="connsiteY0" fmla="*/ 0 h 258857"/>
                      <a:gd name="connsiteX1" fmla="*/ 319868 w 323761"/>
                      <a:gd name="connsiteY1" fmla="*/ 112410 h 258857"/>
                      <a:gd name="connsiteX2" fmla="*/ 246023 w 323761"/>
                      <a:gd name="connsiteY2" fmla="*/ 258857 h 258857"/>
                      <a:gd name="connsiteX3" fmla="*/ 0 w 323761"/>
                      <a:gd name="connsiteY3" fmla="*/ 156446 h 258857"/>
                      <a:gd name="connsiteX4" fmla="*/ 78504 w 323761"/>
                      <a:gd name="connsiteY4" fmla="*/ 0 h 258857"/>
                      <a:gd name="connsiteX0" fmla="*/ 78504 w 323761"/>
                      <a:gd name="connsiteY0" fmla="*/ 0 h 258857"/>
                      <a:gd name="connsiteX1" fmla="*/ 319868 w 323761"/>
                      <a:gd name="connsiteY1" fmla="*/ 112410 h 258857"/>
                      <a:gd name="connsiteX2" fmla="*/ 246023 w 323761"/>
                      <a:gd name="connsiteY2" fmla="*/ 258857 h 258857"/>
                      <a:gd name="connsiteX3" fmla="*/ 0 w 323761"/>
                      <a:gd name="connsiteY3" fmla="*/ 156446 h 258857"/>
                      <a:gd name="connsiteX4" fmla="*/ 78504 w 323761"/>
                      <a:gd name="connsiteY4" fmla="*/ 0 h 258857"/>
                      <a:gd name="connsiteX0" fmla="*/ 78504 w 323761"/>
                      <a:gd name="connsiteY0" fmla="*/ 0 h 257148"/>
                      <a:gd name="connsiteX1" fmla="*/ 319868 w 323761"/>
                      <a:gd name="connsiteY1" fmla="*/ 110701 h 257148"/>
                      <a:gd name="connsiteX2" fmla="*/ 246023 w 323761"/>
                      <a:gd name="connsiteY2" fmla="*/ 257148 h 257148"/>
                      <a:gd name="connsiteX3" fmla="*/ 0 w 323761"/>
                      <a:gd name="connsiteY3" fmla="*/ 154737 h 257148"/>
                      <a:gd name="connsiteX4" fmla="*/ 78504 w 323761"/>
                      <a:gd name="connsiteY4" fmla="*/ 0 h 257148"/>
                      <a:gd name="connsiteX0" fmla="*/ 78504 w 323761"/>
                      <a:gd name="connsiteY0" fmla="*/ 0 h 257148"/>
                      <a:gd name="connsiteX1" fmla="*/ 319868 w 323761"/>
                      <a:gd name="connsiteY1" fmla="*/ 110701 h 257148"/>
                      <a:gd name="connsiteX2" fmla="*/ 246023 w 323761"/>
                      <a:gd name="connsiteY2" fmla="*/ 257148 h 257148"/>
                      <a:gd name="connsiteX3" fmla="*/ 0 w 323761"/>
                      <a:gd name="connsiteY3" fmla="*/ 154737 h 257148"/>
                      <a:gd name="connsiteX4" fmla="*/ 78504 w 323761"/>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 name="connsiteX0" fmla="*/ 82189 w 327446"/>
                      <a:gd name="connsiteY0" fmla="*/ 0 h 257148"/>
                      <a:gd name="connsiteX1" fmla="*/ 323553 w 327446"/>
                      <a:gd name="connsiteY1" fmla="*/ 110701 h 257148"/>
                      <a:gd name="connsiteX2" fmla="*/ 249708 w 327446"/>
                      <a:gd name="connsiteY2" fmla="*/ 257148 h 257148"/>
                      <a:gd name="connsiteX3" fmla="*/ 0 w 327446"/>
                      <a:gd name="connsiteY3" fmla="*/ 151318 h 257148"/>
                      <a:gd name="connsiteX4" fmla="*/ 82189 w 327446"/>
                      <a:gd name="connsiteY4" fmla="*/ 0 h 257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446" h="257148">
                        <a:moveTo>
                          <a:pt x="82189" y="0"/>
                        </a:moveTo>
                        <a:cubicBezTo>
                          <a:pt x="149658" y="30436"/>
                          <a:pt x="260847" y="78951"/>
                          <a:pt x="323553" y="110701"/>
                        </a:cubicBezTo>
                        <a:cubicBezTo>
                          <a:pt x="340086" y="165391"/>
                          <a:pt x="301797" y="246903"/>
                          <a:pt x="249708" y="257148"/>
                        </a:cubicBezTo>
                        <a:lnTo>
                          <a:pt x="0" y="151318"/>
                        </a:lnTo>
                        <a:cubicBezTo>
                          <a:pt x="59038" y="130554"/>
                          <a:pt x="105578" y="55930"/>
                          <a:pt x="82189" y="0"/>
                        </a:cubicBezTo>
                        <a:close/>
                      </a:path>
                    </a:pathLst>
                  </a:custGeom>
                  <a:solidFill>
                    <a:srgbClr val="D85454"/>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grpSp>
          </p:grpSp>
        </p:grpSp>
        <p:sp>
          <p:nvSpPr>
            <p:cNvPr id="19" name="Striped Right Arrow 18"/>
            <p:cNvSpPr/>
            <p:nvPr/>
          </p:nvSpPr>
          <p:spPr>
            <a:xfrm>
              <a:off x="4524428" y="1258726"/>
              <a:ext cx="1078704" cy="1478284"/>
            </a:xfrm>
            <a:prstGeom prst="stripedRightArrow">
              <a:avLst/>
            </a:prstGeom>
            <a:solidFill>
              <a:srgbClr val="F3D6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mn-cs"/>
                </a:rPr>
                <a:t>To achieve the objective</a:t>
              </a:r>
              <a:endPar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 name="Rounded Rectangle 19"/>
            <p:cNvSpPr/>
            <p:nvPr/>
          </p:nvSpPr>
          <p:spPr>
            <a:xfrm>
              <a:off x="6156887" y="1397265"/>
              <a:ext cx="2500731" cy="1240758"/>
            </a:xfrm>
            <a:prstGeom prst="round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mn-cs"/>
                </a:rPr>
                <a:t>Achieve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longer-term financial targets and create value for </a:t>
              </a: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mn-cs"/>
                </a:rPr>
                <a:t>stockholders</a:t>
              </a:r>
              <a:endPar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To be one of the top annuity and life insurance product manufacturers for </a:t>
              </a:r>
              <a:r>
                <a:rPr kumimoji="0" lang="en-US" sz="900" b="0" i="0" u="none" strike="noStrike" kern="1200" cap="none" spc="0" normalizeH="0" baseline="0" noProof="0" dirty="0" smtClean="0">
                  <a:ln>
                    <a:noFill/>
                  </a:ln>
                  <a:solidFill>
                    <a:srgbClr val="000000"/>
                  </a:solidFill>
                  <a:effectLst/>
                  <a:uLnTx/>
                  <a:uFillTx/>
                  <a:latin typeface="Arial" panose="020B0604020202020204"/>
                  <a:ea typeface="+mn-ea"/>
                  <a:cs typeface="+mn-cs"/>
                </a:rPr>
                <a:t>distribution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partners</a:t>
              </a:r>
            </a:p>
          </p:txBody>
        </p:sp>
        <p:pic>
          <p:nvPicPr>
            <p:cNvPr id="21" name="Picture 20"/>
            <p:cNvPicPr>
              <a:picLocks noChangeAspect="1"/>
            </p:cNvPicPr>
            <p:nvPr/>
          </p:nvPicPr>
          <p:blipFill>
            <a:blip r:embed="rId2"/>
            <a:stretch>
              <a:fillRect/>
            </a:stretch>
          </p:blipFill>
          <p:spPr>
            <a:xfrm>
              <a:off x="5558500" y="1153099"/>
              <a:ext cx="725826" cy="719901"/>
            </a:xfrm>
            <a:prstGeom prst="ellipse">
              <a:avLst/>
            </a:prstGeom>
          </p:spPr>
        </p:pic>
        <p:sp>
          <p:nvSpPr>
            <p:cNvPr id="22" name="Freeform 21">
              <a:extLst>
                <a:ext uri="{FF2B5EF4-FFF2-40B4-BE49-F238E27FC236}">
                  <a16:creationId xmlns:a16="http://schemas.microsoft.com/office/drawing/2014/main" id="{FD61D001-3478-4122-8E10-8B8693E48D9B}"/>
                </a:ext>
              </a:extLst>
            </p:cNvPr>
            <p:cNvSpPr>
              <a:spLocks/>
            </p:cNvSpPr>
            <p:nvPr/>
          </p:nvSpPr>
          <p:spPr bwMode="auto">
            <a:xfrm>
              <a:off x="3676672" y="2972269"/>
              <a:ext cx="1513958" cy="1698817"/>
            </a:xfrm>
            <a:custGeom>
              <a:avLst/>
              <a:gdLst>
                <a:gd name="T0" fmla="*/ 1131 w 2400"/>
                <a:gd name="T1" fmla="*/ 40 h 3356"/>
                <a:gd name="T2" fmla="*/ 1129 w 2400"/>
                <a:gd name="T3" fmla="*/ 60 h 3356"/>
                <a:gd name="T4" fmla="*/ 1071 w 2400"/>
                <a:gd name="T5" fmla="*/ 253 h 3356"/>
                <a:gd name="T6" fmla="*/ 1006 w 2400"/>
                <a:gd name="T7" fmla="*/ 665 h 3356"/>
                <a:gd name="T8" fmla="*/ 1020 w 2400"/>
                <a:gd name="T9" fmla="*/ 853 h 3356"/>
                <a:gd name="T10" fmla="*/ 1289 w 2400"/>
                <a:gd name="T11" fmla="*/ 678 h 3356"/>
                <a:gd name="T12" fmla="*/ 1480 w 2400"/>
                <a:gd name="T13" fmla="*/ 327 h 3356"/>
                <a:gd name="T14" fmla="*/ 1409 w 2400"/>
                <a:gd name="T15" fmla="*/ 565 h 3356"/>
                <a:gd name="T16" fmla="*/ 1226 w 2400"/>
                <a:gd name="T17" fmla="*/ 845 h 3356"/>
                <a:gd name="T18" fmla="*/ 1022 w 2400"/>
                <a:gd name="T19" fmla="*/ 1149 h 3356"/>
                <a:gd name="T20" fmla="*/ 1171 w 2400"/>
                <a:gd name="T21" fmla="*/ 1656 h 3356"/>
                <a:gd name="T22" fmla="*/ 1237 w 2400"/>
                <a:gd name="T23" fmla="*/ 1789 h 3356"/>
                <a:gd name="T24" fmla="*/ 1409 w 2400"/>
                <a:gd name="T25" fmla="*/ 1784 h 3356"/>
                <a:gd name="T26" fmla="*/ 1588 w 2400"/>
                <a:gd name="T27" fmla="*/ 1556 h 3356"/>
                <a:gd name="T28" fmla="*/ 1851 w 2400"/>
                <a:gd name="T29" fmla="*/ 893 h 3356"/>
                <a:gd name="T30" fmla="*/ 1953 w 2400"/>
                <a:gd name="T31" fmla="*/ 344 h 3356"/>
                <a:gd name="T32" fmla="*/ 1962 w 2400"/>
                <a:gd name="T33" fmla="*/ 582 h 3356"/>
                <a:gd name="T34" fmla="*/ 1935 w 2400"/>
                <a:gd name="T35" fmla="*/ 882 h 3356"/>
                <a:gd name="T36" fmla="*/ 1960 w 2400"/>
                <a:gd name="T37" fmla="*/ 1240 h 3356"/>
                <a:gd name="T38" fmla="*/ 2217 w 2400"/>
                <a:gd name="T39" fmla="*/ 1069 h 3356"/>
                <a:gd name="T40" fmla="*/ 1993 w 2400"/>
                <a:gd name="T41" fmla="*/ 1294 h 3356"/>
                <a:gd name="T42" fmla="*/ 1757 w 2400"/>
                <a:gd name="T43" fmla="*/ 1500 h 3356"/>
                <a:gd name="T44" fmla="*/ 1584 w 2400"/>
                <a:gd name="T45" fmla="*/ 1814 h 3356"/>
                <a:gd name="T46" fmla="*/ 1555 w 2400"/>
                <a:gd name="T47" fmla="*/ 1931 h 3356"/>
                <a:gd name="T48" fmla="*/ 1824 w 2400"/>
                <a:gd name="T49" fmla="*/ 1924 h 3356"/>
                <a:gd name="T50" fmla="*/ 2244 w 2400"/>
                <a:gd name="T51" fmla="*/ 1718 h 3356"/>
                <a:gd name="T52" fmla="*/ 2377 w 2400"/>
                <a:gd name="T53" fmla="*/ 1620 h 3356"/>
                <a:gd name="T54" fmla="*/ 2089 w 2400"/>
                <a:gd name="T55" fmla="*/ 1947 h 3356"/>
                <a:gd name="T56" fmla="*/ 1815 w 2400"/>
                <a:gd name="T57" fmla="*/ 2073 h 3356"/>
                <a:gd name="T58" fmla="*/ 1564 w 2400"/>
                <a:gd name="T59" fmla="*/ 2124 h 3356"/>
                <a:gd name="T60" fmla="*/ 1426 w 2400"/>
                <a:gd name="T61" fmla="*/ 2360 h 3356"/>
                <a:gd name="T62" fmla="*/ 1422 w 2400"/>
                <a:gd name="T63" fmla="*/ 2785 h 3356"/>
                <a:gd name="T64" fmla="*/ 1400 w 2400"/>
                <a:gd name="T65" fmla="*/ 3356 h 3356"/>
                <a:gd name="T66" fmla="*/ 1144 w 2400"/>
                <a:gd name="T67" fmla="*/ 3124 h 3356"/>
                <a:gd name="T68" fmla="*/ 1200 w 2400"/>
                <a:gd name="T69" fmla="*/ 2647 h 3356"/>
                <a:gd name="T70" fmla="*/ 1166 w 2400"/>
                <a:gd name="T71" fmla="*/ 2158 h 3356"/>
                <a:gd name="T72" fmla="*/ 1011 w 2400"/>
                <a:gd name="T73" fmla="*/ 1822 h 3356"/>
                <a:gd name="T74" fmla="*/ 779 w 2400"/>
                <a:gd name="T75" fmla="*/ 1782 h 3356"/>
                <a:gd name="T76" fmla="*/ 462 w 2400"/>
                <a:gd name="T77" fmla="*/ 1816 h 3356"/>
                <a:gd name="T78" fmla="*/ 124 w 2400"/>
                <a:gd name="T79" fmla="*/ 1724 h 3356"/>
                <a:gd name="T80" fmla="*/ 609 w 2400"/>
                <a:gd name="T81" fmla="*/ 1716 h 3356"/>
                <a:gd name="T82" fmla="*/ 451 w 2400"/>
                <a:gd name="T83" fmla="*/ 1322 h 3356"/>
                <a:gd name="T84" fmla="*/ 71 w 2400"/>
                <a:gd name="T85" fmla="*/ 1191 h 3356"/>
                <a:gd name="T86" fmla="*/ 59 w 2400"/>
                <a:gd name="T87" fmla="*/ 1154 h 3356"/>
                <a:gd name="T88" fmla="*/ 319 w 2400"/>
                <a:gd name="T89" fmla="*/ 1254 h 3356"/>
                <a:gd name="T90" fmla="*/ 477 w 2400"/>
                <a:gd name="T91" fmla="*/ 1229 h 3356"/>
                <a:gd name="T92" fmla="*/ 251 w 2400"/>
                <a:gd name="T93" fmla="*/ 644 h 3356"/>
                <a:gd name="T94" fmla="*/ 220 w 2400"/>
                <a:gd name="T95" fmla="*/ 469 h 3356"/>
                <a:gd name="T96" fmla="*/ 266 w 2400"/>
                <a:gd name="T97" fmla="*/ 604 h 3356"/>
                <a:gd name="T98" fmla="*/ 391 w 2400"/>
                <a:gd name="T99" fmla="*/ 942 h 3356"/>
                <a:gd name="T100" fmla="*/ 404 w 2400"/>
                <a:gd name="T101" fmla="*/ 956 h 3356"/>
                <a:gd name="T102" fmla="*/ 442 w 2400"/>
                <a:gd name="T103" fmla="*/ 889 h 3356"/>
                <a:gd name="T104" fmla="*/ 546 w 2400"/>
                <a:gd name="T105" fmla="*/ 605 h 3356"/>
                <a:gd name="T106" fmla="*/ 517 w 2400"/>
                <a:gd name="T107" fmla="*/ 847 h 3356"/>
                <a:gd name="T108" fmla="*/ 711 w 2400"/>
                <a:gd name="T109" fmla="*/ 1353 h 3356"/>
                <a:gd name="T110" fmla="*/ 937 w 2400"/>
                <a:gd name="T111" fmla="*/ 1160 h 3356"/>
                <a:gd name="T112" fmla="*/ 971 w 2400"/>
                <a:gd name="T113" fmla="*/ 511 h 3356"/>
                <a:gd name="T114" fmla="*/ 1137 w 2400"/>
                <a:gd name="T115" fmla="*/ 0 h 3356"/>
                <a:gd name="connsiteX0" fmla="*/ 4738 w 10000"/>
                <a:gd name="connsiteY0" fmla="*/ 0 h 10714"/>
                <a:gd name="connsiteX1" fmla="*/ 4721 w 10000"/>
                <a:gd name="connsiteY1" fmla="*/ 48 h 10714"/>
                <a:gd name="connsiteX2" fmla="*/ 4713 w 10000"/>
                <a:gd name="connsiteY2" fmla="*/ 80 h 10714"/>
                <a:gd name="connsiteX3" fmla="*/ 4704 w 10000"/>
                <a:gd name="connsiteY3" fmla="*/ 101 h 10714"/>
                <a:gd name="connsiteX4" fmla="*/ 4704 w 10000"/>
                <a:gd name="connsiteY4" fmla="*/ 113 h 10714"/>
                <a:gd name="connsiteX5" fmla="*/ 4713 w 10000"/>
                <a:gd name="connsiteY5" fmla="*/ 119 h 10714"/>
                <a:gd name="connsiteX6" fmla="*/ 4713 w 10000"/>
                <a:gd name="connsiteY6" fmla="*/ 125 h 10714"/>
                <a:gd name="connsiteX7" fmla="*/ 4721 w 10000"/>
                <a:gd name="connsiteY7" fmla="*/ 125 h 10714"/>
                <a:gd name="connsiteX8" fmla="*/ 4721 w 10000"/>
                <a:gd name="connsiteY8" fmla="*/ 125 h 10714"/>
                <a:gd name="connsiteX9" fmla="*/ 4721 w 10000"/>
                <a:gd name="connsiteY9" fmla="*/ 134 h 10714"/>
                <a:gd name="connsiteX10" fmla="*/ 4713 w 10000"/>
                <a:gd name="connsiteY10" fmla="*/ 152 h 10714"/>
                <a:gd name="connsiteX11" fmla="*/ 4704 w 10000"/>
                <a:gd name="connsiteY11" fmla="*/ 179 h 10714"/>
                <a:gd name="connsiteX12" fmla="*/ 4692 w 10000"/>
                <a:gd name="connsiteY12" fmla="*/ 221 h 10714"/>
                <a:gd name="connsiteX13" fmla="*/ 4667 w 10000"/>
                <a:gd name="connsiteY13" fmla="*/ 280 h 10714"/>
                <a:gd name="connsiteX14" fmla="*/ 4629 w 10000"/>
                <a:gd name="connsiteY14" fmla="*/ 364 h 10714"/>
                <a:gd name="connsiteX15" fmla="*/ 4592 w 10000"/>
                <a:gd name="connsiteY15" fmla="*/ 465 h 10714"/>
                <a:gd name="connsiteX16" fmla="*/ 4533 w 10000"/>
                <a:gd name="connsiteY16" fmla="*/ 596 h 10714"/>
                <a:gd name="connsiteX17" fmla="*/ 4463 w 10000"/>
                <a:gd name="connsiteY17" fmla="*/ 754 h 10714"/>
                <a:gd name="connsiteX18" fmla="*/ 4379 w 10000"/>
                <a:gd name="connsiteY18" fmla="*/ 1001 h 10714"/>
                <a:gd name="connsiteX19" fmla="*/ 4321 w 10000"/>
                <a:gd name="connsiteY19" fmla="*/ 1266 h 10714"/>
                <a:gd name="connsiteX20" fmla="*/ 4275 w 10000"/>
                <a:gd name="connsiteY20" fmla="*/ 1538 h 10714"/>
                <a:gd name="connsiteX21" fmla="*/ 4213 w 10000"/>
                <a:gd name="connsiteY21" fmla="*/ 1827 h 10714"/>
                <a:gd name="connsiteX22" fmla="*/ 4204 w 10000"/>
                <a:gd name="connsiteY22" fmla="*/ 1889 h 10714"/>
                <a:gd name="connsiteX23" fmla="*/ 4192 w 10000"/>
                <a:gd name="connsiteY23" fmla="*/ 1982 h 10714"/>
                <a:gd name="connsiteX24" fmla="*/ 4183 w 10000"/>
                <a:gd name="connsiteY24" fmla="*/ 2080 h 10714"/>
                <a:gd name="connsiteX25" fmla="*/ 4175 w 10000"/>
                <a:gd name="connsiteY25" fmla="*/ 2187 h 10714"/>
                <a:gd name="connsiteX26" fmla="*/ 4175 w 10000"/>
                <a:gd name="connsiteY26" fmla="*/ 2297 h 10714"/>
                <a:gd name="connsiteX27" fmla="*/ 4192 w 10000"/>
                <a:gd name="connsiteY27" fmla="*/ 2396 h 10714"/>
                <a:gd name="connsiteX28" fmla="*/ 4213 w 10000"/>
                <a:gd name="connsiteY28" fmla="*/ 2482 h 10714"/>
                <a:gd name="connsiteX29" fmla="*/ 4250 w 10000"/>
                <a:gd name="connsiteY29" fmla="*/ 2542 h 10714"/>
                <a:gd name="connsiteX30" fmla="*/ 4450 w 10000"/>
                <a:gd name="connsiteY30" fmla="*/ 2530 h 10714"/>
                <a:gd name="connsiteX31" fmla="*/ 4646 w 10000"/>
                <a:gd name="connsiteY31" fmla="*/ 2482 h 10714"/>
                <a:gd name="connsiteX32" fmla="*/ 4833 w 10000"/>
                <a:gd name="connsiteY32" fmla="*/ 2405 h 10714"/>
                <a:gd name="connsiteX33" fmla="*/ 5025 w 10000"/>
                <a:gd name="connsiteY33" fmla="*/ 2297 h 10714"/>
                <a:gd name="connsiteX34" fmla="*/ 5200 w 10000"/>
                <a:gd name="connsiteY34" fmla="*/ 2172 h 10714"/>
                <a:gd name="connsiteX35" fmla="*/ 5371 w 10000"/>
                <a:gd name="connsiteY35" fmla="*/ 2020 h 10714"/>
                <a:gd name="connsiteX36" fmla="*/ 5533 w 10000"/>
                <a:gd name="connsiteY36" fmla="*/ 1859 h 10714"/>
                <a:gd name="connsiteX37" fmla="*/ 5683 w 10000"/>
                <a:gd name="connsiteY37" fmla="*/ 1690 h 10714"/>
                <a:gd name="connsiteX38" fmla="*/ 5829 w 10000"/>
                <a:gd name="connsiteY38" fmla="*/ 1511 h 10714"/>
                <a:gd name="connsiteX39" fmla="*/ 5954 w 10000"/>
                <a:gd name="connsiteY39" fmla="*/ 1326 h 10714"/>
                <a:gd name="connsiteX40" fmla="*/ 6071 w 10000"/>
                <a:gd name="connsiteY40" fmla="*/ 1147 h 10714"/>
                <a:gd name="connsiteX41" fmla="*/ 6167 w 10000"/>
                <a:gd name="connsiteY41" fmla="*/ 974 h 10714"/>
                <a:gd name="connsiteX42" fmla="*/ 6213 w 10000"/>
                <a:gd name="connsiteY42" fmla="*/ 974 h 10714"/>
                <a:gd name="connsiteX43" fmla="*/ 6213 w 10000"/>
                <a:gd name="connsiteY43" fmla="*/ 992 h 10714"/>
                <a:gd name="connsiteX44" fmla="*/ 6138 w 10000"/>
                <a:gd name="connsiteY44" fmla="*/ 1165 h 10714"/>
                <a:gd name="connsiteX45" fmla="*/ 6054 w 10000"/>
                <a:gd name="connsiteY45" fmla="*/ 1344 h 10714"/>
                <a:gd name="connsiteX46" fmla="*/ 5963 w 10000"/>
                <a:gd name="connsiteY46" fmla="*/ 1517 h 10714"/>
                <a:gd name="connsiteX47" fmla="*/ 5871 w 10000"/>
                <a:gd name="connsiteY47" fmla="*/ 1684 h 10714"/>
                <a:gd name="connsiteX48" fmla="*/ 5775 w 10000"/>
                <a:gd name="connsiteY48" fmla="*/ 1847 h 10714"/>
                <a:gd name="connsiteX49" fmla="*/ 5667 w 10000"/>
                <a:gd name="connsiteY49" fmla="*/ 1999 h 10714"/>
                <a:gd name="connsiteX50" fmla="*/ 5554 w 10000"/>
                <a:gd name="connsiteY50" fmla="*/ 2145 h 10714"/>
                <a:gd name="connsiteX51" fmla="*/ 5417 w 10000"/>
                <a:gd name="connsiteY51" fmla="*/ 2279 h 10714"/>
                <a:gd name="connsiteX52" fmla="*/ 5275 w 10000"/>
                <a:gd name="connsiteY52" fmla="*/ 2411 h 10714"/>
                <a:gd name="connsiteX53" fmla="*/ 5108 w 10000"/>
                <a:gd name="connsiteY53" fmla="*/ 2518 h 10714"/>
                <a:gd name="connsiteX54" fmla="*/ 4917 w 10000"/>
                <a:gd name="connsiteY54" fmla="*/ 2616 h 10714"/>
                <a:gd name="connsiteX55" fmla="*/ 4704 w 10000"/>
                <a:gd name="connsiteY55" fmla="*/ 2703 h 10714"/>
                <a:gd name="connsiteX56" fmla="*/ 4479 w 10000"/>
                <a:gd name="connsiteY56" fmla="*/ 2768 h 10714"/>
                <a:gd name="connsiteX57" fmla="*/ 4213 w 10000"/>
                <a:gd name="connsiteY57" fmla="*/ 2813 h 10714"/>
                <a:gd name="connsiteX58" fmla="*/ 4221 w 10000"/>
                <a:gd name="connsiteY58" fmla="*/ 3126 h 10714"/>
                <a:gd name="connsiteX59" fmla="*/ 4258 w 10000"/>
                <a:gd name="connsiteY59" fmla="*/ 3424 h 10714"/>
                <a:gd name="connsiteX60" fmla="*/ 4321 w 10000"/>
                <a:gd name="connsiteY60" fmla="*/ 3707 h 10714"/>
                <a:gd name="connsiteX61" fmla="*/ 4404 w 10000"/>
                <a:gd name="connsiteY61" fmla="*/ 3975 h 10714"/>
                <a:gd name="connsiteX62" fmla="*/ 4508 w 10000"/>
                <a:gd name="connsiteY62" fmla="*/ 4231 h 10714"/>
                <a:gd name="connsiteX63" fmla="*/ 4621 w 10000"/>
                <a:gd name="connsiteY63" fmla="*/ 4476 h 10714"/>
                <a:gd name="connsiteX64" fmla="*/ 4750 w 10000"/>
                <a:gd name="connsiteY64" fmla="*/ 4708 h 10714"/>
                <a:gd name="connsiteX65" fmla="*/ 4879 w 10000"/>
                <a:gd name="connsiteY65" fmla="*/ 4934 h 10714"/>
                <a:gd name="connsiteX66" fmla="*/ 4917 w 10000"/>
                <a:gd name="connsiteY66" fmla="*/ 4988 h 10714"/>
                <a:gd name="connsiteX67" fmla="*/ 4950 w 10000"/>
                <a:gd name="connsiteY67" fmla="*/ 5054 h 10714"/>
                <a:gd name="connsiteX68" fmla="*/ 4996 w 10000"/>
                <a:gd name="connsiteY68" fmla="*/ 5125 h 10714"/>
                <a:gd name="connsiteX69" fmla="*/ 5038 w 10000"/>
                <a:gd name="connsiteY69" fmla="*/ 5200 h 10714"/>
                <a:gd name="connsiteX70" fmla="*/ 5092 w 10000"/>
                <a:gd name="connsiteY70" fmla="*/ 5271 h 10714"/>
                <a:gd name="connsiteX71" fmla="*/ 5154 w 10000"/>
                <a:gd name="connsiteY71" fmla="*/ 5331 h 10714"/>
                <a:gd name="connsiteX72" fmla="*/ 5229 w 10000"/>
                <a:gd name="connsiteY72" fmla="*/ 5384 h 10714"/>
                <a:gd name="connsiteX73" fmla="*/ 5313 w 10000"/>
                <a:gd name="connsiteY73" fmla="*/ 5423 h 10714"/>
                <a:gd name="connsiteX74" fmla="*/ 5413 w 10000"/>
                <a:gd name="connsiteY74" fmla="*/ 5438 h 10714"/>
                <a:gd name="connsiteX75" fmla="*/ 5517 w 10000"/>
                <a:gd name="connsiteY75" fmla="*/ 5435 h 10714"/>
                <a:gd name="connsiteX76" fmla="*/ 5704 w 10000"/>
                <a:gd name="connsiteY76" fmla="*/ 5390 h 10714"/>
                <a:gd name="connsiteX77" fmla="*/ 5871 w 10000"/>
                <a:gd name="connsiteY77" fmla="*/ 5316 h 10714"/>
                <a:gd name="connsiteX78" fmla="*/ 6033 w 10000"/>
                <a:gd name="connsiteY78" fmla="*/ 5223 h 10714"/>
                <a:gd name="connsiteX79" fmla="*/ 6167 w 10000"/>
                <a:gd name="connsiteY79" fmla="*/ 5113 h 10714"/>
                <a:gd name="connsiteX80" fmla="*/ 6296 w 10000"/>
                <a:gd name="connsiteY80" fmla="*/ 4994 h 10714"/>
                <a:gd name="connsiteX81" fmla="*/ 6417 w 10000"/>
                <a:gd name="connsiteY81" fmla="*/ 4869 h 10714"/>
                <a:gd name="connsiteX82" fmla="*/ 6525 w 10000"/>
                <a:gd name="connsiteY82" fmla="*/ 4750 h 10714"/>
                <a:gd name="connsiteX83" fmla="*/ 6617 w 10000"/>
                <a:gd name="connsiteY83" fmla="*/ 4636 h 10714"/>
                <a:gd name="connsiteX84" fmla="*/ 6821 w 10000"/>
                <a:gd name="connsiteY84" fmla="*/ 4377 h 10714"/>
                <a:gd name="connsiteX85" fmla="*/ 7017 w 10000"/>
                <a:gd name="connsiteY85" fmla="*/ 4085 h 10714"/>
                <a:gd name="connsiteX86" fmla="*/ 7213 w 10000"/>
                <a:gd name="connsiteY86" fmla="*/ 3766 h 10714"/>
                <a:gd name="connsiteX87" fmla="*/ 7396 w 10000"/>
                <a:gd name="connsiteY87" fmla="*/ 3418 h 10714"/>
                <a:gd name="connsiteX88" fmla="*/ 7563 w 10000"/>
                <a:gd name="connsiteY88" fmla="*/ 3051 h 10714"/>
                <a:gd name="connsiteX89" fmla="*/ 7713 w 10000"/>
                <a:gd name="connsiteY89" fmla="*/ 2661 h 10714"/>
                <a:gd name="connsiteX90" fmla="*/ 7850 w 10000"/>
                <a:gd name="connsiteY90" fmla="*/ 2253 h 10714"/>
                <a:gd name="connsiteX91" fmla="*/ 7950 w 10000"/>
                <a:gd name="connsiteY91" fmla="*/ 1830 h 10714"/>
                <a:gd name="connsiteX92" fmla="*/ 8025 w 10000"/>
                <a:gd name="connsiteY92" fmla="*/ 1397 h 10714"/>
                <a:gd name="connsiteX93" fmla="*/ 8071 w 10000"/>
                <a:gd name="connsiteY93" fmla="*/ 954 h 10714"/>
                <a:gd name="connsiteX94" fmla="*/ 8108 w 10000"/>
                <a:gd name="connsiteY94" fmla="*/ 974 h 10714"/>
                <a:gd name="connsiteX95" fmla="*/ 8138 w 10000"/>
                <a:gd name="connsiteY95" fmla="*/ 1025 h 10714"/>
                <a:gd name="connsiteX96" fmla="*/ 8163 w 10000"/>
                <a:gd name="connsiteY96" fmla="*/ 1100 h 10714"/>
                <a:gd name="connsiteX97" fmla="*/ 8175 w 10000"/>
                <a:gd name="connsiteY97" fmla="*/ 1198 h 10714"/>
                <a:gd name="connsiteX98" fmla="*/ 8183 w 10000"/>
                <a:gd name="connsiteY98" fmla="*/ 1311 h 10714"/>
                <a:gd name="connsiteX99" fmla="*/ 8183 w 10000"/>
                <a:gd name="connsiteY99" fmla="*/ 1442 h 10714"/>
                <a:gd name="connsiteX100" fmla="*/ 8183 w 10000"/>
                <a:gd name="connsiteY100" fmla="*/ 1582 h 10714"/>
                <a:gd name="connsiteX101" fmla="*/ 8175 w 10000"/>
                <a:gd name="connsiteY101" fmla="*/ 1734 h 10714"/>
                <a:gd name="connsiteX102" fmla="*/ 8163 w 10000"/>
                <a:gd name="connsiteY102" fmla="*/ 1889 h 10714"/>
                <a:gd name="connsiteX103" fmla="*/ 8146 w 10000"/>
                <a:gd name="connsiteY103" fmla="*/ 2047 h 10714"/>
                <a:gd name="connsiteX104" fmla="*/ 8121 w 10000"/>
                <a:gd name="connsiteY104" fmla="*/ 2205 h 10714"/>
                <a:gd name="connsiteX105" fmla="*/ 8108 w 10000"/>
                <a:gd name="connsiteY105" fmla="*/ 2357 h 10714"/>
                <a:gd name="connsiteX106" fmla="*/ 8083 w 10000"/>
                <a:gd name="connsiteY106" fmla="*/ 2497 h 10714"/>
                <a:gd name="connsiteX107" fmla="*/ 8063 w 10000"/>
                <a:gd name="connsiteY107" fmla="*/ 2628 h 10714"/>
                <a:gd name="connsiteX108" fmla="*/ 8038 w 10000"/>
                <a:gd name="connsiteY108" fmla="*/ 2741 h 10714"/>
                <a:gd name="connsiteX109" fmla="*/ 8017 w 10000"/>
                <a:gd name="connsiteY109" fmla="*/ 2834 h 10714"/>
                <a:gd name="connsiteX110" fmla="*/ 8000 w 10000"/>
                <a:gd name="connsiteY110" fmla="*/ 2908 h 10714"/>
                <a:gd name="connsiteX111" fmla="*/ 7700 w 10000"/>
                <a:gd name="connsiteY111" fmla="*/ 3754 h 10714"/>
                <a:gd name="connsiteX112" fmla="*/ 7942 w 10000"/>
                <a:gd name="connsiteY112" fmla="*/ 3737 h 10714"/>
                <a:gd name="connsiteX113" fmla="*/ 8167 w 10000"/>
                <a:gd name="connsiteY113" fmla="*/ 3695 h 10714"/>
                <a:gd name="connsiteX114" fmla="*/ 8379 w 10000"/>
                <a:gd name="connsiteY114" fmla="*/ 3635 h 10714"/>
                <a:gd name="connsiteX115" fmla="*/ 8583 w 10000"/>
                <a:gd name="connsiteY115" fmla="*/ 3558 h 10714"/>
                <a:gd name="connsiteX116" fmla="*/ 8767 w 10000"/>
                <a:gd name="connsiteY116" fmla="*/ 3471 h 10714"/>
                <a:gd name="connsiteX117" fmla="*/ 8933 w 10000"/>
                <a:gd name="connsiteY117" fmla="*/ 3376 h 10714"/>
                <a:gd name="connsiteX118" fmla="*/ 9092 w 10000"/>
                <a:gd name="connsiteY118" fmla="*/ 3278 h 10714"/>
                <a:gd name="connsiteX119" fmla="*/ 9238 w 10000"/>
                <a:gd name="connsiteY119" fmla="*/ 3185 h 10714"/>
                <a:gd name="connsiteX120" fmla="*/ 9250 w 10000"/>
                <a:gd name="connsiteY120" fmla="*/ 3230 h 10714"/>
                <a:gd name="connsiteX121" fmla="*/ 9117 w 10000"/>
                <a:gd name="connsiteY121" fmla="*/ 3376 h 10714"/>
                <a:gd name="connsiteX122" fmla="*/ 8954 w 10000"/>
                <a:gd name="connsiteY122" fmla="*/ 3516 h 10714"/>
                <a:gd name="connsiteX123" fmla="*/ 8758 w 10000"/>
                <a:gd name="connsiteY123" fmla="*/ 3641 h 10714"/>
                <a:gd name="connsiteX124" fmla="*/ 8538 w 10000"/>
                <a:gd name="connsiteY124" fmla="*/ 3754 h 10714"/>
                <a:gd name="connsiteX125" fmla="*/ 8304 w 10000"/>
                <a:gd name="connsiteY125" fmla="*/ 3856 h 10714"/>
                <a:gd name="connsiteX126" fmla="*/ 8054 w 10000"/>
                <a:gd name="connsiteY126" fmla="*/ 3945 h 10714"/>
                <a:gd name="connsiteX127" fmla="*/ 7796 w 10000"/>
                <a:gd name="connsiteY127" fmla="*/ 4014 h 10714"/>
                <a:gd name="connsiteX128" fmla="*/ 7533 w 10000"/>
                <a:gd name="connsiteY128" fmla="*/ 4064 h 10714"/>
                <a:gd name="connsiteX129" fmla="*/ 7479 w 10000"/>
                <a:gd name="connsiteY129" fmla="*/ 4184 h 10714"/>
                <a:gd name="connsiteX130" fmla="*/ 7404 w 10000"/>
                <a:gd name="connsiteY130" fmla="*/ 4324 h 10714"/>
                <a:gd name="connsiteX131" fmla="*/ 7321 w 10000"/>
                <a:gd name="connsiteY131" fmla="*/ 4470 h 10714"/>
                <a:gd name="connsiteX132" fmla="*/ 7213 w 10000"/>
                <a:gd name="connsiteY132" fmla="*/ 4628 h 10714"/>
                <a:gd name="connsiteX133" fmla="*/ 7100 w 10000"/>
                <a:gd name="connsiteY133" fmla="*/ 4794 h 10714"/>
                <a:gd name="connsiteX134" fmla="*/ 6979 w 10000"/>
                <a:gd name="connsiteY134" fmla="*/ 4958 h 10714"/>
                <a:gd name="connsiteX135" fmla="*/ 6850 w 10000"/>
                <a:gd name="connsiteY135" fmla="*/ 5113 h 10714"/>
                <a:gd name="connsiteX136" fmla="*/ 6721 w 10000"/>
                <a:gd name="connsiteY136" fmla="*/ 5265 h 10714"/>
                <a:gd name="connsiteX137" fmla="*/ 6600 w 10000"/>
                <a:gd name="connsiteY137" fmla="*/ 5405 h 10714"/>
                <a:gd name="connsiteX138" fmla="*/ 6471 w 10000"/>
                <a:gd name="connsiteY138" fmla="*/ 5530 h 10714"/>
                <a:gd name="connsiteX139" fmla="*/ 6358 w 10000"/>
                <a:gd name="connsiteY139" fmla="*/ 5641 h 10714"/>
                <a:gd name="connsiteX140" fmla="*/ 6250 w 10000"/>
                <a:gd name="connsiteY140" fmla="*/ 5721 h 10714"/>
                <a:gd name="connsiteX141" fmla="*/ 6267 w 10000"/>
                <a:gd name="connsiteY141" fmla="*/ 5781 h 10714"/>
                <a:gd name="connsiteX142" fmla="*/ 6296 w 10000"/>
                <a:gd name="connsiteY142" fmla="*/ 5793 h 10714"/>
                <a:gd name="connsiteX143" fmla="*/ 6479 w 10000"/>
                <a:gd name="connsiteY143" fmla="*/ 5754 h 10714"/>
                <a:gd name="connsiteX144" fmla="*/ 6663 w 10000"/>
                <a:gd name="connsiteY144" fmla="*/ 5736 h 10714"/>
                <a:gd name="connsiteX145" fmla="*/ 6858 w 10000"/>
                <a:gd name="connsiteY145" fmla="*/ 5736 h 10714"/>
                <a:gd name="connsiteX146" fmla="*/ 7046 w 10000"/>
                <a:gd name="connsiteY146" fmla="*/ 5742 h 10714"/>
                <a:gd name="connsiteX147" fmla="*/ 7246 w 10000"/>
                <a:gd name="connsiteY147" fmla="*/ 5748 h 10714"/>
                <a:gd name="connsiteX148" fmla="*/ 7425 w 10000"/>
                <a:gd name="connsiteY148" fmla="*/ 5748 h 10714"/>
                <a:gd name="connsiteX149" fmla="*/ 7600 w 10000"/>
                <a:gd name="connsiteY149" fmla="*/ 5733 h 10714"/>
                <a:gd name="connsiteX150" fmla="*/ 7950 w 10000"/>
                <a:gd name="connsiteY150" fmla="*/ 5673 h 10714"/>
                <a:gd name="connsiteX151" fmla="*/ 8275 w 10000"/>
                <a:gd name="connsiteY151" fmla="*/ 5596 h 10714"/>
                <a:gd name="connsiteX152" fmla="*/ 8579 w 10000"/>
                <a:gd name="connsiteY152" fmla="*/ 5504 h 10714"/>
                <a:gd name="connsiteX153" fmla="*/ 8858 w 10000"/>
                <a:gd name="connsiteY153" fmla="*/ 5390 h 10714"/>
                <a:gd name="connsiteX154" fmla="*/ 9117 w 10000"/>
                <a:gd name="connsiteY154" fmla="*/ 5265 h 10714"/>
                <a:gd name="connsiteX155" fmla="*/ 9350 w 10000"/>
                <a:gd name="connsiteY155" fmla="*/ 5119 h 10714"/>
                <a:gd name="connsiteX156" fmla="*/ 9563 w 10000"/>
                <a:gd name="connsiteY156" fmla="*/ 4967 h 10714"/>
                <a:gd name="connsiteX157" fmla="*/ 9758 w 10000"/>
                <a:gd name="connsiteY157" fmla="*/ 4794 h 10714"/>
                <a:gd name="connsiteX158" fmla="*/ 9933 w 10000"/>
                <a:gd name="connsiteY158" fmla="*/ 4610 h 10714"/>
                <a:gd name="connsiteX159" fmla="*/ 10000 w 10000"/>
                <a:gd name="connsiteY159" fmla="*/ 4648 h 10714"/>
                <a:gd name="connsiteX160" fmla="*/ 10000 w 10000"/>
                <a:gd name="connsiteY160" fmla="*/ 4660 h 10714"/>
                <a:gd name="connsiteX161" fmla="*/ 9904 w 10000"/>
                <a:gd name="connsiteY161" fmla="*/ 4827 h 10714"/>
                <a:gd name="connsiteX162" fmla="*/ 9767 w 10000"/>
                <a:gd name="connsiteY162" fmla="*/ 5000 h 10714"/>
                <a:gd name="connsiteX163" fmla="*/ 9600 w 10000"/>
                <a:gd name="connsiteY163" fmla="*/ 5173 h 10714"/>
                <a:gd name="connsiteX164" fmla="*/ 9404 w 10000"/>
                <a:gd name="connsiteY164" fmla="*/ 5343 h 10714"/>
                <a:gd name="connsiteX165" fmla="*/ 9183 w 10000"/>
                <a:gd name="connsiteY165" fmla="*/ 5504 h 10714"/>
                <a:gd name="connsiteX166" fmla="*/ 8950 w 10000"/>
                <a:gd name="connsiteY166" fmla="*/ 5662 h 10714"/>
                <a:gd name="connsiteX167" fmla="*/ 8704 w 10000"/>
                <a:gd name="connsiteY167" fmla="*/ 5802 h 10714"/>
                <a:gd name="connsiteX168" fmla="*/ 8463 w 10000"/>
                <a:gd name="connsiteY168" fmla="*/ 5927 h 10714"/>
                <a:gd name="connsiteX169" fmla="*/ 8229 w 10000"/>
                <a:gd name="connsiteY169" fmla="*/ 6025 h 10714"/>
                <a:gd name="connsiteX170" fmla="*/ 8000 w 10000"/>
                <a:gd name="connsiteY170" fmla="*/ 6105 h 10714"/>
                <a:gd name="connsiteX171" fmla="*/ 7879 w 10000"/>
                <a:gd name="connsiteY171" fmla="*/ 6132 h 10714"/>
                <a:gd name="connsiteX172" fmla="*/ 7729 w 10000"/>
                <a:gd name="connsiteY172" fmla="*/ 6153 h 10714"/>
                <a:gd name="connsiteX173" fmla="*/ 7563 w 10000"/>
                <a:gd name="connsiteY173" fmla="*/ 6177 h 10714"/>
                <a:gd name="connsiteX174" fmla="*/ 7388 w 10000"/>
                <a:gd name="connsiteY174" fmla="*/ 6198 h 10714"/>
                <a:gd name="connsiteX175" fmla="*/ 7204 w 10000"/>
                <a:gd name="connsiteY175" fmla="*/ 6219 h 10714"/>
                <a:gd name="connsiteX176" fmla="*/ 7017 w 10000"/>
                <a:gd name="connsiteY176" fmla="*/ 6240 h 10714"/>
                <a:gd name="connsiteX177" fmla="*/ 6842 w 10000"/>
                <a:gd name="connsiteY177" fmla="*/ 6263 h 10714"/>
                <a:gd name="connsiteX178" fmla="*/ 6675 w 10000"/>
                <a:gd name="connsiteY178" fmla="*/ 6290 h 10714"/>
                <a:gd name="connsiteX179" fmla="*/ 6517 w 10000"/>
                <a:gd name="connsiteY179" fmla="*/ 6329 h 10714"/>
                <a:gd name="connsiteX180" fmla="*/ 6388 w 10000"/>
                <a:gd name="connsiteY180" fmla="*/ 6365 h 10714"/>
                <a:gd name="connsiteX181" fmla="*/ 6288 w 10000"/>
                <a:gd name="connsiteY181" fmla="*/ 6415 h 10714"/>
                <a:gd name="connsiteX182" fmla="*/ 6213 w 10000"/>
                <a:gd name="connsiteY182" fmla="*/ 6475 h 10714"/>
                <a:gd name="connsiteX183" fmla="*/ 6092 w 10000"/>
                <a:gd name="connsiteY183" fmla="*/ 6648 h 10714"/>
                <a:gd name="connsiteX184" fmla="*/ 6008 w 10000"/>
                <a:gd name="connsiteY184" fmla="*/ 6836 h 10714"/>
                <a:gd name="connsiteX185" fmla="*/ 5942 w 10000"/>
                <a:gd name="connsiteY185" fmla="*/ 7032 h 10714"/>
                <a:gd name="connsiteX186" fmla="*/ 5904 w 10000"/>
                <a:gd name="connsiteY186" fmla="*/ 7232 h 10714"/>
                <a:gd name="connsiteX187" fmla="*/ 5888 w 10000"/>
                <a:gd name="connsiteY187" fmla="*/ 7443 h 10714"/>
                <a:gd name="connsiteX188" fmla="*/ 5879 w 10000"/>
                <a:gd name="connsiteY188" fmla="*/ 7655 h 10714"/>
                <a:gd name="connsiteX189" fmla="*/ 5888 w 10000"/>
                <a:gd name="connsiteY189" fmla="*/ 7867 h 10714"/>
                <a:gd name="connsiteX190" fmla="*/ 5904 w 10000"/>
                <a:gd name="connsiteY190" fmla="*/ 8084 h 10714"/>
                <a:gd name="connsiteX191" fmla="*/ 5925 w 10000"/>
                <a:gd name="connsiteY191" fmla="*/ 8299 h 10714"/>
                <a:gd name="connsiteX192" fmla="*/ 5950 w 10000"/>
                <a:gd name="connsiteY192" fmla="*/ 8510 h 10714"/>
                <a:gd name="connsiteX193" fmla="*/ 5954 w 10000"/>
                <a:gd name="connsiteY193" fmla="*/ 8820 h 10714"/>
                <a:gd name="connsiteX194" fmla="*/ 5933 w 10000"/>
                <a:gd name="connsiteY194" fmla="*/ 9130 h 10714"/>
                <a:gd name="connsiteX195" fmla="*/ 5896 w 10000"/>
                <a:gd name="connsiteY195" fmla="*/ 9428 h 10714"/>
                <a:gd name="connsiteX196" fmla="*/ 5850 w 10000"/>
                <a:gd name="connsiteY196" fmla="*/ 9720 h 10714"/>
                <a:gd name="connsiteX197" fmla="*/ 5756 w 10000"/>
                <a:gd name="connsiteY197" fmla="*/ 10714 h 10714"/>
                <a:gd name="connsiteX198" fmla="*/ 4463 w 10000"/>
                <a:gd name="connsiteY198" fmla="*/ 10000 h 10714"/>
                <a:gd name="connsiteX199" fmla="*/ 4463 w 10000"/>
                <a:gd name="connsiteY199" fmla="*/ 9991 h 10714"/>
                <a:gd name="connsiteX200" fmla="*/ 4546 w 10000"/>
                <a:gd name="connsiteY200" fmla="*/ 9848 h 10714"/>
                <a:gd name="connsiteX201" fmla="*/ 4629 w 10000"/>
                <a:gd name="connsiteY201" fmla="*/ 9687 h 10714"/>
                <a:gd name="connsiteX202" fmla="*/ 4700 w 10000"/>
                <a:gd name="connsiteY202" fmla="*/ 9508 h 10714"/>
                <a:gd name="connsiteX203" fmla="*/ 4767 w 10000"/>
                <a:gd name="connsiteY203" fmla="*/ 9309 h 10714"/>
                <a:gd name="connsiteX204" fmla="*/ 4829 w 10000"/>
                <a:gd name="connsiteY204" fmla="*/ 9097 h 10714"/>
                <a:gd name="connsiteX205" fmla="*/ 4879 w 10000"/>
                <a:gd name="connsiteY205" fmla="*/ 8868 h 10714"/>
                <a:gd name="connsiteX206" fmla="*/ 4917 w 10000"/>
                <a:gd name="connsiteY206" fmla="*/ 8635 h 10714"/>
                <a:gd name="connsiteX207" fmla="*/ 4954 w 10000"/>
                <a:gd name="connsiteY207" fmla="*/ 8391 h 10714"/>
                <a:gd name="connsiteX208" fmla="*/ 4979 w 10000"/>
                <a:gd name="connsiteY208" fmla="*/ 8144 h 10714"/>
                <a:gd name="connsiteX209" fmla="*/ 5000 w 10000"/>
                <a:gd name="connsiteY209" fmla="*/ 7887 h 10714"/>
                <a:gd name="connsiteX210" fmla="*/ 5000 w 10000"/>
                <a:gd name="connsiteY210" fmla="*/ 7634 h 10714"/>
                <a:gd name="connsiteX211" fmla="*/ 5000 w 10000"/>
                <a:gd name="connsiteY211" fmla="*/ 7384 h 10714"/>
                <a:gd name="connsiteX212" fmla="*/ 4979 w 10000"/>
                <a:gd name="connsiteY212" fmla="*/ 7133 h 10714"/>
                <a:gd name="connsiteX213" fmla="*/ 4950 w 10000"/>
                <a:gd name="connsiteY213" fmla="*/ 6892 h 10714"/>
                <a:gd name="connsiteX214" fmla="*/ 4913 w 10000"/>
                <a:gd name="connsiteY214" fmla="*/ 6657 h 10714"/>
                <a:gd name="connsiteX215" fmla="*/ 4858 w 10000"/>
                <a:gd name="connsiteY215" fmla="*/ 6430 h 10714"/>
                <a:gd name="connsiteX216" fmla="*/ 4783 w 10000"/>
                <a:gd name="connsiteY216" fmla="*/ 6219 h 10714"/>
                <a:gd name="connsiteX217" fmla="*/ 4700 w 10000"/>
                <a:gd name="connsiteY217" fmla="*/ 6019 h 10714"/>
                <a:gd name="connsiteX218" fmla="*/ 4600 w 10000"/>
                <a:gd name="connsiteY218" fmla="*/ 5840 h 10714"/>
                <a:gd name="connsiteX219" fmla="*/ 4488 w 10000"/>
                <a:gd name="connsiteY219" fmla="*/ 5682 h 10714"/>
                <a:gd name="connsiteX220" fmla="*/ 4358 w 10000"/>
                <a:gd name="connsiteY220" fmla="*/ 5542 h 10714"/>
                <a:gd name="connsiteX221" fmla="*/ 4213 w 10000"/>
                <a:gd name="connsiteY221" fmla="*/ 5429 h 10714"/>
                <a:gd name="connsiteX222" fmla="*/ 4046 w 10000"/>
                <a:gd name="connsiteY222" fmla="*/ 5343 h 10714"/>
                <a:gd name="connsiteX223" fmla="*/ 3904 w 10000"/>
                <a:gd name="connsiteY223" fmla="*/ 5292 h 10714"/>
                <a:gd name="connsiteX224" fmla="*/ 3746 w 10000"/>
                <a:gd name="connsiteY224" fmla="*/ 5271 h 10714"/>
                <a:gd name="connsiteX225" fmla="*/ 3583 w 10000"/>
                <a:gd name="connsiteY225" fmla="*/ 5271 h 10714"/>
                <a:gd name="connsiteX226" fmla="*/ 3413 w 10000"/>
                <a:gd name="connsiteY226" fmla="*/ 5286 h 10714"/>
                <a:gd name="connsiteX227" fmla="*/ 3246 w 10000"/>
                <a:gd name="connsiteY227" fmla="*/ 5310 h 10714"/>
                <a:gd name="connsiteX228" fmla="*/ 3079 w 10000"/>
                <a:gd name="connsiteY228" fmla="*/ 5343 h 10714"/>
                <a:gd name="connsiteX229" fmla="*/ 2913 w 10000"/>
                <a:gd name="connsiteY229" fmla="*/ 5369 h 10714"/>
                <a:gd name="connsiteX230" fmla="*/ 2750 w 10000"/>
                <a:gd name="connsiteY230" fmla="*/ 5396 h 10714"/>
                <a:gd name="connsiteX231" fmla="*/ 2600 w 10000"/>
                <a:gd name="connsiteY231" fmla="*/ 5411 h 10714"/>
                <a:gd name="connsiteX232" fmla="*/ 2258 w 10000"/>
                <a:gd name="connsiteY232" fmla="*/ 5423 h 10714"/>
                <a:gd name="connsiteX233" fmla="*/ 1925 w 10000"/>
                <a:gd name="connsiteY233" fmla="*/ 5411 h 10714"/>
                <a:gd name="connsiteX234" fmla="*/ 1617 w 10000"/>
                <a:gd name="connsiteY234" fmla="*/ 5384 h 10714"/>
                <a:gd name="connsiteX235" fmla="*/ 1321 w 10000"/>
                <a:gd name="connsiteY235" fmla="*/ 5346 h 10714"/>
                <a:gd name="connsiteX236" fmla="*/ 1033 w 10000"/>
                <a:gd name="connsiteY236" fmla="*/ 5298 h 10714"/>
                <a:gd name="connsiteX237" fmla="*/ 758 w 10000"/>
                <a:gd name="connsiteY237" fmla="*/ 5250 h 10714"/>
                <a:gd name="connsiteX238" fmla="*/ 500 w 10000"/>
                <a:gd name="connsiteY238" fmla="*/ 5197 h 10714"/>
                <a:gd name="connsiteX239" fmla="*/ 517 w 10000"/>
                <a:gd name="connsiteY239" fmla="*/ 5137 h 10714"/>
                <a:gd name="connsiteX240" fmla="*/ 871 w 10000"/>
                <a:gd name="connsiteY240" fmla="*/ 5173 h 10714"/>
                <a:gd name="connsiteX241" fmla="*/ 1221 w 10000"/>
                <a:gd name="connsiteY241" fmla="*/ 5197 h 10714"/>
                <a:gd name="connsiteX242" fmla="*/ 1563 w 10000"/>
                <a:gd name="connsiteY242" fmla="*/ 5206 h 10714"/>
                <a:gd name="connsiteX243" fmla="*/ 1896 w 10000"/>
                <a:gd name="connsiteY243" fmla="*/ 5197 h 10714"/>
                <a:gd name="connsiteX244" fmla="*/ 2221 w 10000"/>
                <a:gd name="connsiteY244" fmla="*/ 5164 h 10714"/>
                <a:gd name="connsiteX245" fmla="*/ 2538 w 10000"/>
                <a:gd name="connsiteY245" fmla="*/ 5113 h 10714"/>
                <a:gd name="connsiteX246" fmla="*/ 2842 w 10000"/>
                <a:gd name="connsiteY246" fmla="*/ 5045 h 10714"/>
                <a:gd name="connsiteX247" fmla="*/ 3129 w 10000"/>
                <a:gd name="connsiteY247" fmla="*/ 4946 h 10714"/>
                <a:gd name="connsiteX248" fmla="*/ 3500 w 10000"/>
                <a:gd name="connsiteY248" fmla="*/ 4815 h 10714"/>
                <a:gd name="connsiteX249" fmla="*/ 2821 w 10000"/>
                <a:gd name="connsiteY249" fmla="*/ 4389 h 10714"/>
                <a:gd name="connsiteX250" fmla="*/ 2213 w 10000"/>
                <a:gd name="connsiteY250" fmla="*/ 3912 h 10714"/>
                <a:gd name="connsiteX251" fmla="*/ 1879 w 10000"/>
                <a:gd name="connsiteY251" fmla="*/ 3939 h 10714"/>
                <a:gd name="connsiteX252" fmla="*/ 1554 w 10000"/>
                <a:gd name="connsiteY252" fmla="*/ 3939 h 10714"/>
                <a:gd name="connsiteX253" fmla="*/ 1258 w 10000"/>
                <a:gd name="connsiteY253" fmla="*/ 3912 h 10714"/>
                <a:gd name="connsiteX254" fmla="*/ 979 w 10000"/>
                <a:gd name="connsiteY254" fmla="*/ 3856 h 10714"/>
                <a:gd name="connsiteX255" fmla="*/ 721 w 10000"/>
                <a:gd name="connsiteY255" fmla="*/ 3775 h 10714"/>
                <a:gd name="connsiteX256" fmla="*/ 496 w 10000"/>
                <a:gd name="connsiteY256" fmla="*/ 3674 h 10714"/>
                <a:gd name="connsiteX257" fmla="*/ 296 w 10000"/>
                <a:gd name="connsiteY257" fmla="*/ 3549 h 10714"/>
                <a:gd name="connsiteX258" fmla="*/ 129 w 10000"/>
                <a:gd name="connsiteY258" fmla="*/ 3403 h 10714"/>
                <a:gd name="connsiteX259" fmla="*/ 0 w 10000"/>
                <a:gd name="connsiteY259" fmla="*/ 3245 h 10714"/>
                <a:gd name="connsiteX260" fmla="*/ 17 w 10000"/>
                <a:gd name="connsiteY260" fmla="*/ 3218 h 10714"/>
                <a:gd name="connsiteX261" fmla="*/ 71 w 10000"/>
                <a:gd name="connsiteY261" fmla="*/ 3245 h 10714"/>
                <a:gd name="connsiteX262" fmla="*/ 138 w 10000"/>
                <a:gd name="connsiteY262" fmla="*/ 3349 h 10714"/>
                <a:gd name="connsiteX263" fmla="*/ 246 w 10000"/>
                <a:gd name="connsiteY263" fmla="*/ 3439 h 10714"/>
                <a:gd name="connsiteX264" fmla="*/ 379 w 10000"/>
                <a:gd name="connsiteY264" fmla="*/ 3528 h 10714"/>
                <a:gd name="connsiteX265" fmla="*/ 538 w 10000"/>
                <a:gd name="connsiteY265" fmla="*/ 3597 h 10714"/>
                <a:gd name="connsiteX266" fmla="*/ 721 w 10000"/>
                <a:gd name="connsiteY266" fmla="*/ 3656 h 10714"/>
                <a:gd name="connsiteX267" fmla="*/ 913 w 10000"/>
                <a:gd name="connsiteY267" fmla="*/ 3701 h 10714"/>
                <a:gd name="connsiteX268" fmla="*/ 1117 w 10000"/>
                <a:gd name="connsiteY268" fmla="*/ 3728 h 10714"/>
                <a:gd name="connsiteX269" fmla="*/ 1329 w 10000"/>
                <a:gd name="connsiteY269" fmla="*/ 3737 h 10714"/>
                <a:gd name="connsiteX270" fmla="*/ 1533 w 10000"/>
                <a:gd name="connsiteY270" fmla="*/ 3734 h 10714"/>
                <a:gd name="connsiteX271" fmla="*/ 1646 w 10000"/>
                <a:gd name="connsiteY271" fmla="*/ 3722 h 10714"/>
                <a:gd name="connsiteX272" fmla="*/ 1746 w 10000"/>
                <a:gd name="connsiteY272" fmla="*/ 3722 h 10714"/>
                <a:gd name="connsiteX273" fmla="*/ 1833 w 10000"/>
                <a:gd name="connsiteY273" fmla="*/ 3710 h 10714"/>
                <a:gd name="connsiteX274" fmla="*/ 1917 w 10000"/>
                <a:gd name="connsiteY274" fmla="*/ 3695 h 10714"/>
                <a:gd name="connsiteX275" fmla="*/ 1988 w 10000"/>
                <a:gd name="connsiteY275" fmla="*/ 3662 h 10714"/>
                <a:gd name="connsiteX276" fmla="*/ 1788 w 10000"/>
                <a:gd name="connsiteY276" fmla="*/ 3391 h 10714"/>
                <a:gd name="connsiteX277" fmla="*/ 1617 w 10000"/>
                <a:gd name="connsiteY277" fmla="*/ 3126 h 10714"/>
                <a:gd name="connsiteX278" fmla="*/ 1454 w 10000"/>
                <a:gd name="connsiteY278" fmla="*/ 2849 h 10714"/>
                <a:gd name="connsiteX279" fmla="*/ 1313 w 10000"/>
                <a:gd name="connsiteY279" fmla="*/ 2563 h 10714"/>
                <a:gd name="connsiteX280" fmla="*/ 1175 w 10000"/>
                <a:gd name="connsiteY280" fmla="*/ 2253 h 10714"/>
                <a:gd name="connsiteX281" fmla="*/ 1046 w 10000"/>
                <a:gd name="connsiteY281" fmla="*/ 1919 h 10714"/>
                <a:gd name="connsiteX282" fmla="*/ 1033 w 10000"/>
                <a:gd name="connsiteY282" fmla="*/ 1859 h 10714"/>
                <a:gd name="connsiteX283" fmla="*/ 1000 w 10000"/>
                <a:gd name="connsiteY283" fmla="*/ 1776 h 10714"/>
                <a:gd name="connsiteX284" fmla="*/ 979 w 10000"/>
                <a:gd name="connsiteY284" fmla="*/ 1684 h 10714"/>
                <a:gd name="connsiteX285" fmla="*/ 950 w 10000"/>
                <a:gd name="connsiteY285" fmla="*/ 1591 h 10714"/>
                <a:gd name="connsiteX286" fmla="*/ 925 w 10000"/>
                <a:gd name="connsiteY286" fmla="*/ 1490 h 10714"/>
                <a:gd name="connsiteX287" fmla="*/ 917 w 10000"/>
                <a:gd name="connsiteY287" fmla="*/ 1397 h 10714"/>
                <a:gd name="connsiteX288" fmla="*/ 917 w 10000"/>
                <a:gd name="connsiteY288" fmla="*/ 1311 h 10714"/>
                <a:gd name="connsiteX289" fmla="*/ 933 w 10000"/>
                <a:gd name="connsiteY289" fmla="*/ 1234 h 10714"/>
                <a:gd name="connsiteX290" fmla="*/ 963 w 10000"/>
                <a:gd name="connsiteY290" fmla="*/ 1180 h 10714"/>
                <a:gd name="connsiteX291" fmla="*/ 1000 w 10000"/>
                <a:gd name="connsiteY291" fmla="*/ 1192 h 10714"/>
                <a:gd name="connsiteX292" fmla="*/ 1033 w 10000"/>
                <a:gd name="connsiteY292" fmla="*/ 1496 h 10714"/>
                <a:gd name="connsiteX293" fmla="*/ 1108 w 10000"/>
                <a:gd name="connsiteY293" fmla="*/ 1800 h 10714"/>
                <a:gd name="connsiteX294" fmla="*/ 1221 w 10000"/>
                <a:gd name="connsiteY294" fmla="*/ 2098 h 10714"/>
                <a:gd name="connsiteX295" fmla="*/ 1358 w 10000"/>
                <a:gd name="connsiteY295" fmla="*/ 2372 h 10714"/>
                <a:gd name="connsiteX296" fmla="*/ 1508 w 10000"/>
                <a:gd name="connsiteY296" fmla="*/ 2628 h 10714"/>
                <a:gd name="connsiteX297" fmla="*/ 1646 w 10000"/>
                <a:gd name="connsiteY297" fmla="*/ 2795 h 10714"/>
                <a:gd name="connsiteX298" fmla="*/ 1629 w 10000"/>
                <a:gd name="connsiteY298" fmla="*/ 2801 h 10714"/>
                <a:gd name="connsiteX299" fmla="*/ 1629 w 10000"/>
                <a:gd name="connsiteY299" fmla="*/ 2807 h 10714"/>
                <a:gd name="connsiteX300" fmla="*/ 1638 w 10000"/>
                <a:gd name="connsiteY300" fmla="*/ 2813 h 10714"/>
                <a:gd name="connsiteX301" fmla="*/ 1646 w 10000"/>
                <a:gd name="connsiteY301" fmla="*/ 2816 h 10714"/>
                <a:gd name="connsiteX302" fmla="*/ 1663 w 10000"/>
                <a:gd name="connsiteY302" fmla="*/ 2822 h 10714"/>
                <a:gd name="connsiteX303" fmla="*/ 1667 w 10000"/>
                <a:gd name="connsiteY303" fmla="*/ 2834 h 10714"/>
                <a:gd name="connsiteX304" fmla="*/ 1675 w 10000"/>
                <a:gd name="connsiteY304" fmla="*/ 2840 h 10714"/>
                <a:gd name="connsiteX305" fmla="*/ 1683 w 10000"/>
                <a:gd name="connsiteY305" fmla="*/ 2849 h 10714"/>
                <a:gd name="connsiteX306" fmla="*/ 1683 w 10000"/>
                <a:gd name="connsiteY306" fmla="*/ 2843 h 10714"/>
                <a:gd name="connsiteX307" fmla="*/ 1675 w 10000"/>
                <a:gd name="connsiteY307" fmla="*/ 2840 h 10714"/>
                <a:gd name="connsiteX308" fmla="*/ 1675 w 10000"/>
                <a:gd name="connsiteY308" fmla="*/ 2840 h 10714"/>
                <a:gd name="connsiteX309" fmla="*/ 1646 w 10000"/>
                <a:gd name="connsiteY309" fmla="*/ 2795 h 10714"/>
                <a:gd name="connsiteX310" fmla="*/ 1746 w 10000"/>
                <a:gd name="connsiteY310" fmla="*/ 2741 h 10714"/>
                <a:gd name="connsiteX311" fmla="*/ 1842 w 10000"/>
                <a:gd name="connsiteY311" fmla="*/ 2649 h 10714"/>
                <a:gd name="connsiteX312" fmla="*/ 1933 w 10000"/>
                <a:gd name="connsiteY312" fmla="*/ 2542 h 10714"/>
                <a:gd name="connsiteX313" fmla="*/ 2017 w 10000"/>
                <a:gd name="connsiteY313" fmla="*/ 2411 h 10714"/>
                <a:gd name="connsiteX314" fmla="*/ 2092 w 10000"/>
                <a:gd name="connsiteY314" fmla="*/ 2265 h 10714"/>
                <a:gd name="connsiteX315" fmla="*/ 2163 w 10000"/>
                <a:gd name="connsiteY315" fmla="*/ 2113 h 10714"/>
                <a:gd name="connsiteX316" fmla="*/ 2221 w 10000"/>
                <a:gd name="connsiteY316" fmla="*/ 1955 h 10714"/>
                <a:gd name="connsiteX317" fmla="*/ 2275 w 10000"/>
                <a:gd name="connsiteY317" fmla="*/ 1803 h 10714"/>
                <a:gd name="connsiteX318" fmla="*/ 2321 w 10000"/>
                <a:gd name="connsiteY318" fmla="*/ 1657 h 10714"/>
                <a:gd name="connsiteX319" fmla="*/ 2329 w 10000"/>
                <a:gd name="connsiteY319" fmla="*/ 1853 h 10714"/>
                <a:gd name="connsiteX320" fmla="*/ 2321 w 10000"/>
                <a:gd name="connsiteY320" fmla="*/ 2032 h 10714"/>
                <a:gd name="connsiteX321" fmla="*/ 2283 w 10000"/>
                <a:gd name="connsiteY321" fmla="*/ 2199 h 10714"/>
                <a:gd name="connsiteX322" fmla="*/ 2229 w 10000"/>
                <a:gd name="connsiteY322" fmla="*/ 2366 h 10714"/>
                <a:gd name="connsiteX323" fmla="*/ 2154 w 10000"/>
                <a:gd name="connsiteY323" fmla="*/ 2524 h 10714"/>
                <a:gd name="connsiteX324" fmla="*/ 2046 w 10000"/>
                <a:gd name="connsiteY324" fmla="*/ 2682 h 10714"/>
                <a:gd name="connsiteX325" fmla="*/ 1796 w 10000"/>
                <a:gd name="connsiteY325" fmla="*/ 3027 h 10714"/>
                <a:gd name="connsiteX326" fmla="*/ 2054 w 10000"/>
                <a:gd name="connsiteY326" fmla="*/ 3305 h 10714"/>
                <a:gd name="connsiteX327" fmla="*/ 2333 w 10000"/>
                <a:gd name="connsiteY327" fmla="*/ 3564 h 10714"/>
                <a:gd name="connsiteX328" fmla="*/ 2638 w 10000"/>
                <a:gd name="connsiteY328" fmla="*/ 3808 h 10714"/>
                <a:gd name="connsiteX329" fmla="*/ 2963 w 10000"/>
                <a:gd name="connsiteY329" fmla="*/ 4032 h 10714"/>
                <a:gd name="connsiteX330" fmla="*/ 4129 w 10000"/>
                <a:gd name="connsiteY330" fmla="*/ 4610 h 10714"/>
                <a:gd name="connsiteX331" fmla="*/ 4167 w 10000"/>
                <a:gd name="connsiteY331" fmla="*/ 4589 h 10714"/>
                <a:gd name="connsiteX332" fmla="*/ 4071 w 10000"/>
                <a:gd name="connsiteY332" fmla="*/ 4333 h 10714"/>
                <a:gd name="connsiteX333" fmla="*/ 3996 w 10000"/>
                <a:gd name="connsiteY333" fmla="*/ 4058 h 10714"/>
                <a:gd name="connsiteX334" fmla="*/ 3933 w 10000"/>
                <a:gd name="connsiteY334" fmla="*/ 3760 h 10714"/>
                <a:gd name="connsiteX335" fmla="*/ 3904 w 10000"/>
                <a:gd name="connsiteY335" fmla="*/ 3456 h 10714"/>
                <a:gd name="connsiteX336" fmla="*/ 3879 w 10000"/>
                <a:gd name="connsiteY336" fmla="*/ 3138 h 10714"/>
                <a:gd name="connsiteX337" fmla="*/ 3879 w 10000"/>
                <a:gd name="connsiteY337" fmla="*/ 2813 h 10714"/>
                <a:gd name="connsiteX338" fmla="*/ 3896 w 10000"/>
                <a:gd name="connsiteY338" fmla="*/ 2485 h 10714"/>
                <a:gd name="connsiteX339" fmla="*/ 3933 w 10000"/>
                <a:gd name="connsiteY339" fmla="*/ 2160 h 10714"/>
                <a:gd name="connsiteX340" fmla="*/ 3988 w 10000"/>
                <a:gd name="connsiteY340" fmla="*/ 1836 h 10714"/>
                <a:gd name="connsiteX341" fmla="*/ 4046 w 10000"/>
                <a:gd name="connsiteY341" fmla="*/ 1523 h 10714"/>
                <a:gd name="connsiteX342" fmla="*/ 4129 w 10000"/>
                <a:gd name="connsiteY342" fmla="*/ 1219 h 10714"/>
                <a:gd name="connsiteX343" fmla="*/ 4229 w 10000"/>
                <a:gd name="connsiteY343" fmla="*/ 933 h 10714"/>
                <a:gd name="connsiteX344" fmla="*/ 4333 w 10000"/>
                <a:gd name="connsiteY344" fmla="*/ 662 h 10714"/>
                <a:gd name="connsiteX345" fmla="*/ 4454 w 10000"/>
                <a:gd name="connsiteY345" fmla="*/ 417 h 10714"/>
                <a:gd name="connsiteX346" fmla="*/ 4583 w 10000"/>
                <a:gd name="connsiteY346" fmla="*/ 194 h 10714"/>
                <a:gd name="connsiteX347" fmla="*/ 4738 w 10000"/>
                <a:gd name="connsiteY347" fmla="*/ 0 h 10714"/>
                <a:gd name="connsiteX0" fmla="*/ 4738 w 10000"/>
                <a:gd name="connsiteY0" fmla="*/ 0 h 10714"/>
                <a:gd name="connsiteX1" fmla="*/ 4721 w 10000"/>
                <a:gd name="connsiteY1" fmla="*/ 48 h 10714"/>
                <a:gd name="connsiteX2" fmla="*/ 4713 w 10000"/>
                <a:gd name="connsiteY2" fmla="*/ 80 h 10714"/>
                <a:gd name="connsiteX3" fmla="*/ 4704 w 10000"/>
                <a:gd name="connsiteY3" fmla="*/ 101 h 10714"/>
                <a:gd name="connsiteX4" fmla="*/ 4704 w 10000"/>
                <a:gd name="connsiteY4" fmla="*/ 113 h 10714"/>
                <a:gd name="connsiteX5" fmla="*/ 4713 w 10000"/>
                <a:gd name="connsiteY5" fmla="*/ 119 h 10714"/>
                <a:gd name="connsiteX6" fmla="*/ 4713 w 10000"/>
                <a:gd name="connsiteY6" fmla="*/ 125 h 10714"/>
                <a:gd name="connsiteX7" fmla="*/ 4721 w 10000"/>
                <a:gd name="connsiteY7" fmla="*/ 125 h 10714"/>
                <a:gd name="connsiteX8" fmla="*/ 4721 w 10000"/>
                <a:gd name="connsiteY8" fmla="*/ 125 h 10714"/>
                <a:gd name="connsiteX9" fmla="*/ 4721 w 10000"/>
                <a:gd name="connsiteY9" fmla="*/ 134 h 10714"/>
                <a:gd name="connsiteX10" fmla="*/ 4713 w 10000"/>
                <a:gd name="connsiteY10" fmla="*/ 152 h 10714"/>
                <a:gd name="connsiteX11" fmla="*/ 4704 w 10000"/>
                <a:gd name="connsiteY11" fmla="*/ 179 h 10714"/>
                <a:gd name="connsiteX12" fmla="*/ 4692 w 10000"/>
                <a:gd name="connsiteY12" fmla="*/ 221 h 10714"/>
                <a:gd name="connsiteX13" fmla="*/ 4667 w 10000"/>
                <a:gd name="connsiteY13" fmla="*/ 280 h 10714"/>
                <a:gd name="connsiteX14" fmla="*/ 4629 w 10000"/>
                <a:gd name="connsiteY14" fmla="*/ 364 h 10714"/>
                <a:gd name="connsiteX15" fmla="*/ 4592 w 10000"/>
                <a:gd name="connsiteY15" fmla="*/ 465 h 10714"/>
                <a:gd name="connsiteX16" fmla="*/ 4533 w 10000"/>
                <a:gd name="connsiteY16" fmla="*/ 596 h 10714"/>
                <a:gd name="connsiteX17" fmla="*/ 4463 w 10000"/>
                <a:gd name="connsiteY17" fmla="*/ 754 h 10714"/>
                <a:gd name="connsiteX18" fmla="*/ 4379 w 10000"/>
                <a:gd name="connsiteY18" fmla="*/ 1001 h 10714"/>
                <a:gd name="connsiteX19" fmla="*/ 4321 w 10000"/>
                <a:gd name="connsiteY19" fmla="*/ 1266 h 10714"/>
                <a:gd name="connsiteX20" fmla="*/ 4275 w 10000"/>
                <a:gd name="connsiteY20" fmla="*/ 1538 h 10714"/>
                <a:gd name="connsiteX21" fmla="*/ 4213 w 10000"/>
                <a:gd name="connsiteY21" fmla="*/ 1827 h 10714"/>
                <a:gd name="connsiteX22" fmla="*/ 4204 w 10000"/>
                <a:gd name="connsiteY22" fmla="*/ 1889 h 10714"/>
                <a:gd name="connsiteX23" fmla="*/ 4192 w 10000"/>
                <a:gd name="connsiteY23" fmla="*/ 1982 h 10714"/>
                <a:gd name="connsiteX24" fmla="*/ 4183 w 10000"/>
                <a:gd name="connsiteY24" fmla="*/ 2080 h 10714"/>
                <a:gd name="connsiteX25" fmla="*/ 4175 w 10000"/>
                <a:gd name="connsiteY25" fmla="*/ 2187 h 10714"/>
                <a:gd name="connsiteX26" fmla="*/ 4175 w 10000"/>
                <a:gd name="connsiteY26" fmla="*/ 2297 h 10714"/>
                <a:gd name="connsiteX27" fmla="*/ 4192 w 10000"/>
                <a:gd name="connsiteY27" fmla="*/ 2396 h 10714"/>
                <a:gd name="connsiteX28" fmla="*/ 4213 w 10000"/>
                <a:gd name="connsiteY28" fmla="*/ 2482 h 10714"/>
                <a:gd name="connsiteX29" fmla="*/ 4250 w 10000"/>
                <a:gd name="connsiteY29" fmla="*/ 2542 h 10714"/>
                <a:gd name="connsiteX30" fmla="*/ 4450 w 10000"/>
                <a:gd name="connsiteY30" fmla="*/ 2530 h 10714"/>
                <a:gd name="connsiteX31" fmla="*/ 4646 w 10000"/>
                <a:gd name="connsiteY31" fmla="*/ 2482 h 10714"/>
                <a:gd name="connsiteX32" fmla="*/ 4833 w 10000"/>
                <a:gd name="connsiteY32" fmla="*/ 2405 h 10714"/>
                <a:gd name="connsiteX33" fmla="*/ 5025 w 10000"/>
                <a:gd name="connsiteY33" fmla="*/ 2297 h 10714"/>
                <a:gd name="connsiteX34" fmla="*/ 5200 w 10000"/>
                <a:gd name="connsiteY34" fmla="*/ 2172 h 10714"/>
                <a:gd name="connsiteX35" fmla="*/ 5371 w 10000"/>
                <a:gd name="connsiteY35" fmla="*/ 2020 h 10714"/>
                <a:gd name="connsiteX36" fmla="*/ 5533 w 10000"/>
                <a:gd name="connsiteY36" fmla="*/ 1859 h 10714"/>
                <a:gd name="connsiteX37" fmla="*/ 5683 w 10000"/>
                <a:gd name="connsiteY37" fmla="*/ 1690 h 10714"/>
                <a:gd name="connsiteX38" fmla="*/ 5829 w 10000"/>
                <a:gd name="connsiteY38" fmla="*/ 1511 h 10714"/>
                <a:gd name="connsiteX39" fmla="*/ 5954 w 10000"/>
                <a:gd name="connsiteY39" fmla="*/ 1326 h 10714"/>
                <a:gd name="connsiteX40" fmla="*/ 6071 w 10000"/>
                <a:gd name="connsiteY40" fmla="*/ 1147 h 10714"/>
                <a:gd name="connsiteX41" fmla="*/ 6167 w 10000"/>
                <a:gd name="connsiteY41" fmla="*/ 974 h 10714"/>
                <a:gd name="connsiteX42" fmla="*/ 6213 w 10000"/>
                <a:gd name="connsiteY42" fmla="*/ 974 h 10714"/>
                <a:gd name="connsiteX43" fmla="*/ 6213 w 10000"/>
                <a:gd name="connsiteY43" fmla="*/ 992 h 10714"/>
                <a:gd name="connsiteX44" fmla="*/ 6138 w 10000"/>
                <a:gd name="connsiteY44" fmla="*/ 1165 h 10714"/>
                <a:gd name="connsiteX45" fmla="*/ 6054 w 10000"/>
                <a:gd name="connsiteY45" fmla="*/ 1344 h 10714"/>
                <a:gd name="connsiteX46" fmla="*/ 5963 w 10000"/>
                <a:gd name="connsiteY46" fmla="*/ 1517 h 10714"/>
                <a:gd name="connsiteX47" fmla="*/ 5871 w 10000"/>
                <a:gd name="connsiteY47" fmla="*/ 1684 h 10714"/>
                <a:gd name="connsiteX48" fmla="*/ 5775 w 10000"/>
                <a:gd name="connsiteY48" fmla="*/ 1847 h 10714"/>
                <a:gd name="connsiteX49" fmla="*/ 5667 w 10000"/>
                <a:gd name="connsiteY49" fmla="*/ 1999 h 10714"/>
                <a:gd name="connsiteX50" fmla="*/ 5554 w 10000"/>
                <a:gd name="connsiteY50" fmla="*/ 2145 h 10714"/>
                <a:gd name="connsiteX51" fmla="*/ 5417 w 10000"/>
                <a:gd name="connsiteY51" fmla="*/ 2279 h 10714"/>
                <a:gd name="connsiteX52" fmla="*/ 5275 w 10000"/>
                <a:gd name="connsiteY52" fmla="*/ 2411 h 10714"/>
                <a:gd name="connsiteX53" fmla="*/ 5108 w 10000"/>
                <a:gd name="connsiteY53" fmla="*/ 2518 h 10714"/>
                <a:gd name="connsiteX54" fmla="*/ 4917 w 10000"/>
                <a:gd name="connsiteY54" fmla="*/ 2616 h 10714"/>
                <a:gd name="connsiteX55" fmla="*/ 4704 w 10000"/>
                <a:gd name="connsiteY55" fmla="*/ 2703 h 10714"/>
                <a:gd name="connsiteX56" fmla="*/ 4479 w 10000"/>
                <a:gd name="connsiteY56" fmla="*/ 2768 h 10714"/>
                <a:gd name="connsiteX57" fmla="*/ 4213 w 10000"/>
                <a:gd name="connsiteY57" fmla="*/ 2813 h 10714"/>
                <a:gd name="connsiteX58" fmla="*/ 4221 w 10000"/>
                <a:gd name="connsiteY58" fmla="*/ 3126 h 10714"/>
                <a:gd name="connsiteX59" fmla="*/ 4258 w 10000"/>
                <a:gd name="connsiteY59" fmla="*/ 3424 h 10714"/>
                <a:gd name="connsiteX60" fmla="*/ 4321 w 10000"/>
                <a:gd name="connsiteY60" fmla="*/ 3707 h 10714"/>
                <a:gd name="connsiteX61" fmla="*/ 4404 w 10000"/>
                <a:gd name="connsiteY61" fmla="*/ 3975 h 10714"/>
                <a:gd name="connsiteX62" fmla="*/ 4508 w 10000"/>
                <a:gd name="connsiteY62" fmla="*/ 4231 h 10714"/>
                <a:gd name="connsiteX63" fmla="*/ 4621 w 10000"/>
                <a:gd name="connsiteY63" fmla="*/ 4476 h 10714"/>
                <a:gd name="connsiteX64" fmla="*/ 4750 w 10000"/>
                <a:gd name="connsiteY64" fmla="*/ 4708 h 10714"/>
                <a:gd name="connsiteX65" fmla="*/ 4879 w 10000"/>
                <a:gd name="connsiteY65" fmla="*/ 4934 h 10714"/>
                <a:gd name="connsiteX66" fmla="*/ 4917 w 10000"/>
                <a:gd name="connsiteY66" fmla="*/ 4988 h 10714"/>
                <a:gd name="connsiteX67" fmla="*/ 4950 w 10000"/>
                <a:gd name="connsiteY67" fmla="*/ 5054 h 10714"/>
                <a:gd name="connsiteX68" fmla="*/ 4996 w 10000"/>
                <a:gd name="connsiteY68" fmla="*/ 5125 h 10714"/>
                <a:gd name="connsiteX69" fmla="*/ 5038 w 10000"/>
                <a:gd name="connsiteY69" fmla="*/ 5200 h 10714"/>
                <a:gd name="connsiteX70" fmla="*/ 5092 w 10000"/>
                <a:gd name="connsiteY70" fmla="*/ 5271 h 10714"/>
                <a:gd name="connsiteX71" fmla="*/ 5154 w 10000"/>
                <a:gd name="connsiteY71" fmla="*/ 5331 h 10714"/>
                <a:gd name="connsiteX72" fmla="*/ 5229 w 10000"/>
                <a:gd name="connsiteY72" fmla="*/ 5384 h 10714"/>
                <a:gd name="connsiteX73" fmla="*/ 5313 w 10000"/>
                <a:gd name="connsiteY73" fmla="*/ 5423 h 10714"/>
                <a:gd name="connsiteX74" fmla="*/ 5413 w 10000"/>
                <a:gd name="connsiteY74" fmla="*/ 5438 h 10714"/>
                <a:gd name="connsiteX75" fmla="*/ 5517 w 10000"/>
                <a:gd name="connsiteY75" fmla="*/ 5435 h 10714"/>
                <a:gd name="connsiteX76" fmla="*/ 5704 w 10000"/>
                <a:gd name="connsiteY76" fmla="*/ 5390 h 10714"/>
                <a:gd name="connsiteX77" fmla="*/ 5871 w 10000"/>
                <a:gd name="connsiteY77" fmla="*/ 5316 h 10714"/>
                <a:gd name="connsiteX78" fmla="*/ 6033 w 10000"/>
                <a:gd name="connsiteY78" fmla="*/ 5223 h 10714"/>
                <a:gd name="connsiteX79" fmla="*/ 6167 w 10000"/>
                <a:gd name="connsiteY79" fmla="*/ 5113 h 10714"/>
                <a:gd name="connsiteX80" fmla="*/ 6296 w 10000"/>
                <a:gd name="connsiteY80" fmla="*/ 4994 h 10714"/>
                <a:gd name="connsiteX81" fmla="*/ 6417 w 10000"/>
                <a:gd name="connsiteY81" fmla="*/ 4869 h 10714"/>
                <a:gd name="connsiteX82" fmla="*/ 6525 w 10000"/>
                <a:gd name="connsiteY82" fmla="*/ 4750 h 10714"/>
                <a:gd name="connsiteX83" fmla="*/ 6617 w 10000"/>
                <a:gd name="connsiteY83" fmla="*/ 4636 h 10714"/>
                <a:gd name="connsiteX84" fmla="*/ 6821 w 10000"/>
                <a:gd name="connsiteY84" fmla="*/ 4377 h 10714"/>
                <a:gd name="connsiteX85" fmla="*/ 7017 w 10000"/>
                <a:gd name="connsiteY85" fmla="*/ 4085 h 10714"/>
                <a:gd name="connsiteX86" fmla="*/ 7213 w 10000"/>
                <a:gd name="connsiteY86" fmla="*/ 3766 h 10714"/>
                <a:gd name="connsiteX87" fmla="*/ 7396 w 10000"/>
                <a:gd name="connsiteY87" fmla="*/ 3418 h 10714"/>
                <a:gd name="connsiteX88" fmla="*/ 7563 w 10000"/>
                <a:gd name="connsiteY88" fmla="*/ 3051 h 10714"/>
                <a:gd name="connsiteX89" fmla="*/ 7713 w 10000"/>
                <a:gd name="connsiteY89" fmla="*/ 2661 h 10714"/>
                <a:gd name="connsiteX90" fmla="*/ 7850 w 10000"/>
                <a:gd name="connsiteY90" fmla="*/ 2253 h 10714"/>
                <a:gd name="connsiteX91" fmla="*/ 7950 w 10000"/>
                <a:gd name="connsiteY91" fmla="*/ 1830 h 10714"/>
                <a:gd name="connsiteX92" fmla="*/ 8025 w 10000"/>
                <a:gd name="connsiteY92" fmla="*/ 1397 h 10714"/>
                <a:gd name="connsiteX93" fmla="*/ 8071 w 10000"/>
                <a:gd name="connsiteY93" fmla="*/ 954 h 10714"/>
                <a:gd name="connsiteX94" fmla="*/ 8108 w 10000"/>
                <a:gd name="connsiteY94" fmla="*/ 974 h 10714"/>
                <a:gd name="connsiteX95" fmla="*/ 8138 w 10000"/>
                <a:gd name="connsiteY95" fmla="*/ 1025 h 10714"/>
                <a:gd name="connsiteX96" fmla="*/ 8163 w 10000"/>
                <a:gd name="connsiteY96" fmla="*/ 1100 h 10714"/>
                <a:gd name="connsiteX97" fmla="*/ 8175 w 10000"/>
                <a:gd name="connsiteY97" fmla="*/ 1198 h 10714"/>
                <a:gd name="connsiteX98" fmla="*/ 8183 w 10000"/>
                <a:gd name="connsiteY98" fmla="*/ 1311 h 10714"/>
                <a:gd name="connsiteX99" fmla="*/ 8183 w 10000"/>
                <a:gd name="connsiteY99" fmla="*/ 1442 h 10714"/>
                <a:gd name="connsiteX100" fmla="*/ 8183 w 10000"/>
                <a:gd name="connsiteY100" fmla="*/ 1582 h 10714"/>
                <a:gd name="connsiteX101" fmla="*/ 8175 w 10000"/>
                <a:gd name="connsiteY101" fmla="*/ 1734 h 10714"/>
                <a:gd name="connsiteX102" fmla="*/ 8163 w 10000"/>
                <a:gd name="connsiteY102" fmla="*/ 1889 h 10714"/>
                <a:gd name="connsiteX103" fmla="*/ 8146 w 10000"/>
                <a:gd name="connsiteY103" fmla="*/ 2047 h 10714"/>
                <a:gd name="connsiteX104" fmla="*/ 8121 w 10000"/>
                <a:gd name="connsiteY104" fmla="*/ 2205 h 10714"/>
                <a:gd name="connsiteX105" fmla="*/ 8108 w 10000"/>
                <a:gd name="connsiteY105" fmla="*/ 2357 h 10714"/>
                <a:gd name="connsiteX106" fmla="*/ 8083 w 10000"/>
                <a:gd name="connsiteY106" fmla="*/ 2497 h 10714"/>
                <a:gd name="connsiteX107" fmla="*/ 8063 w 10000"/>
                <a:gd name="connsiteY107" fmla="*/ 2628 h 10714"/>
                <a:gd name="connsiteX108" fmla="*/ 8038 w 10000"/>
                <a:gd name="connsiteY108" fmla="*/ 2741 h 10714"/>
                <a:gd name="connsiteX109" fmla="*/ 8017 w 10000"/>
                <a:gd name="connsiteY109" fmla="*/ 2834 h 10714"/>
                <a:gd name="connsiteX110" fmla="*/ 8000 w 10000"/>
                <a:gd name="connsiteY110" fmla="*/ 2908 h 10714"/>
                <a:gd name="connsiteX111" fmla="*/ 7700 w 10000"/>
                <a:gd name="connsiteY111" fmla="*/ 3754 h 10714"/>
                <a:gd name="connsiteX112" fmla="*/ 7942 w 10000"/>
                <a:gd name="connsiteY112" fmla="*/ 3737 h 10714"/>
                <a:gd name="connsiteX113" fmla="*/ 8167 w 10000"/>
                <a:gd name="connsiteY113" fmla="*/ 3695 h 10714"/>
                <a:gd name="connsiteX114" fmla="*/ 8379 w 10000"/>
                <a:gd name="connsiteY114" fmla="*/ 3635 h 10714"/>
                <a:gd name="connsiteX115" fmla="*/ 8583 w 10000"/>
                <a:gd name="connsiteY115" fmla="*/ 3558 h 10714"/>
                <a:gd name="connsiteX116" fmla="*/ 8767 w 10000"/>
                <a:gd name="connsiteY116" fmla="*/ 3471 h 10714"/>
                <a:gd name="connsiteX117" fmla="*/ 8933 w 10000"/>
                <a:gd name="connsiteY117" fmla="*/ 3376 h 10714"/>
                <a:gd name="connsiteX118" fmla="*/ 9092 w 10000"/>
                <a:gd name="connsiteY118" fmla="*/ 3278 h 10714"/>
                <a:gd name="connsiteX119" fmla="*/ 9238 w 10000"/>
                <a:gd name="connsiteY119" fmla="*/ 3185 h 10714"/>
                <a:gd name="connsiteX120" fmla="*/ 9250 w 10000"/>
                <a:gd name="connsiteY120" fmla="*/ 3230 h 10714"/>
                <a:gd name="connsiteX121" fmla="*/ 9117 w 10000"/>
                <a:gd name="connsiteY121" fmla="*/ 3376 h 10714"/>
                <a:gd name="connsiteX122" fmla="*/ 8954 w 10000"/>
                <a:gd name="connsiteY122" fmla="*/ 3516 h 10714"/>
                <a:gd name="connsiteX123" fmla="*/ 8758 w 10000"/>
                <a:gd name="connsiteY123" fmla="*/ 3641 h 10714"/>
                <a:gd name="connsiteX124" fmla="*/ 8538 w 10000"/>
                <a:gd name="connsiteY124" fmla="*/ 3754 h 10714"/>
                <a:gd name="connsiteX125" fmla="*/ 8304 w 10000"/>
                <a:gd name="connsiteY125" fmla="*/ 3856 h 10714"/>
                <a:gd name="connsiteX126" fmla="*/ 8054 w 10000"/>
                <a:gd name="connsiteY126" fmla="*/ 3945 h 10714"/>
                <a:gd name="connsiteX127" fmla="*/ 7796 w 10000"/>
                <a:gd name="connsiteY127" fmla="*/ 4014 h 10714"/>
                <a:gd name="connsiteX128" fmla="*/ 7533 w 10000"/>
                <a:gd name="connsiteY128" fmla="*/ 4064 h 10714"/>
                <a:gd name="connsiteX129" fmla="*/ 7479 w 10000"/>
                <a:gd name="connsiteY129" fmla="*/ 4184 h 10714"/>
                <a:gd name="connsiteX130" fmla="*/ 7404 w 10000"/>
                <a:gd name="connsiteY130" fmla="*/ 4324 h 10714"/>
                <a:gd name="connsiteX131" fmla="*/ 7321 w 10000"/>
                <a:gd name="connsiteY131" fmla="*/ 4470 h 10714"/>
                <a:gd name="connsiteX132" fmla="*/ 7213 w 10000"/>
                <a:gd name="connsiteY132" fmla="*/ 4628 h 10714"/>
                <a:gd name="connsiteX133" fmla="*/ 7100 w 10000"/>
                <a:gd name="connsiteY133" fmla="*/ 4794 h 10714"/>
                <a:gd name="connsiteX134" fmla="*/ 6979 w 10000"/>
                <a:gd name="connsiteY134" fmla="*/ 4958 h 10714"/>
                <a:gd name="connsiteX135" fmla="*/ 6850 w 10000"/>
                <a:gd name="connsiteY135" fmla="*/ 5113 h 10714"/>
                <a:gd name="connsiteX136" fmla="*/ 6721 w 10000"/>
                <a:gd name="connsiteY136" fmla="*/ 5265 h 10714"/>
                <a:gd name="connsiteX137" fmla="*/ 6600 w 10000"/>
                <a:gd name="connsiteY137" fmla="*/ 5405 h 10714"/>
                <a:gd name="connsiteX138" fmla="*/ 6471 w 10000"/>
                <a:gd name="connsiteY138" fmla="*/ 5530 h 10714"/>
                <a:gd name="connsiteX139" fmla="*/ 6358 w 10000"/>
                <a:gd name="connsiteY139" fmla="*/ 5641 h 10714"/>
                <a:gd name="connsiteX140" fmla="*/ 6250 w 10000"/>
                <a:gd name="connsiteY140" fmla="*/ 5721 h 10714"/>
                <a:gd name="connsiteX141" fmla="*/ 6267 w 10000"/>
                <a:gd name="connsiteY141" fmla="*/ 5781 h 10714"/>
                <a:gd name="connsiteX142" fmla="*/ 6296 w 10000"/>
                <a:gd name="connsiteY142" fmla="*/ 5793 h 10714"/>
                <a:gd name="connsiteX143" fmla="*/ 6479 w 10000"/>
                <a:gd name="connsiteY143" fmla="*/ 5754 h 10714"/>
                <a:gd name="connsiteX144" fmla="*/ 6663 w 10000"/>
                <a:gd name="connsiteY144" fmla="*/ 5736 h 10714"/>
                <a:gd name="connsiteX145" fmla="*/ 6858 w 10000"/>
                <a:gd name="connsiteY145" fmla="*/ 5736 h 10714"/>
                <a:gd name="connsiteX146" fmla="*/ 7046 w 10000"/>
                <a:gd name="connsiteY146" fmla="*/ 5742 h 10714"/>
                <a:gd name="connsiteX147" fmla="*/ 7246 w 10000"/>
                <a:gd name="connsiteY147" fmla="*/ 5748 h 10714"/>
                <a:gd name="connsiteX148" fmla="*/ 7425 w 10000"/>
                <a:gd name="connsiteY148" fmla="*/ 5748 h 10714"/>
                <a:gd name="connsiteX149" fmla="*/ 7600 w 10000"/>
                <a:gd name="connsiteY149" fmla="*/ 5733 h 10714"/>
                <a:gd name="connsiteX150" fmla="*/ 7950 w 10000"/>
                <a:gd name="connsiteY150" fmla="*/ 5673 h 10714"/>
                <a:gd name="connsiteX151" fmla="*/ 8275 w 10000"/>
                <a:gd name="connsiteY151" fmla="*/ 5596 h 10714"/>
                <a:gd name="connsiteX152" fmla="*/ 8579 w 10000"/>
                <a:gd name="connsiteY152" fmla="*/ 5504 h 10714"/>
                <a:gd name="connsiteX153" fmla="*/ 8858 w 10000"/>
                <a:gd name="connsiteY153" fmla="*/ 5390 h 10714"/>
                <a:gd name="connsiteX154" fmla="*/ 9117 w 10000"/>
                <a:gd name="connsiteY154" fmla="*/ 5265 h 10714"/>
                <a:gd name="connsiteX155" fmla="*/ 9350 w 10000"/>
                <a:gd name="connsiteY155" fmla="*/ 5119 h 10714"/>
                <a:gd name="connsiteX156" fmla="*/ 9563 w 10000"/>
                <a:gd name="connsiteY156" fmla="*/ 4967 h 10714"/>
                <a:gd name="connsiteX157" fmla="*/ 9758 w 10000"/>
                <a:gd name="connsiteY157" fmla="*/ 4794 h 10714"/>
                <a:gd name="connsiteX158" fmla="*/ 9933 w 10000"/>
                <a:gd name="connsiteY158" fmla="*/ 4610 h 10714"/>
                <a:gd name="connsiteX159" fmla="*/ 10000 w 10000"/>
                <a:gd name="connsiteY159" fmla="*/ 4648 h 10714"/>
                <a:gd name="connsiteX160" fmla="*/ 10000 w 10000"/>
                <a:gd name="connsiteY160" fmla="*/ 4660 h 10714"/>
                <a:gd name="connsiteX161" fmla="*/ 9904 w 10000"/>
                <a:gd name="connsiteY161" fmla="*/ 4827 h 10714"/>
                <a:gd name="connsiteX162" fmla="*/ 9767 w 10000"/>
                <a:gd name="connsiteY162" fmla="*/ 5000 h 10714"/>
                <a:gd name="connsiteX163" fmla="*/ 9600 w 10000"/>
                <a:gd name="connsiteY163" fmla="*/ 5173 h 10714"/>
                <a:gd name="connsiteX164" fmla="*/ 9404 w 10000"/>
                <a:gd name="connsiteY164" fmla="*/ 5343 h 10714"/>
                <a:gd name="connsiteX165" fmla="*/ 9183 w 10000"/>
                <a:gd name="connsiteY165" fmla="*/ 5504 h 10714"/>
                <a:gd name="connsiteX166" fmla="*/ 8950 w 10000"/>
                <a:gd name="connsiteY166" fmla="*/ 5662 h 10714"/>
                <a:gd name="connsiteX167" fmla="*/ 8704 w 10000"/>
                <a:gd name="connsiteY167" fmla="*/ 5802 h 10714"/>
                <a:gd name="connsiteX168" fmla="*/ 8463 w 10000"/>
                <a:gd name="connsiteY168" fmla="*/ 5927 h 10714"/>
                <a:gd name="connsiteX169" fmla="*/ 8229 w 10000"/>
                <a:gd name="connsiteY169" fmla="*/ 6025 h 10714"/>
                <a:gd name="connsiteX170" fmla="*/ 8000 w 10000"/>
                <a:gd name="connsiteY170" fmla="*/ 6105 h 10714"/>
                <a:gd name="connsiteX171" fmla="*/ 7879 w 10000"/>
                <a:gd name="connsiteY171" fmla="*/ 6132 h 10714"/>
                <a:gd name="connsiteX172" fmla="*/ 7729 w 10000"/>
                <a:gd name="connsiteY172" fmla="*/ 6153 h 10714"/>
                <a:gd name="connsiteX173" fmla="*/ 7563 w 10000"/>
                <a:gd name="connsiteY173" fmla="*/ 6177 h 10714"/>
                <a:gd name="connsiteX174" fmla="*/ 7388 w 10000"/>
                <a:gd name="connsiteY174" fmla="*/ 6198 h 10714"/>
                <a:gd name="connsiteX175" fmla="*/ 7204 w 10000"/>
                <a:gd name="connsiteY175" fmla="*/ 6219 h 10714"/>
                <a:gd name="connsiteX176" fmla="*/ 7017 w 10000"/>
                <a:gd name="connsiteY176" fmla="*/ 6240 h 10714"/>
                <a:gd name="connsiteX177" fmla="*/ 6842 w 10000"/>
                <a:gd name="connsiteY177" fmla="*/ 6263 h 10714"/>
                <a:gd name="connsiteX178" fmla="*/ 6675 w 10000"/>
                <a:gd name="connsiteY178" fmla="*/ 6290 h 10714"/>
                <a:gd name="connsiteX179" fmla="*/ 6517 w 10000"/>
                <a:gd name="connsiteY179" fmla="*/ 6329 h 10714"/>
                <a:gd name="connsiteX180" fmla="*/ 6388 w 10000"/>
                <a:gd name="connsiteY180" fmla="*/ 6365 h 10714"/>
                <a:gd name="connsiteX181" fmla="*/ 6288 w 10000"/>
                <a:gd name="connsiteY181" fmla="*/ 6415 h 10714"/>
                <a:gd name="connsiteX182" fmla="*/ 6213 w 10000"/>
                <a:gd name="connsiteY182" fmla="*/ 6475 h 10714"/>
                <a:gd name="connsiteX183" fmla="*/ 6092 w 10000"/>
                <a:gd name="connsiteY183" fmla="*/ 6648 h 10714"/>
                <a:gd name="connsiteX184" fmla="*/ 6008 w 10000"/>
                <a:gd name="connsiteY184" fmla="*/ 6836 h 10714"/>
                <a:gd name="connsiteX185" fmla="*/ 5942 w 10000"/>
                <a:gd name="connsiteY185" fmla="*/ 7032 h 10714"/>
                <a:gd name="connsiteX186" fmla="*/ 5904 w 10000"/>
                <a:gd name="connsiteY186" fmla="*/ 7232 h 10714"/>
                <a:gd name="connsiteX187" fmla="*/ 5888 w 10000"/>
                <a:gd name="connsiteY187" fmla="*/ 7443 h 10714"/>
                <a:gd name="connsiteX188" fmla="*/ 5879 w 10000"/>
                <a:gd name="connsiteY188" fmla="*/ 7655 h 10714"/>
                <a:gd name="connsiteX189" fmla="*/ 5888 w 10000"/>
                <a:gd name="connsiteY189" fmla="*/ 7867 h 10714"/>
                <a:gd name="connsiteX190" fmla="*/ 5904 w 10000"/>
                <a:gd name="connsiteY190" fmla="*/ 8084 h 10714"/>
                <a:gd name="connsiteX191" fmla="*/ 5925 w 10000"/>
                <a:gd name="connsiteY191" fmla="*/ 8299 h 10714"/>
                <a:gd name="connsiteX192" fmla="*/ 5950 w 10000"/>
                <a:gd name="connsiteY192" fmla="*/ 8510 h 10714"/>
                <a:gd name="connsiteX193" fmla="*/ 5954 w 10000"/>
                <a:gd name="connsiteY193" fmla="*/ 8820 h 10714"/>
                <a:gd name="connsiteX194" fmla="*/ 5933 w 10000"/>
                <a:gd name="connsiteY194" fmla="*/ 9130 h 10714"/>
                <a:gd name="connsiteX195" fmla="*/ 5896 w 10000"/>
                <a:gd name="connsiteY195" fmla="*/ 9428 h 10714"/>
                <a:gd name="connsiteX196" fmla="*/ 5850 w 10000"/>
                <a:gd name="connsiteY196" fmla="*/ 9720 h 10714"/>
                <a:gd name="connsiteX197" fmla="*/ 5756 w 10000"/>
                <a:gd name="connsiteY197" fmla="*/ 10714 h 10714"/>
                <a:gd name="connsiteX198" fmla="*/ 4463 w 10000"/>
                <a:gd name="connsiteY198" fmla="*/ 10000 h 10714"/>
                <a:gd name="connsiteX199" fmla="*/ 3043 w 10000"/>
                <a:gd name="connsiteY199" fmla="*/ 9881 h 10714"/>
                <a:gd name="connsiteX200" fmla="*/ 4546 w 10000"/>
                <a:gd name="connsiteY200" fmla="*/ 9848 h 10714"/>
                <a:gd name="connsiteX201" fmla="*/ 4629 w 10000"/>
                <a:gd name="connsiteY201" fmla="*/ 9687 h 10714"/>
                <a:gd name="connsiteX202" fmla="*/ 4700 w 10000"/>
                <a:gd name="connsiteY202" fmla="*/ 9508 h 10714"/>
                <a:gd name="connsiteX203" fmla="*/ 4767 w 10000"/>
                <a:gd name="connsiteY203" fmla="*/ 9309 h 10714"/>
                <a:gd name="connsiteX204" fmla="*/ 4829 w 10000"/>
                <a:gd name="connsiteY204" fmla="*/ 9097 h 10714"/>
                <a:gd name="connsiteX205" fmla="*/ 4879 w 10000"/>
                <a:gd name="connsiteY205" fmla="*/ 8868 h 10714"/>
                <a:gd name="connsiteX206" fmla="*/ 4917 w 10000"/>
                <a:gd name="connsiteY206" fmla="*/ 8635 h 10714"/>
                <a:gd name="connsiteX207" fmla="*/ 4954 w 10000"/>
                <a:gd name="connsiteY207" fmla="*/ 8391 h 10714"/>
                <a:gd name="connsiteX208" fmla="*/ 4979 w 10000"/>
                <a:gd name="connsiteY208" fmla="*/ 8144 h 10714"/>
                <a:gd name="connsiteX209" fmla="*/ 5000 w 10000"/>
                <a:gd name="connsiteY209" fmla="*/ 7887 h 10714"/>
                <a:gd name="connsiteX210" fmla="*/ 5000 w 10000"/>
                <a:gd name="connsiteY210" fmla="*/ 7634 h 10714"/>
                <a:gd name="connsiteX211" fmla="*/ 5000 w 10000"/>
                <a:gd name="connsiteY211" fmla="*/ 7384 h 10714"/>
                <a:gd name="connsiteX212" fmla="*/ 4979 w 10000"/>
                <a:gd name="connsiteY212" fmla="*/ 7133 h 10714"/>
                <a:gd name="connsiteX213" fmla="*/ 4950 w 10000"/>
                <a:gd name="connsiteY213" fmla="*/ 6892 h 10714"/>
                <a:gd name="connsiteX214" fmla="*/ 4913 w 10000"/>
                <a:gd name="connsiteY214" fmla="*/ 6657 h 10714"/>
                <a:gd name="connsiteX215" fmla="*/ 4858 w 10000"/>
                <a:gd name="connsiteY215" fmla="*/ 6430 h 10714"/>
                <a:gd name="connsiteX216" fmla="*/ 4783 w 10000"/>
                <a:gd name="connsiteY216" fmla="*/ 6219 h 10714"/>
                <a:gd name="connsiteX217" fmla="*/ 4700 w 10000"/>
                <a:gd name="connsiteY217" fmla="*/ 6019 h 10714"/>
                <a:gd name="connsiteX218" fmla="*/ 4600 w 10000"/>
                <a:gd name="connsiteY218" fmla="*/ 5840 h 10714"/>
                <a:gd name="connsiteX219" fmla="*/ 4488 w 10000"/>
                <a:gd name="connsiteY219" fmla="*/ 5682 h 10714"/>
                <a:gd name="connsiteX220" fmla="*/ 4358 w 10000"/>
                <a:gd name="connsiteY220" fmla="*/ 5542 h 10714"/>
                <a:gd name="connsiteX221" fmla="*/ 4213 w 10000"/>
                <a:gd name="connsiteY221" fmla="*/ 5429 h 10714"/>
                <a:gd name="connsiteX222" fmla="*/ 4046 w 10000"/>
                <a:gd name="connsiteY222" fmla="*/ 5343 h 10714"/>
                <a:gd name="connsiteX223" fmla="*/ 3904 w 10000"/>
                <a:gd name="connsiteY223" fmla="*/ 5292 h 10714"/>
                <a:gd name="connsiteX224" fmla="*/ 3746 w 10000"/>
                <a:gd name="connsiteY224" fmla="*/ 5271 h 10714"/>
                <a:gd name="connsiteX225" fmla="*/ 3583 w 10000"/>
                <a:gd name="connsiteY225" fmla="*/ 5271 h 10714"/>
                <a:gd name="connsiteX226" fmla="*/ 3413 w 10000"/>
                <a:gd name="connsiteY226" fmla="*/ 5286 h 10714"/>
                <a:gd name="connsiteX227" fmla="*/ 3246 w 10000"/>
                <a:gd name="connsiteY227" fmla="*/ 5310 h 10714"/>
                <a:gd name="connsiteX228" fmla="*/ 3079 w 10000"/>
                <a:gd name="connsiteY228" fmla="*/ 5343 h 10714"/>
                <a:gd name="connsiteX229" fmla="*/ 2913 w 10000"/>
                <a:gd name="connsiteY229" fmla="*/ 5369 h 10714"/>
                <a:gd name="connsiteX230" fmla="*/ 2750 w 10000"/>
                <a:gd name="connsiteY230" fmla="*/ 5396 h 10714"/>
                <a:gd name="connsiteX231" fmla="*/ 2600 w 10000"/>
                <a:gd name="connsiteY231" fmla="*/ 5411 h 10714"/>
                <a:gd name="connsiteX232" fmla="*/ 2258 w 10000"/>
                <a:gd name="connsiteY232" fmla="*/ 5423 h 10714"/>
                <a:gd name="connsiteX233" fmla="*/ 1925 w 10000"/>
                <a:gd name="connsiteY233" fmla="*/ 5411 h 10714"/>
                <a:gd name="connsiteX234" fmla="*/ 1617 w 10000"/>
                <a:gd name="connsiteY234" fmla="*/ 5384 h 10714"/>
                <a:gd name="connsiteX235" fmla="*/ 1321 w 10000"/>
                <a:gd name="connsiteY235" fmla="*/ 5346 h 10714"/>
                <a:gd name="connsiteX236" fmla="*/ 1033 w 10000"/>
                <a:gd name="connsiteY236" fmla="*/ 5298 h 10714"/>
                <a:gd name="connsiteX237" fmla="*/ 758 w 10000"/>
                <a:gd name="connsiteY237" fmla="*/ 5250 h 10714"/>
                <a:gd name="connsiteX238" fmla="*/ 500 w 10000"/>
                <a:gd name="connsiteY238" fmla="*/ 5197 h 10714"/>
                <a:gd name="connsiteX239" fmla="*/ 517 w 10000"/>
                <a:gd name="connsiteY239" fmla="*/ 5137 h 10714"/>
                <a:gd name="connsiteX240" fmla="*/ 871 w 10000"/>
                <a:gd name="connsiteY240" fmla="*/ 5173 h 10714"/>
                <a:gd name="connsiteX241" fmla="*/ 1221 w 10000"/>
                <a:gd name="connsiteY241" fmla="*/ 5197 h 10714"/>
                <a:gd name="connsiteX242" fmla="*/ 1563 w 10000"/>
                <a:gd name="connsiteY242" fmla="*/ 5206 h 10714"/>
                <a:gd name="connsiteX243" fmla="*/ 1896 w 10000"/>
                <a:gd name="connsiteY243" fmla="*/ 5197 h 10714"/>
                <a:gd name="connsiteX244" fmla="*/ 2221 w 10000"/>
                <a:gd name="connsiteY244" fmla="*/ 5164 h 10714"/>
                <a:gd name="connsiteX245" fmla="*/ 2538 w 10000"/>
                <a:gd name="connsiteY245" fmla="*/ 5113 h 10714"/>
                <a:gd name="connsiteX246" fmla="*/ 2842 w 10000"/>
                <a:gd name="connsiteY246" fmla="*/ 5045 h 10714"/>
                <a:gd name="connsiteX247" fmla="*/ 3129 w 10000"/>
                <a:gd name="connsiteY247" fmla="*/ 4946 h 10714"/>
                <a:gd name="connsiteX248" fmla="*/ 3500 w 10000"/>
                <a:gd name="connsiteY248" fmla="*/ 4815 h 10714"/>
                <a:gd name="connsiteX249" fmla="*/ 2821 w 10000"/>
                <a:gd name="connsiteY249" fmla="*/ 4389 h 10714"/>
                <a:gd name="connsiteX250" fmla="*/ 2213 w 10000"/>
                <a:gd name="connsiteY250" fmla="*/ 3912 h 10714"/>
                <a:gd name="connsiteX251" fmla="*/ 1879 w 10000"/>
                <a:gd name="connsiteY251" fmla="*/ 3939 h 10714"/>
                <a:gd name="connsiteX252" fmla="*/ 1554 w 10000"/>
                <a:gd name="connsiteY252" fmla="*/ 3939 h 10714"/>
                <a:gd name="connsiteX253" fmla="*/ 1258 w 10000"/>
                <a:gd name="connsiteY253" fmla="*/ 3912 h 10714"/>
                <a:gd name="connsiteX254" fmla="*/ 979 w 10000"/>
                <a:gd name="connsiteY254" fmla="*/ 3856 h 10714"/>
                <a:gd name="connsiteX255" fmla="*/ 721 w 10000"/>
                <a:gd name="connsiteY255" fmla="*/ 3775 h 10714"/>
                <a:gd name="connsiteX256" fmla="*/ 496 w 10000"/>
                <a:gd name="connsiteY256" fmla="*/ 3674 h 10714"/>
                <a:gd name="connsiteX257" fmla="*/ 296 w 10000"/>
                <a:gd name="connsiteY257" fmla="*/ 3549 h 10714"/>
                <a:gd name="connsiteX258" fmla="*/ 129 w 10000"/>
                <a:gd name="connsiteY258" fmla="*/ 3403 h 10714"/>
                <a:gd name="connsiteX259" fmla="*/ 0 w 10000"/>
                <a:gd name="connsiteY259" fmla="*/ 3245 h 10714"/>
                <a:gd name="connsiteX260" fmla="*/ 17 w 10000"/>
                <a:gd name="connsiteY260" fmla="*/ 3218 h 10714"/>
                <a:gd name="connsiteX261" fmla="*/ 71 w 10000"/>
                <a:gd name="connsiteY261" fmla="*/ 3245 h 10714"/>
                <a:gd name="connsiteX262" fmla="*/ 138 w 10000"/>
                <a:gd name="connsiteY262" fmla="*/ 3349 h 10714"/>
                <a:gd name="connsiteX263" fmla="*/ 246 w 10000"/>
                <a:gd name="connsiteY263" fmla="*/ 3439 h 10714"/>
                <a:gd name="connsiteX264" fmla="*/ 379 w 10000"/>
                <a:gd name="connsiteY264" fmla="*/ 3528 h 10714"/>
                <a:gd name="connsiteX265" fmla="*/ 538 w 10000"/>
                <a:gd name="connsiteY265" fmla="*/ 3597 h 10714"/>
                <a:gd name="connsiteX266" fmla="*/ 721 w 10000"/>
                <a:gd name="connsiteY266" fmla="*/ 3656 h 10714"/>
                <a:gd name="connsiteX267" fmla="*/ 913 w 10000"/>
                <a:gd name="connsiteY267" fmla="*/ 3701 h 10714"/>
                <a:gd name="connsiteX268" fmla="*/ 1117 w 10000"/>
                <a:gd name="connsiteY268" fmla="*/ 3728 h 10714"/>
                <a:gd name="connsiteX269" fmla="*/ 1329 w 10000"/>
                <a:gd name="connsiteY269" fmla="*/ 3737 h 10714"/>
                <a:gd name="connsiteX270" fmla="*/ 1533 w 10000"/>
                <a:gd name="connsiteY270" fmla="*/ 3734 h 10714"/>
                <a:gd name="connsiteX271" fmla="*/ 1646 w 10000"/>
                <a:gd name="connsiteY271" fmla="*/ 3722 h 10714"/>
                <a:gd name="connsiteX272" fmla="*/ 1746 w 10000"/>
                <a:gd name="connsiteY272" fmla="*/ 3722 h 10714"/>
                <a:gd name="connsiteX273" fmla="*/ 1833 w 10000"/>
                <a:gd name="connsiteY273" fmla="*/ 3710 h 10714"/>
                <a:gd name="connsiteX274" fmla="*/ 1917 w 10000"/>
                <a:gd name="connsiteY274" fmla="*/ 3695 h 10714"/>
                <a:gd name="connsiteX275" fmla="*/ 1988 w 10000"/>
                <a:gd name="connsiteY275" fmla="*/ 3662 h 10714"/>
                <a:gd name="connsiteX276" fmla="*/ 1788 w 10000"/>
                <a:gd name="connsiteY276" fmla="*/ 3391 h 10714"/>
                <a:gd name="connsiteX277" fmla="*/ 1617 w 10000"/>
                <a:gd name="connsiteY277" fmla="*/ 3126 h 10714"/>
                <a:gd name="connsiteX278" fmla="*/ 1454 w 10000"/>
                <a:gd name="connsiteY278" fmla="*/ 2849 h 10714"/>
                <a:gd name="connsiteX279" fmla="*/ 1313 w 10000"/>
                <a:gd name="connsiteY279" fmla="*/ 2563 h 10714"/>
                <a:gd name="connsiteX280" fmla="*/ 1175 w 10000"/>
                <a:gd name="connsiteY280" fmla="*/ 2253 h 10714"/>
                <a:gd name="connsiteX281" fmla="*/ 1046 w 10000"/>
                <a:gd name="connsiteY281" fmla="*/ 1919 h 10714"/>
                <a:gd name="connsiteX282" fmla="*/ 1033 w 10000"/>
                <a:gd name="connsiteY282" fmla="*/ 1859 h 10714"/>
                <a:gd name="connsiteX283" fmla="*/ 1000 w 10000"/>
                <a:gd name="connsiteY283" fmla="*/ 1776 h 10714"/>
                <a:gd name="connsiteX284" fmla="*/ 979 w 10000"/>
                <a:gd name="connsiteY284" fmla="*/ 1684 h 10714"/>
                <a:gd name="connsiteX285" fmla="*/ 950 w 10000"/>
                <a:gd name="connsiteY285" fmla="*/ 1591 h 10714"/>
                <a:gd name="connsiteX286" fmla="*/ 925 w 10000"/>
                <a:gd name="connsiteY286" fmla="*/ 1490 h 10714"/>
                <a:gd name="connsiteX287" fmla="*/ 917 w 10000"/>
                <a:gd name="connsiteY287" fmla="*/ 1397 h 10714"/>
                <a:gd name="connsiteX288" fmla="*/ 917 w 10000"/>
                <a:gd name="connsiteY288" fmla="*/ 1311 h 10714"/>
                <a:gd name="connsiteX289" fmla="*/ 933 w 10000"/>
                <a:gd name="connsiteY289" fmla="*/ 1234 h 10714"/>
                <a:gd name="connsiteX290" fmla="*/ 963 w 10000"/>
                <a:gd name="connsiteY290" fmla="*/ 1180 h 10714"/>
                <a:gd name="connsiteX291" fmla="*/ 1000 w 10000"/>
                <a:gd name="connsiteY291" fmla="*/ 1192 h 10714"/>
                <a:gd name="connsiteX292" fmla="*/ 1033 w 10000"/>
                <a:gd name="connsiteY292" fmla="*/ 1496 h 10714"/>
                <a:gd name="connsiteX293" fmla="*/ 1108 w 10000"/>
                <a:gd name="connsiteY293" fmla="*/ 1800 h 10714"/>
                <a:gd name="connsiteX294" fmla="*/ 1221 w 10000"/>
                <a:gd name="connsiteY294" fmla="*/ 2098 h 10714"/>
                <a:gd name="connsiteX295" fmla="*/ 1358 w 10000"/>
                <a:gd name="connsiteY295" fmla="*/ 2372 h 10714"/>
                <a:gd name="connsiteX296" fmla="*/ 1508 w 10000"/>
                <a:gd name="connsiteY296" fmla="*/ 2628 h 10714"/>
                <a:gd name="connsiteX297" fmla="*/ 1646 w 10000"/>
                <a:gd name="connsiteY297" fmla="*/ 2795 h 10714"/>
                <a:gd name="connsiteX298" fmla="*/ 1629 w 10000"/>
                <a:gd name="connsiteY298" fmla="*/ 2801 h 10714"/>
                <a:gd name="connsiteX299" fmla="*/ 1629 w 10000"/>
                <a:gd name="connsiteY299" fmla="*/ 2807 h 10714"/>
                <a:gd name="connsiteX300" fmla="*/ 1638 w 10000"/>
                <a:gd name="connsiteY300" fmla="*/ 2813 h 10714"/>
                <a:gd name="connsiteX301" fmla="*/ 1646 w 10000"/>
                <a:gd name="connsiteY301" fmla="*/ 2816 h 10714"/>
                <a:gd name="connsiteX302" fmla="*/ 1663 w 10000"/>
                <a:gd name="connsiteY302" fmla="*/ 2822 h 10714"/>
                <a:gd name="connsiteX303" fmla="*/ 1667 w 10000"/>
                <a:gd name="connsiteY303" fmla="*/ 2834 h 10714"/>
                <a:gd name="connsiteX304" fmla="*/ 1675 w 10000"/>
                <a:gd name="connsiteY304" fmla="*/ 2840 h 10714"/>
                <a:gd name="connsiteX305" fmla="*/ 1683 w 10000"/>
                <a:gd name="connsiteY305" fmla="*/ 2849 h 10714"/>
                <a:gd name="connsiteX306" fmla="*/ 1683 w 10000"/>
                <a:gd name="connsiteY306" fmla="*/ 2843 h 10714"/>
                <a:gd name="connsiteX307" fmla="*/ 1675 w 10000"/>
                <a:gd name="connsiteY307" fmla="*/ 2840 h 10714"/>
                <a:gd name="connsiteX308" fmla="*/ 1675 w 10000"/>
                <a:gd name="connsiteY308" fmla="*/ 2840 h 10714"/>
                <a:gd name="connsiteX309" fmla="*/ 1646 w 10000"/>
                <a:gd name="connsiteY309" fmla="*/ 2795 h 10714"/>
                <a:gd name="connsiteX310" fmla="*/ 1746 w 10000"/>
                <a:gd name="connsiteY310" fmla="*/ 2741 h 10714"/>
                <a:gd name="connsiteX311" fmla="*/ 1842 w 10000"/>
                <a:gd name="connsiteY311" fmla="*/ 2649 h 10714"/>
                <a:gd name="connsiteX312" fmla="*/ 1933 w 10000"/>
                <a:gd name="connsiteY312" fmla="*/ 2542 h 10714"/>
                <a:gd name="connsiteX313" fmla="*/ 2017 w 10000"/>
                <a:gd name="connsiteY313" fmla="*/ 2411 h 10714"/>
                <a:gd name="connsiteX314" fmla="*/ 2092 w 10000"/>
                <a:gd name="connsiteY314" fmla="*/ 2265 h 10714"/>
                <a:gd name="connsiteX315" fmla="*/ 2163 w 10000"/>
                <a:gd name="connsiteY315" fmla="*/ 2113 h 10714"/>
                <a:gd name="connsiteX316" fmla="*/ 2221 w 10000"/>
                <a:gd name="connsiteY316" fmla="*/ 1955 h 10714"/>
                <a:gd name="connsiteX317" fmla="*/ 2275 w 10000"/>
                <a:gd name="connsiteY317" fmla="*/ 1803 h 10714"/>
                <a:gd name="connsiteX318" fmla="*/ 2321 w 10000"/>
                <a:gd name="connsiteY318" fmla="*/ 1657 h 10714"/>
                <a:gd name="connsiteX319" fmla="*/ 2329 w 10000"/>
                <a:gd name="connsiteY319" fmla="*/ 1853 h 10714"/>
                <a:gd name="connsiteX320" fmla="*/ 2321 w 10000"/>
                <a:gd name="connsiteY320" fmla="*/ 2032 h 10714"/>
                <a:gd name="connsiteX321" fmla="*/ 2283 w 10000"/>
                <a:gd name="connsiteY321" fmla="*/ 2199 h 10714"/>
                <a:gd name="connsiteX322" fmla="*/ 2229 w 10000"/>
                <a:gd name="connsiteY322" fmla="*/ 2366 h 10714"/>
                <a:gd name="connsiteX323" fmla="*/ 2154 w 10000"/>
                <a:gd name="connsiteY323" fmla="*/ 2524 h 10714"/>
                <a:gd name="connsiteX324" fmla="*/ 2046 w 10000"/>
                <a:gd name="connsiteY324" fmla="*/ 2682 h 10714"/>
                <a:gd name="connsiteX325" fmla="*/ 1796 w 10000"/>
                <a:gd name="connsiteY325" fmla="*/ 3027 h 10714"/>
                <a:gd name="connsiteX326" fmla="*/ 2054 w 10000"/>
                <a:gd name="connsiteY326" fmla="*/ 3305 h 10714"/>
                <a:gd name="connsiteX327" fmla="*/ 2333 w 10000"/>
                <a:gd name="connsiteY327" fmla="*/ 3564 h 10714"/>
                <a:gd name="connsiteX328" fmla="*/ 2638 w 10000"/>
                <a:gd name="connsiteY328" fmla="*/ 3808 h 10714"/>
                <a:gd name="connsiteX329" fmla="*/ 2963 w 10000"/>
                <a:gd name="connsiteY329" fmla="*/ 4032 h 10714"/>
                <a:gd name="connsiteX330" fmla="*/ 4129 w 10000"/>
                <a:gd name="connsiteY330" fmla="*/ 4610 h 10714"/>
                <a:gd name="connsiteX331" fmla="*/ 4167 w 10000"/>
                <a:gd name="connsiteY331" fmla="*/ 4589 h 10714"/>
                <a:gd name="connsiteX332" fmla="*/ 4071 w 10000"/>
                <a:gd name="connsiteY332" fmla="*/ 4333 h 10714"/>
                <a:gd name="connsiteX333" fmla="*/ 3996 w 10000"/>
                <a:gd name="connsiteY333" fmla="*/ 4058 h 10714"/>
                <a:gd name="connsiteX334" fmla="*/ 3933 w 10000"/>
                <a:gd name="connsiteY334" fmla="*/ 3760 h 10714"/>
                <a:gd name="connsiteX335" fmla="*/ 3904 w 10000"/>
                <a:gd name="connsiteY335" fmla="*/ 3456 h 10714"/>
                <a:gd name="connsiteX336" fmla="*/ 3879 w 10000"/>
                <a:gd name="connsiteY336" fmla="*/ 3138 h 10714"/>
                <a:gd name="connsiteX337" fmla="*/ 3879 w 10000"/>
                <a:gd name="connsiteY337" fmla="*/ 2813 h 10714"/>
                <a:gd name="connsiteX338" fmla="*/ 3896 w 10000"/>
                <a:gd name="connsiteY338" fmla="*/ 2485 h 10714"/>
                <a:gd name="connsiteX339" fmla="*/ 3933 w 10000"/>
                <a:gd name="connsiteY339" fmla="*/ 2160 h 10714"/>
                <a:gd name="connsiteX340" fmla="*/ 3988 w 10000"/>
                <a:gd name="connsiteY340" fmla="*/ 1836 h 10714"/>
                <a:gd name="connsiteX341" fmla="*/ 4046 w 10000"/>
                <a:gd name="connsiteY341" fmla="*/ 1523 h 10714"/>
                <a:gd name="connsiteX342" fmla="*/ 4129 w 10000"/>
                <a:gd name="connsiteY342" fmla="*/ 1219 h 10714"/>
                <a:gd name="connsiteX343" fmla="*/ 4229 w 10000"/>
                <a:gd name="connsiteY343" fmla="*/ 933 h 10714"/>
                <a:gd name="connsiteX344" fmla="*/ 4333 w 10000"/>
                <a:gd name="connsiteY344" fmla="*/ 662 h 10714"/>
                <a:gd name="connsiteX345" fmla="*/ 4454 w 10000"/>
                <a:gd name="connsiteY345" fmla="*/ 417 h 10714"/>
                <a:gd name="connsiteX346" fmla="*/ 4583 w 10000"/>
                <a:gd name="connsiteY346" fmla="*/ 194 h 10714"/>
                <a:gd name="connsiteX347" fmla="*/ 4738 w 10000"/>
                <a:gd name="connsiteY347" fmla="*/ 0 h 10714"/>
                <a:gd name="connsiteX0" fmla="*/ 4738 w 10000"/>
                <a:gd name="connsiteY0" fmla="*/ 0 h 10768"/>
                <a:gd name="connsiteX1" fmla="*/ 4721 w 10000"/>
                <a:gd name="connsiteY1" fmla="*/ 48 h 10768"/>
                <a:gd name="connsiteX2" fmla="*/ 4713 w 10000"/>
                <a:gd name="connsiteY2" fmla="*/ 80 h 10768"/>
                <a:gd name="connsiteX3" fmla="*/ 4704 w 10000"/>
                <a:gd name="connsiteY3" fmla="*/ 101 h 10768"/>
                <a:gd name="connsiteX4" fmla="*/ 4704 w 10000"/>
                <a:gd name="connsiteY4" fmla="*/ 113 h 10768"/>
                <a:gd name="connsiteX5" fmla="*/ 4713 w 10000"/>
                <a:gd name="connsiteY5" fmla="*/ 119 h 10768"/>
                <a:gd name="connsiteX6" fmla="*/ 4713 w 10000"/>
                <a:gd name="connsiteY6" fmla="*/ 125 h 10768"/>
                <a:gd name="connsiteX7" fmla="*/ 4721 w 10000"/>
                <a:gd name="connsiteY7" fmla="*/ 125 h 10768"/>
                <a:gd name="connsiteX8" fmla="*/ 4721 w 10000"/>
                <a:gd name="connsiteY8" fmla="*/ 125 h 10768"/>
                <a:gd name="connsiteX9" fmla="*/ 4721 w 10000"/>
                <a:gd name="connsiteY9" fmla="*/ 134 h 10768"/>
                <a:gd name="connsiteX10" fmla="*/ 4713 w 10000"/>
                <a:gd name="connsiteY10" fmla="*/ 152 h 10768"/>
                <a:gd name="connsiteX11" fmla="*/ 4704 w 10000"/>
                <a:gd name="connsiteY11" fmla="*/ 179 h 10768"/>
                <a:gd name="connsiteX12" fmla="*/ 4692 w 10000"/>
                <a:gd name="connsiteY12" fmla="*/ 221 h 10768"/>
                <a:gd name="connsiteX13" fmla="*/ 4667 w 10000"/>
                <a:gd name="connsiteY13" fmla="*/ 280 h 10768"/>
                <a:gd name="connsiteX14" fmla="*/ 4629 w 10000"/>
                <a:gd name="connsiteY14" fmla="*/ 364 h 10768"/>
                <a:gd name="connsiteX15" fmla="*/ 4592 w 10000"/>
                <a:gd name="connsiteY15" fmla="*/ 465 h 10768"/>
                <a:gd name="connsiteX16" fmla="*/ 4533 w 10000"/>
                <a:gd name="connsiteY16" fmla="*/ 596 h 10768"/>
                <a:gd name="connsiteX17" fmla="*/ 4463 w 10000"/>
                <a:gd name="connsiteY17" fmla="*/ 754 h 10768"/>
                <a:gd name="connsiteX18" fmla="*/ 4379 w 10000"/>
                <a:gd name="connsiteY18" fmla="*/ 1001 h 10768"/>
                <a:gd name="connsiteX19" fmla="*/ 4321 w 10000"/>
                <a:gd name="connsiteY19" fmla="*/ 1266 h 10768"/>
                <a:gd name="connsiteX20" fmla="*/ 4275 w 10000"/>
                <a:gd name="connsiteY20" fmla="*/ 1538 h 10768"/>
                <a:gd name="connsiteX21" fmla="*/ 4213 w 10000"/>
                <a:gd name="connsiteY21" fmla="*/ 1827 h 10768"/>
                <a:gd name="connsiteX22" fmla="*/ 4204 w 10000"/>
                <a:gd name="connsiteY22" fmla="*/ 1889 h 10768"/>
                <a:gd name="connsiteX23" fmla="*/ 4192 w 10000"/>
                <a:gd name="connsiteY23" fmla="*/ 1982 h 10768"/>
                <a:gd name="connsiteX24" fmla="*/ 4183 w 10000"/>
                <a:gd name="connsiteY24" fmla="*/ 2080 h 10768"/>
                <a:gd name="connsiteX25" fmla="*/ 4175 w 10000"/>
                <a:gd name="connsiteY25" fmla="*/ 2187 h 10768"/>
                <a:gd name="connsiteX26" fmla="*/ 4175 w 10000"/>
                <a:gd name="connsiteY26" fmla="*/ 2297 h 10768"/>
                <a:gd name="connsiteX27" fmla="*/ 4192 w 10000"/>
                <a:gd name="connsiteY27" fmla="*/ 2396 h 10768"/>
                <a:gd name="connsiteX28" fmla="*/ 4213 w 10000"/>
                <a:gd name="connsiteY28" fmla="*/ 2482 h 10768"/>
                <a:gd name="connsiteX29" fmla="*/ 4250 w 10000"/>
                <a:gd name="connsiteY29" fmla="*/ 2542 h 10768"/>
                <a:gd name="connsiteX30" fmla="*/ 4450 w 10000"/>
                <a:gd name="connsiteY30" fmla="*/ 2530 h 10768"/>
                <a:gd name="connsiteX31" fmla="*/ 4646 w 10000"/>
                <a:gd name="connsiteY31" fmla="*/ 2482 h 10768"/>
                <a:gd name="connsiteX32" fmla="*/ 4833 w 10000"/>
                <a:gd name="connsiteY32" fmla="*/ 2405 h 10768"/>
                <a:gd name="connsiteX33" fmla="*/ 5025 w 10000"/>
                <a:gd name="connsiteY33" fmla="*/ 2297 h 10768"/>
                <a:gd name="connsiteX34" fmla="*/ 5200 w 10000"/>
                <a:gd name="connsiteY34" fmla="*/ 2172 h 10768"/>
                <a:gd name="connsiteX35" fmla="*/ 5371 w 10000"/>
                <a:gd name="connsiteY35" fmla="*/ 2020 h 10768"/>
                <a:gd name="connsiteX36" fmla="*/ 5533 w 10000"/>
                <a:gd name="connsiteY36" fmla="*/ 1859 h 10768"/>
                <a:gd name="connsiteX37" fmla="*/ 5683 w 10000"/>
                <a:gd name="connsiteY37" fmla="*/ 1690 h 10768"/>
                <a:gd name="connsiteX38" fmla="*/ 5829 w 10000"/>
                <a:gd name="connsiteY38" fmla="*/ 1511 h 10768"/>
                <a:gd name="connsiteX39" fmla="*/ 5954 w 10000"/>
                <a:gd name="connsiteY39" fmla="*/ 1326 h 10768"/>
                <a:gd name="connsiteX40" fmla="*/ 6071 w 10000"/>
                <a:gd name="connsiteY40" fmla="*/ 1147 h 10768"/>
                <a:gd name="connsiteX41" fmla="*/ 6167 w 10000"/>
                <a:gd name="connsiteY41" fmla="*/ 974 h 10768"/>
                <a:gd name="connsiteX42" fmla="*/ 6213 w 10000"/>
                <a:gd name="connsiteY42" fmla="*/ 974 h 10768"/>
                <a:gd name="connsiteX43" fmla="*/ 6213 w 10000"/>
                <a:gd name="connsiteY43" fmla="*/ 992 h 10768"/>
                <a:gd name="connsiteX44" fmla="*/ 6138 w 10000"/>
                <a:gd name="connsiteY44" fmla="*/ 1165 h 10768"/>
                <a:gd name="connsiteX45" fmla="*/ 6054 w 10000"/>
                <a:gd name="connsiteY45" fmla="*/ 1344 h 10768"/>
                <a:gd name="connsiteX46" fmla="*/ 5963 w 10000"/>
                <a:gd name="connsiteY46" fmla="*/ 1517 h 10768"/>
                <a:gd name="connsiteX47" fmla="*/ 5871 w 10000"/>
                <a:gd name="connsiteY47" fmla="*/ 1684 h 10768"/>
                <a:gd name="connsiteX48" fmla="*/ 5775 w 10000"/>
                <a:gd name="connsiteY48" fmla="*/ 1847 h 10768"/>
                <a:gd name="connsiteX49" fmla="*/ 5667 w 10000"/>
                <a:gd name="connsiteY49" fmla="*/ 1999 h 10768"/>
                <a:gd name="connsiteX50" fmla="*/ 5554 w 10000"/>
                <a:gd name="connsiteY50" fmla="*/ 2145 h 10768"/>
                <a:gd name="connsiteX51" fmla="*/ 5417 w 10000"/>
                <a:gd name="connsiteY51" fmla="*/ 2279 h 10768"/>
                <a:gd name="connsiteX52" fmla="*/ 5275 w 10000"/>
                <a:gd name="connsiteY52" fmla="*/ 2411 h 10768"/>
                <a:gd name="connsiteX53" fmla="*/ 5108 w 10000"/>
                <a:gd name="connsiteY53" fmla="*/ 2518 h 10768"/>
                <a:gd name="connsiteX54" fmla="*/ 4917 w 10000"/>
                <a:gd name="connsiteY54" fmla="*/ 2616 h 10768"/>
                <a:gd name="connsiteX55" fmla="*/ 4704 w 10000"/>
                <a:gd name="connsiteY55" fmla="*/ 2703 h 10768"/>
                <a:gd name="connsiteX56" fmla="*/ 4479 w 10000"/>
                <a:gd name="connsiteY56" fmla="*/ 2768 h 10768"/>
                <a:gd name="connsiteX57" fmla="*/ 4213 w 10000"/>
                <a:gd name="connsiteY57" fmla="*/ 2813 h 10768"/>
                <a:gd name="connsiteX58" fmla="*/ 4221 w 10000"/>
                <a:gd name="connsiteY58" fmla="*/ 3126 h 10768"/>
                <a:gd name="connsiteX59" fmla="*/ 4258 w 10000"/>
                <a:gd name="connsiteY59" fmla="*/ 3424 h 10768"/>
                <a:gd name="connsiteX60" fmla="*/ 4321 w 10000"/>
                <a:gd name="connsiteY60" fmla="*/ 3707 h 10768"/>
                <a:gd name="connsiteX61" fmla="*/ 4404 w 10000"/>
                <a:gd name="connsiteY61" fmla="*/ 3975 h 10768"/>
                <a:gd name="connsiteX62" fmla="*/ 4508 w 10000"/>
                <a:gd name="connsiteY62" fmla="*/ 4231 h 10768"/>
                <a:gd name="connsiteX63" fmla="*/ 4621 w 10000"/>
                <a:gd name="connsiteY63" fmla="*/ 4476 h 10768"/>
                <a:gd name="connsiteX64" fmla="*/ 4750 w 10000"/>
                <a:gd name="connsiteY64" fmla="*/ 4708 h 10768"/>
                <a:gd name="connsiteX65" fmla="*/ 4879 w 10000"/>
                <a:gd name="connsiteY65" fmla="*/ 4934 h 10768"/>
                <a:gd name="connsiteX66" fmla="*/ 4917 w 10000"/>
                <a:gd name="connsiteY66" fmla="*/ 4988 h 10768"/>
                <a:gd name="connsiteX67" fmla="*/ 4950 w 10000"/>
                <a:gd name="connsiteY67" fmla="*/ 5054 h 10768"/>
                <a:gd name="connsiteX68" fmla="*/ 4996 w 10000"/>
                <a:gd name="connsiteY68" fmla="*/ 5125 h 10768"/>
                <a:gd name="connsiteX69" fmla="*/ 5038 w 10000"/>
                <a:gd name="connsiteY69" fmla="*/ 5200 h 10768"/>
                <a:gd name="connsiteX70" fmla="*/ 5092 w 10000"/>
                <a:gd name="connsiteY70" fmla="*/ 5271 h 10768"/>
                <a:gd name="connsiteX71" fmla="*/ 5154 w 10000"/>
                <a:gd name="connsiteY71" fmla="*/ 5331 h 10768"/>
                <a:gd name="connsiteX72" fmla="*/ 5229 w 10000"/>
                <a:gd name="connsiteY72" fmla="*/ 5384 h 10768"/>
                <a:gd name="connsiteX73" fmla="*/ 5313 w 10000"/>
                <a:gd name="connsiteY73" fmla="*/ 5423 h 10768"/>
                <a:gd name="connsiteX74" fmla="*/ 5413 w 10000"/>
                <a:gd name="connsiteY74" fmla="*/ 5438 h 10768"/>
                <a:gd name="connsiteX75" fmla="*/ 5517 w 10000"/>
                <a:gd name="connsiteY75" fmla="*/ 5435 h 10768"/>
                <a:gd name="connsiteX76" fmla="*/ 5704 w 10000"/>
                <a:gd name="connsiteY76" fmla="*/ 5390 h 10768"/>
                <a:gd name="connsiteX77" fmla="*/ 5871 w 10000"/>
                <a:gd name="connsiteY77" fmla="*/ 5316 h 10768"/>
                <a:gd name="connsiteX78" fmla="*/ 6033 w 10000"/>
                <a:gd name="connsiteY78" fmla="*/ 5223 h 10768"/>
                <a:gd name="connsiteX79" fmla="*/ 6167 w 10000"/>
                <a:gd name="connsiteY79" fmla="*/ 5113 h 10768"/>
                <a:gd name="connsiteX80" fmla="*/ 6296 w 10000"/>
                <a:gd name="connsiteY80" fmla="*/ 4994 h 10768"/>
                <a:gd name="connsiteX81" fmla="*/ 6417 w 10000"/>
                <a:gd name="connsiteY81" fmla="*/ 4869 h 10768"/>
                <a:gd name="connsiteX82" fmla="*/ 6525 w 10000"/>
                <a:gd name="connsiteY82" fmla="*/ 4750 h 10768"/>
                <a:gd name="connsiteX83" fmla="*/ 6617 w 10000"/>
                <a:gd name="connsiteY83" fmla="*/ 4636 h 10768"/>
                <a:gd name="connsiteX84" fmla="*/ 6821 w 10000"/>
                <a:gd name="connsiteY84" fmla="*/ 4377 h 10768"/>
                <a:gd name="connsiteX85" fmla="*/ 7017 w 10000"/>
                <a:gd name="connsiteY85" fmla="*/ 4085 h 10768"/>
                <a:gd name="connsiteX86" fmla="*/ 7213 w 10000"/>
                <a:gd name="connsiteY86" fmla="*/ 3766 h 10768"/>
                <a:gd name="connsiteX87" fmla="*/ 7396 w 10000"/>
                <a:gd name="connsiteY87" fmla="*/ 3418 h 10768"/>
                <a:gd name="connsiteX88" fmla="*/ 7563 w 10000"/>
                <a:gd name="connsiteY88" fmla="*/ 3051 h 10768"/>
                <a:gd name="connsiteX89" fmla="*/ 7713 w 10000"/>
                <a:gd name="connsiteY89" fmla="*/ 2661 h 10768"/>
                <a:gd name="connsiteX90" fmla="*/ 7850 w 10000"/>
                <a:gd name="connsiteY90" fmla="*/ 2253 h 10768"/>
                <a:gd name="connsiteX91" fmla="*/ 7950 w 10000"/>
                <a:gd name="connsiteY91" fmla="*/ 1830 h 10768"/>
                <a:gd name="connsiteX92" fmla="*/ 8025 w 10000"/>
                <a:gd name="connsiteY92" fmla="*/ 1397 h 10768"/>
                <a:gd name="connsiteX93" fmla="*/ 8071 w 10000"/>
                <a:gd name="connsiteY93" fmla="*/ 954 h 10768"/>
                <a:gd name="connsiteX94" fmla="*/ 8108 w 10000"/>
                <a:gd name="connsiteY94" fmla="*/ 974 h 10768"/>
                <a:gd name="connsiteX95" fmla="*/ 8138 w 10000"/>
                <a:gd name="connsiteY95" fmla="*/ 1025 h 10768"/>
                <a:gd name="connsiteX96" fmla="*/ 8163 w 10000"/>
                <a:gd name="connsiteY96" fmla="*/ 1100 h 10768"/>
                <a:gd name="connsiteX97" fmla="*/ 8175 w 10000"/>
                <a:gd name="connsiteY97" fmla="*/ 1198 h 10768"/>
                <a:gd name="connsiteX98" fmla="*/ 8183 w 10000"/>
                <a:gd name="connsiteY98" fmla="*/ 1311 h 10768"/>
                <a:gd name="connsiteX99" fmla="*/ 8183 w 10000"/>
                <a:gd name="connsiteY99" fmla="*/ 1442 h 10768"/>
                <a:gd name="connsiteX100" fmla="*/ 8183 w 10000"/>
                <a:gd name="connsiteY100" fmla="*/ 1582 h 10768"/>
                <a:gd name="connsiteX101" fmla="*/ 8175 w 10000"/>
                <a:gd name="connsiteY101" fmla="*/ 1734 h 10768"/>
                <a:gd name="connsiteX102" fmla="*/ 8163 w 10000"/>
                <a:gd name="connsiteY102" fmla="*/ 1889 h 10768"/>
                <a:gd name="connsiteX103" fmla="*/ 8146 w 10000"/>
                <a:gd name="connsiteY103" fmla="*/ 2047 h 10768"/>
                <a:gd name="connsiteX104" fmla="*/ 8121 w 10000"/>
                <a:gd name="connsiteY104" fmla="*/ 2205 h 10768"/>
                <a:gd name="connsiteX105" fmla="*/ 8108 w 10000"/>
                <a:gd name="connsiteY105" fmla="*/ 2357 h 10768"/>
                <a:gd name="connsiteX106" fmla="*/ 8083 w 10000"/>
                <a:gd name="connsiteY106" fmla="*/ 2497 h 10768"/>
                <a:gd name="connsiteX107" fmla="*/ 8063 w 10000"/>
                <a:gd name="connsiteY107" fmla="*/ 2628 h 10768"/>
                <a:gd name="connsiteX108" fmla="*/ 8038 w 10000"/>
                <a:gd name="connsiteY108" fmla="*/ 2741 h 10768"/>
                <a:gd name="connsiteX109" fmla="*/ 8017 w 10000"/>
                <a:gd name="connsiteY109" fmla="*/ 2834 h 10768"/>
                <a:gd name="connsiteX110" fmla="*/ 8000 w 10000"/>
                <a:gd name="connsiteY110" fmla="*/ 2908 h 10768"/>
                <a:gd name="connsiteX111" fmla="*/ 7700 w 10000"/>
                <a:gd name="connsiteY111" fmla="*/ 3754 h 10768"/>
                <a:gd name="connsiteX112" fmla="*/ 7942 w 10000"/>
                <a:gd name="connsiteY112" fmla="*/ 3737 h 10768"/>
                <a:gd name="connsiteX113" fmla="*/ 8167 w 10000"/>
                <a:gd name="connsiteY113" fmla="*/ 3695 h 10768"/>
                <a:gd name="connsiteX114" fmla="*/ 8379 w 10000"/>
                <a:gd name="connsiteY114" fmla="*/ 3635 h 10768"/>
                <a:gd name="connsiteX115" fmla="*/ 8583 w 10000"/>
                <a:gd name="connsiteY115" fmla="*/ 3558 h 10768"/>
                <a:gd name="connsiteX116" fmla="*/ 8767 w 10000"/>
                <a:gd name="connsiteY116" fmla="*/ 3471 h 10768"/>
                <a:gd name="connsiteX117" fmla="*/ 8933 w 10000"/>
                <a:gd name="connsiteY117" fmla="*/ 3376 h 10768"/>
                <a:gd name="connsiteX118" fmla="*/ 9092 w 10000"/>
                <a:gd name="connsiteY118" fmla="*/ 3278 h 10768"/>
                <a:gd name="connsiteX119" fmla="*/ 9238 w 10000"/>
                <a:gd name="connsiteY119" fmla="*/ 3185 h 10768"/>
                <a:gd name="connsiteX120" fmla="*/ 9250 w 10000"/>
                <a:gd name="connsiteY120" fmla="*/ 3230 h 10768"/>
                <a:gd name="connsiteX121" fmla="*/ 9117 w 10000"/>
                <a:gd name="connsiteY121" fmla="*/ 3376 h 10768"/>
                <a:gd name="connsiteX122" fmla="*/ 8954 w 10000"/>
                <a:gd name="connsiteY122" fmla="*/ 3516 h 10768"/>
                <a:gd name="connsiteX123" fmla="*/ 8758 w 10000"/>
                <a:gd name="connsiteY123" fmla="*/ 3641 h 10768"/>
                <a:gd name="connsiteX124" fmla="*/ 8538 w 10000"/>
                <a:gd name="connsiteY124" fmla="*/ 3754 h 10768"/>
                <a:gd name="connsiteX125" fmla="*/ 8304 w 10000"/>
                <a:gd name="connsiteY125" fmla="*/ 3856 h 10768"/>
                <a:gd name="connsiteX126" fmla="*/ 8054 w 10000"/>
                <a:gd name="connsiteY126" fmla="*/ 3945 h 10768"/>
                <a:gd name="connsiteX127" fmla="*/ 7796 w 10000"/>
                <a:gd name="connsiteY127" fmla="*/ 4014 h 10768"/>
                <a:gd name="connsiteX128" fmla="*/ 7533 w 10000"/>
                <a:gd name="connsiteY128" fmla="*/ 4064 h 10768"/>
                <a:gd name="connsiteX129" fmla="*/ 7479 w 10000"/>
                <a:gd name="connsiteY129" fmla="*/ 4184 h 10768"/>
                <a:gd name="connsiteX130" fmla="*/ 7404 w 10000"/>
                <a:gd name="connsiteY130" fmla="*/ 4324 h 10768"/>
                <a:gd name="connsiteX131" fmla="*/ 7321 w 10000"/>
                <a:gd name="connsiteY131" fmla="*/ 4470 h 10768"/>
                <a:gd name="connsiteX132" fmla="*/ 7213 w 10000"/>
                <a:gd name="connsiteY132" fmla="*/ 4628 h 10768"/>
                <a:gd name="connsiteX133" fmla="*/ 7100 w 10000"/>
                <a:gd name="connsiteY133" fmla="*/ 4794 h 10768"/>
                <a:gd name="connsiteX134" fmla="*/ 6979 w 10000"/>
                <a:gd name="connsiteY134" fmla="*/ 4958 h 10768"/>
                <a:gd name="connsiteX135" fmla="*/ 6850 w 10000"/>
                <a:gd name="connsiteY135" fmla="*/ 5113 h 10768"/>
                <a:gd name="connsiteX136" fmla="*/ 6721 w 10000"/>
                <a:gd name="connsiteY136" fmla="*/ 5265 h 10768"/>
                <a:gd name="connsiteX137" fmla="*/ 6600 w 10000"/>
                <a:gd name="connsiteY137" fmla="*/ 5405 h 10768"/>
                <a:gd name="connsiteX138" fmla="*/ 6471 w 10000"/>
                <a:gd name="connsiteY138" fmla="*/ 5530 h 10768"/>
                <a:gd name="connsiteX139" fmla="*/ 6358 w 10000"/>
                <a:gd name="connsiteY139" fmla="*/ 5641 h 10768"/>
                <a:gd name="connsiteX140" fmla="*/ 6250 w 10000"/>
                <a:gd name="connsiteY140" fmla="*/ 5721 h 10768"/>
                <a:gd name="connsiteX141" fmla="*/ 6267 w 10000"/>
                <a:gd name="connsiteY141" fmla="*/ 5781 h 10768"/>
                <a:gd name="connsiteX142" fmla="*/ 6296 w 10000"/>
                <a:gd name="connsiteY142" fmla="*/ 5793 h 10768"/>
                <a:gd name="connsiteX143" fmla="*/ 6479 w 10000"/>
                <a:gd name="connsiteY143" fmla="*/ 5754 h 10768"/>
                <a:gd name="connsiteX144" fmla="*/ 6663 w 10000"/>
                <a:gd name="connsiteY144" fmla="*/ 5736 h 10768"/>
                <a:gd name="connsiteX145" fmla="*/ 6858 w 10000"/>
                <a:gd name="connsiteY145" fmla="*/ 5736 h 10768"/>
                <a:gd name="connsiteX146" fmla="*/ 7046 w 10000"/>
                <a:gd name="connsiteY146" fmla="*/ 5742 h 10768"/>
                <a:gd name="connsiteX147" fmla="*/ 7246 w 10000"/>
                <a:gd name="connsiteY147" fmla="*/ 5748 h 10768"/>
                <a:gd name="connsiteX148" fmla="*/ 7425 w 10000"/>
                <a:gd name="connsiteY148" fmla="*/ 5748 h 10768"/>
                <a:gd name="connsiteX149" fmla="*/ 7600 w 10000"/>
                <a:gd name="connsiteY149" fmla="*/ 5733 h 10768"/>
                <a:gd name="connsiteX150" fmla="*/ 7950 w 10000"/>
                <a:gd name="connsiteY150" fmla="*/ 5673 h 10768"/>
                <a:gd name="connsiteX151" fmla="*/ 8275 w 10000"/>
                <a:gd name="connsiteY151" fmla="*/ 5596 h 10768"/>
                <a:gd name="connsiteX152" fmla="*/ 8579 w 10000"/>
                <a:gd name="connsiteY152" fmla="*/ 5504 h 10768"/>
                <a:gd name="connsiteX153" fmla="*/ 8858 w 10000"/>
                <a:gd name="connsiteY153" fmla="*/ 5390 h 10768"/>
                <a:gd name="connsiteX154" fmla="*/ 9117 w 10000"/>
                <a:gd name="connsiteY154" fmla="*/ 5265 h 10768"/>
                <a:gd name="connsiteX155" fmla="*/ 9350 w 10000"/>
                <a:gd name="connsiteY155" fmla="*/ 5119 h 10768"/>
                <a:gd name="connsiteX156" fmla="*/ 9563 w 10000"/>
                <a:gd name="connsiteY156" fmla="*/ 4967 h 10768"/>
                <a:gd name="connsiteX157" fmla="*/ 9758 w 10000"/>
                <a:gd name="connsiteY157" fmla="*/ 4794 h 10768"/>
                <a:gd name="connsiteX158" fmla="*/ 9933 w 10000"/>
                <a:gd name="connsiteY158" fmla="*/ 4610 h 10768"/>
                <a:gd name="connsiteX159" fmla="*/ 10000 w 10000"/>
                <a:gd name="connsiteY159" fmla="*/ 4648 h 10768"/>
                <a:gd name="connsiteX160" fmla="*/ 10000 w 10000"/>
                <a:gd name="connsiteY160" fmla="*/ 4660 h 10768"/>
                <a:gd name="connsiteX161" fmla="*/ 9904 w 10000"/>
                <a:gd name="connsiteY161" fmla="*/ 4827 h 10768"/>
                <a:gd name="connsiteX162" fmla="*/ 9767 w 10000"/>
                <a:gd name="connsiteY162" fmla="*/ 5000 h 10768"/>
                <a:gd name="connsiteX163" fmla="*/ 9600 w 10000"/>
                <a:gd name="connsiteY163" fmla="*/ 5173 h 10768"/>
                <a:gd name="connsiteX164" fmla="*/ 9404 w 10000"/>
                <a:gd name="connsiteY164" fmla="*/ 5343 h 10768"/>
                <a:gd name="connsiteX165" fmla="*/ 9183 w 10000"/>
                <a:gd name="connsiteY165" fmla="*/ 5504 h 10768"/>
                <a:gd name="connsiteX166" fmla="*/ 8950 w 10000"/>
                <a:gd name="connsiteY166" fmla="*/ 5662 h 10768"/>
                <a:gd name="connsiteX167" fmla="*/ 8704 w 10000"/>
                <a:gd name="connsiteY167" fmla="*/ 5802 h 10768"/>
                <a:gd name="connsiteX168" fmla="*/ 8463 w 10000"/>
                <a:gd name="connsiteY168" fmla="*/ 5927 h 10768"/>
                <a:gd name="connsiteX169" fmla="*/ 8229 w 10000"/>
                <a:gd name="connsiteY169" fmla="*/ 6025 h 10768"/>
                <a:gd name="connsiteX170" fmla="*/ 8000 w 10000"/>
                <a:gd name="connsiteY170" fmla="*/ 6105 h 10768"/>
                <a:gd name="connsiteX171" fmla="*/ 7879 w 10000"/>
                <a:gd name="connsiteY171" fmla="*/ 6132 h 10768"/>
                <a:gd name="connsiteX172" fmla="*/ 7729 w 10000"/>
                <a:gd name="connsiteY172" fmla="*/ 6153 h 10768"/>
                <a:gd name="connsiteX173" fmla="*/ 7563 w 10000"/>
                <a:gd name="connsiteY173" fmla="*/ 6177 h 10768"/>
                <a:gd name="connsiteX174" fmla="*/ 7388 w 10000"/>
                <a:gd name="connsiteY174" fmla="*/ 6198 h 10768"/>
                <a:gd name="connsiteX175" fmla="*/ 7204 w 10000"/>
                <a:gd name="connsiteY175" fmla="*/ 6219 h 10768"/>
                <a:gd name="connsiteX176" fmla="*/ 7017 w 10000"/>
                <a:gd name="connsiteY176" fmla="*/ 6240 h 10768"/>
                <a:gd name="connsiteX177" fmla="*/ 6842 w 10000"/>
                <a:gd name="connsiteY177" fmla="*/ 6263 h 10768"/>
                <a:gd name="connsiteX178" fmla="*/ 6675 w 10000"/>
                <a:gd name="connsiteY178" fmla="*/ 6290 h 10768"/>
                <a:gd name="connsiteX179" fmla="*/ 6517 w 10000"/>
                <a:gd name="connsiteY179" fmla="*/ 6329 h 10768"/>
                <a:gd name="connsiteX180" fmla="*/ 6388 w 10000"/>
                <a:gd name="connsiteY180" fmla="*/ 6365 h 10768"/>
                <a:gd name="connsiteX181" fmla="*/ 6288 w 10000"/>
                <a:gd name="connsiteY181" fmla="*/ 6415 h 10768"/>
                <a:gd name="connsiteX182" fmla="*/ 6213 w 10000"/>
                <a:gd name="connsiteY182" fmla="*/ 6475 h 10768"/>
                <a:gd name="connsiteX183" fmla="*/ 6092 w 10000"/>
                <a:gd name="connsiteY183" fmla="*/ 6648 h 10768"/>
                <a:gd name="connsiteX184" fmla="*/ 6008 w 10000"/>
                <a:gd name="connsiteY184" fmla="*/ 6836 h 10768"/>
                <a:gd name="connsiteX185" fmla="*/ 5942 w 10000"/>
                <a:gd name="connsiteY185" fmla="*/ 7032 h 10768"/>
                <a:gd name="connsiteX186" fmla="*/ 5904 w 10000"/>
                <a:gd name="connsiteY186" fmla="*/ 7232 h 10768"/>
                <a:gd name="connsiteX187" fmla="*/ 5888 w 10000"/>
                <a:gd name="connsiteY187" fmla="*/ 7443 h 10768"/>
                <a:gd name="connsiteX188" fmla="*/ 5879 w 10000"/>
                <a:gd name="connsiteY188" fmla="*/ 7655 h 10768"/>
                <a:gd name="connsiteX189" fmla="*/ 5888 w 10000"/>
                <a:gd name="connsiteY189" fmla="*/ 7867 h 10768"/>
                <a:gd name="connsiteX190" fmla="*/ 5904 w 10000"/>
                <a:gd name="connsiteY190" fmla="*/ 8084 h 10768"/>
                <a:gd name="connsiteX191" fmla="*/ 5925 w 10000"/>
                <a:gd name="connsiteY191" fmla="*/ 8299 h 10768"/>
                <a:gd name="connsiteX192" fmla="*/ 5950 w 10000"/>
                <a:gd name="connsiteY192" fmla="*/ 8510 h 10768"/>
                <a:gd name="connsiteX193" fmla="*/ 5954 w 10000"/>
                <a:gd name="connsiteY193" fmla="*/ 8820 h 10768"/>
                <a:gd name="connsiteX194" fmla="*/ 5933 w 10000"/>
                <a:gd name="connsiteY194" fmla="*/ 9130 h 10768"/>
                <a:gd name="connsiteX195" fmla="*/ 5896 w 10000"/>
                <a:gd name="connsiteY195" fmla="*/ 9428 h 10768"/>
                <a:gd name="connsiteX196" fmla="*/ 5850 w 10000"/>
                <a:gd name="connsiteY196" fmla="*/ 9720 h 10768"/>
                <a:gd name="connsiteX197" fmla="*/ 5756 w 10000"/>
                <a:gd name="connsiteY197" fmla="*/ 10714 h 10768"/>
                <a:gd name="connsiteX198" fmla="*/ 3964 w 10000"/>
                <a:gd name="connsiteY198" fmla="*/ 10768 h 10768"/>
                <a:gd name="connsiteX199" fmla="*/ 3043 w 10000"/>
                <a:gd name="connsiteY199" fmla="*/ 9881 h 10768"/>
                <a:gd name="connsiteX200" fmla="*/ 4546 w 10000"/>
                <a:gd name="connsiteY200" fmla="*/ 9848 h 10768"/>
                <a:gd name="connsiteX201" fmla="*/ 4629 w 10000"/>
                <a:gd name="connsiteY201" fmla="*/ 9687 h 10768"/>
                <a:gd name="connsiteX202" fmla="*/ 4700 w 10000"/>
                <a:gd name="connsiteY202" fmla="*/ 9508 h 10768"/>
                <a:gd name="connsiteX203" fmla="*/ 4767 w 10000"/>
                <a:gd name="connsiteY203" fmla="*/ 9309 h 10768"/>
                <a:gd name="connsiteX204" fmla="*/ 4829 w 10000"/>
                <a:gd name="connsiteY204" fmla="*/ 9097 h 10768"/>
                <a:gd name="connsiteX205" fmla="*/ 4879 w 10000"/>
                <a:gd name="connsiteY205" fmla="*/ 8868 h 10768"/>
                <a:gd name="connsiteX206" fmla="*/ 4917 w 10000"/>
                <a:gd name="connsiteY206" fmla="*/ 8635 h 10768"/>
                <a:gd name="connsiteX207" fmla="*/ 4954 w 10000"/>
                <a:gd name="connsiteY207" fmla="*/ 8391 h 10768"/>
                <a:gd name="connsiteX208" fmla="*/ 4979 w 10000"/>
                <a:gd name="connsiteY208" fmla="*/ 8144 h 10768"/>
                <a:gd name="connsiteX209" fmla="*/ 5000 w 10000"/>
                <a:gd name="connsiteY209" fmla="*/ 7887 h 10768"/>
                <a:gd name="connsiteX210" fmla="*/ 5000 w 10000"/>
                <a:gd name="connsiteY210" fmla="*/ 7634 h 10768"/>
                <a:gd name="connsiteX211" fmla="*/ 5000 w 10000"/>
                <a:gd name="connsiteY211" fmla="*/ 7384 h 10768"/>
                <a:gd name="connsiteX212" fmla="*/ 4979 w 10000"/>
                <a:gd name="connsiteY212" fmla="*/ 7133 h 10768"/>
                <a:gd name="connsiteX213" fmla="*/ 4950 w 10000"/>
                <a:gd name="connsiteY213" fmla="*/ 6892 h 10768"/>
                <a:gd name="connsiteX214" fmla="*/ 4913 w 10000"/>
                <a:gd name="connsiteY214" fmla="*/ 6657 h 10768"/>
                <a:gd name="connsiteX215" fmla="*/ 4858 w 10000"/>
                <a:gd name="connsiteY215" fmla="*/ 6430 h 10768"/>
                <a:gd name="connsiteX216" fmla="*/ 4783 w 10000"/>
                <a:gd name="connsiteY216" fmla="*/ 6219 h 10768"/>
                <a:gd name="connsiteX217" fmla="*/ 4700 w 10000"/>
                <a:gd name="connsiteY217" fmla="*/ 6019 h 10768"/>
                <a:gd name="connsiteX218" fmla="*/ 4600 w 10000"/>
                <a:gd name="connsiteY218" fmla="*/ 5840 h 10768"/>
                <a:gd name="connsiteX219" fmla="*/ 4488 w 10000"/>
                <a:gd name="connsiteY219" fmla="*/ 5682 h 10768"/>
                <a:gd name="connsiteX220" fmla="*/ 4358 w 10000"/>
                <a:gd name="connsiteY220" fmla="*/ 5542 h 10768"/>
                <a:gd name="connsiteX221" fmla="*/ 4213 w 10000"/>
                <a:gd name="connsiteY221" fmla="*/ 5429 h 10768"/>
                <a:gd name="connsiteX222" fmla="*/ 4046 w 10000"/>
                <a:gd name="connsiteY222" fmla="*/ 5343 h 10768"/>
                <a:gd name="connsiteX223" fmla="*/ 3904 w 10000"/>
                <a:gd name="connsiteY223" fmla="*/ 5292 h 10768"/>
                <a:gd name="connsiteX224" fmla="*/ 3746 w 10000"/>
                <a:gd name="connsiteY224" fmla="*/ 5271 h 10768"/>
                <a:gd name="connsiteX225" fmla="*/ 3583 w 10000"/>
                <a:gd name="connsiteY225" fmla="*/ 5271 h 10768"/>
                <a:gd name="connsiteX226" fmla="*/ 3413 w 10000"/>
                <a:gd name="connsiteY226" fmla="*/ 5286 h 10768"/>
                <a:gd name="connsiteX227" fmla="*/ 3246 w 10000"/>
                <a:gd name="connsiteY227" fmla="*/ 5310 h 10768"/>
                <a:gd name="connsiteX228" fmla="*/ 3079 w 10000"/>
                <a:gd name="connsiteY228" fmla="*/ 5343 h 10768"/>
                <a:gd name="connsiteX229" fmla="*/ 2913 w 10000"/>
                <a:gd name="connsiteY229" fmla="*/ 5369 h 10768"/>
                <a:gd name="connsiteX230" fmla="*/ 2750 w 10000"/>
                <a:gd name="connsiteY230" fmla="*/ 5396 h 10768"/>
                <a:gd name="connsiteX231" fmla="*/ 2600 w 10000"/>
                <a:gd name="connsiteY231" fmla="*/ 5411 h 10768"/>
                <a:gd name="connsiteX232" fmla="*/ 2258 w 10000"/>
                <a:gd name="connsiteY232" fmla="*/ 5423 h 10768"/>
                <a:gd name="connsiteX233" fmla="*/ 1925 w 10000"/>
                <a:gd name="connsiteY233" fmla="*/ 5411 h 10768"/>
                <a:gd name="connsiteX234" fmla="*/ 1617 w 10000"/>
                <a:gd name="connsiteY234" fmla="*/ 5384 h 10768"/>
                <a:gd name="connsiteX235" fmla="*/ 1321 w 10000"/>
                <a:gd name="connsiteY235" fmla="*/ 5346 h 10768"/>
                <a:gd name="connsiteX236" fmla="*/ 1033 w 10000"/>
                <a:gd name="connsiteY236" fmla="*/ 5298 h 10768"/>
                <a:gd name="connsiteX237" fmla="*/ 758 w 10000"/>
                <a:gd name="connsiteY237" fmla="*/ 5250 h 10768"/>
                <a:gd name="connsiteX238" fmla="*/ 500 w 10000"/>
                <a:gd name="connsiteY238" fmla="*/ 5197 h 10768"/>
                <a:gd name="connsiteX239" fmla="*/ 517 w 10000"/>
                <a:gd name="connsiteY239" fmla="*/ 5137 h 10768"/>
                <a:gd name="connsiteX240" fmla="*/ 871 w 10000"/>
                <a:gd name="connsiteY240" fmla="*/ 5173 h 10768"/>
                <a:gd name="connsiteX241" fmla="*/ 1221 w 10000"/>
                <a:gd name="connsiteY241" fmla="*/ 5197 h 10768"/>
                <a:gd name="connsiteX242" fmla="*/ 1563 w 10000"/>
                <a:gd name="connsiteY242" fmla="*/ 5206 h 10768"/>
                <a:gd name="connsiteX243" fmla="*/ 1896 w 10000"/>
                <a:gd name="connsiteY243" fmla="*/ 5197 h 10768"/>
                <a:gd name="connsiteX244" fmla="*/ 2221 w 10000"/>
                <a:gd name="connsiteY244" fmla="*/ 5164 h 10768"/>
                <a:gd name="connsiteX245" fmla="*/ 2538 w 10000"/>
                <a:gd name="connsiteY245" fmla="*/ 5113 h 10768"/>
                <a:gd name="connsiteX246" fmla="*/ 2842 w 10000"/>
                <a:gd name="connsiteY246" fmla="*/ 5045 h 10768"/>
                <a:gd name="connsiteX247" fmla="*/ 3129 w 10000"/>
                <a:gd name="connsiteY247" fmla="*/ 4946 h 10768"/>
                <a:gd name="connsiteX248" fmla="*/ 3500 w 10000"/>
                <a:gd name="connsiteY248" fmla="*/ 4815 h 10768"/>
                <a:gd name="connsiteX249" fmla="*/ 2821 w 10000"/>
                <a:gd name="connsiteY249" fmla="*/ 4389 h 10768"/>
                <a:gd name="connsiteX250" fmla="*/ 2213 w 10000"/>
                <a:gd name="connsiteY250" fmla="*/ 3912 h 10768"/>
                <a:gd name="connsiteX251" fmla="*/ 1879 w 10000"/>
                <a:gd name="connsiteY251" fmla="*/ 3939 h 10768"/>
                <a:gd name="connsiteX252" fmla="*/ 1554 w 10000"/>
                <a:gd name="connsiteY252" fmla="*/ 3939 h 10768"/>
                <a:gd name="connsiteX253" fmla="*/ 1258 w 10000"/>
                <a:gd name="connsiteY253" fmla="*/ 3912 h 10768"/>
                <a:gd name="connsiteX254" fmla="*/ 979 w 10000"/>
                <a:gd name="connsiteY254" fmla="*/ 3856 h 10768"/>
                <a:gd name="connsiteX255" fmla="*/ 721 w 10000"/>
                <a:gd name="connsiteY255" fmla="*/ 3775 h 10768"/>
                <a:gd name="connsiteX256" fmla="*/ 496 w 10000"/>
                <a:gd name="connsiteY256" fmla="*/ 3674 h 10768"/>
                <a:gd name="connsiteX257" fmla="*/ 296 w 10000"/>
                <a:gd name="connsiteY257" fmla="*/ 3549 h 10768"/>
                <a:gd name="connsiteX258" fmla="*/ 129 w 10000"/>
                <a:gd name="connsiteY258" fmla="*/ 3403 h 10768"/>
                <a:gd name="connsiteX259" fmla="*/ 0 w 10000"/>
                <a:gd name="connsiteY259" fmla="*/ 3245 h 10768"/>
                <a:gd name="connsiteX260" fmla="*/ 17 w 10000"/>
                <a:gd name="connsiteY260" fmla="*/ 3218 h 10768"/>
                <a:gd name="connsiteX261" fmla="*/ 71 w 10000"/>
                <a:gd name="connsiteY261" fmla="*/ 3245 h 10768"/>
                <a:gd name="connsiteX262" fmla="*/ 138 w 10000"/>
                <a:gd name="connsiteY262" fmla="*/ 3349 h 10768"/>
                <a:gd name="connsiteX263" fmla="*/ 246 w 10000"/>
                <a:gd name="connsiteY263" fmla="*/ 3439 h 10768"/>
                <a:gd name="connsiteX264" fmla="*/ 379 w 10000"/>
                <a:gd name="connsiteY264" fmla="*/ 3528 h 10768"/>
                <a:gd name="connsiteX265" fmla="*/ 538 w 10000"/>
                <a:gd name="connsiteY265" fmla="*/ 3597 h 10768"/>
                <a:gd name="connsiteX266" fmla="*/ 721 w 10000"/>
                <a:gd name="connsiteY266" fmla="*/ 3656 h 10768"/>
                <a:gd name="connsiteX267" fmla="*/ 913 w 10000"/>
                <a:gd name="connsiteY267" fmla="*/ 3701 h 10768"/>
                <a:gd name="connsiteX268" fmla="*/ 1117 w 10000"/>
                <a:gd name="connsiteY268" fmla="*/ 3728 h 10768"/>
                <a:gd name="connsiteX269" fmla="*/ 1329 w 10000"/>
                <a:gd name="connsiteY269" fmla="*/ 3737 h 10768"/>
                <a:gd name="connsiteX270" fmla="*/ 1533 w 10000"/>
                <a:gd name="connsiteY270" fmla="*/ 3734 h 10768"/>
                <a:gd name="connsiteX271" fmla="*/ 1646 w 10000"/>
                <a:gd name="connsiteY271" fmla="*/ 3722 h 10768"/>
                <a:gd name="connsiteX272" fmla="*/ 1746 w 10000"/>
                <a:gd name="connsiteY272" fmla="*/ 3722 h 10768"/>
                <a:gd name="connsiteX273" fmla="*/ 1833 w 10000"/>
                <a:gd name="connsiteY273" fmla="*/ 3710 h 10768"/>
                <a:gd name="connsiteX274" fmla="*/ 1917 w 10000"/>
                <a:gd name="connsiteY274" fmla="*/ 3695 h 10768"/>
                <a:gd name="connsiteX275" fmla="*/ 1988 w 10000"/>
                <a:gd name="connsiteY275" fmla="*/ 3662 h 10768"/>
                <a:gd name="connsiteX276" fmla="*/ 1788 w 10000"/>
                <a:gd name="connsiteY276" fmla="*/ 3391 h 10768"/>
                <a:gd name="connsiteX277" fmla="*/ 1617 w 10000"/>
                <a:gd name="connsiteY277" fmla="*/ 3126 h 10768"/>
                <a:gd name="connsiteX278" fmla="*/ 1454 w 10000"/>
                <a:gd name="connsiteY278" fmla="*/ 2849 h 10768"/>
                <a:gd name="connsiteX279" fmla="*/ 1313 w 10000"/>
                <a:gd name="connsiteY279" fmla="*/ 2563 h 10768"/>
                <a:gd name="connsiteX280" fmla="*/ 1175 w 10000"/>
                <a:gd name="connsiteY280" fmla="*/ 2253 h 10768"/>
                <a:gd name="connsiteX281" fmla="*/ 1046 w 10000"/>
                <a:gd name="connsiteY281" fmla="*/ 1919 h 10768"/>
                <a:gd name="connsiteX282" fmla="*/ 1033 w 10000"/>
                <a:gd name="connsiteY282" fmla="*/ 1859 h 10768"/>
                <a:gd name="connsiteX283" fmla="*/ 1000 w 10000"/>
                <a:gd name="connsiteY283" fmla="*/ 1776 h 10768"/>
                <a:gd name="connsiteX284" fmla="*/ 979 w 10000"/>
                <a:gd name="connsiteY284" fmla="*/ 1684 h 10768"/>
                <a:gd name="connsiteX285" fmla="*/ 950 w 10000"/>
                <a:gd name="connsiteY285" fmla="*/ 1591 h 10768"/>
                <a:gd name="connsiteX286" fmla="*/ 925 w 10000"/>
                <a:gd name="connsiteY286" fmla="*/ 1490 h 10768"/>
                <a:gd name="connsiteX287" fmla="*/ 917 w 10000"/>
                <a:gd name="connsiteY287" fmla="*/ 1397 h 10768"/>
                <a:gd name="connsiteX288" fmla="*/ 917 w 10000"/>
                <a:gd name="connsiteY288" fmla="*/ 1311 h 10768"/>
                <a:gd name="connsiteX289" fmla="*/ 933 w 10000"/>
                <a:gd name="connsiteY289" fmla="*/ 1234 h 10768"/>
                <a:gd name="connsiteX290" fmla="*/ 963 w 10000"/>
                <a:gd name="connsiteY290" fmla="*/ 1180 h 10768"/>
                <a:gd name="connsiteX291" fmla="*/ 1000 w 10000"/>
                <a:gd name="connsiteY291" fmla="*/ 1192 h 10768"/>
                <a:gd name="connsiteX292" fmla="*/ 1033 w 10000"/>
                <a:gd name="connsiteY292" fmla="*/ 1496 h 10768"/>
                <a:gd name="connsiteX293" fmla="*/ 1108 w 10000"/>
                <a:gd name="connsiteY293" fmla="*/ 1800 h 10768"/>
                <a:gd name="connsiteX294" fmla="*/ 1221 w 10000"/>
                <a:gd name="connsiteY294" fmla="*/ 2098 h 10768"/>
                <a:gd name="connsiteX295" fmla="*/ 1358 w 10000"/>
                <a:gd name="connsiteY295" fmla="*/ 2372 h 10768"/>
                <a:gd name="connsiteX296" fmla="*/ 1508 w 10000"/>
                <a:gd name="connsiteY296" fmla="*/ 2628 h 10768"/>
                <a:gd name="connsiteX297" fmla="*/ 1646 w 10000"/>
                <a:gd name="connsiteY297" fmla="*/ 2795 h 10768"/>
                <a:gd name="connsiteX298" fmla="*/ 1629 w 10000"/>
                <a:gd name="connsiteY298" fmla="*/ 2801 h 10768"/>
                <a:gd name="connsiteX299" fmla="*/ 1629 w 10000"/>
                <a:gd name="connsiteY299" fmla="*/ 2807 h 10768"/>
                <a:gd name="connsiteX300" fmla="*/ 1638 w 10000"/>
                <a:gd name="connsiteY300" fmla="*/ 2813 h 10768"/>
                <a:gd name="connsiteX301" fmla="*/ 1646 w 10000"/>
                <a:gd name="connsiteY301" fmla="*/ 2816 h 10768"/>
                <a:gd name="connsiteX302" fmla="*/ 1663 w 10000"/>
                <a:gd name="connsiteY302" fmla="*/ 2822 h 10768"/>
                <a:gd name="connsiteX303" fmla="*/ 1667 w 10000"/>
                <a:gd name="connsiteY303" fmla="*/ 2834 h 10768"/>
                <a:gd name="connsiteX304" fmla="*/ 1675 w 10000"/>
                <a:gd name="connsiteY304" fmla="*/ 2840 h 10768"/>
                <a:gd name="connsiteX305" fmla="*/ 1683 w 10000"/>
                <a:gd name="connsiteY305" fmla="*/ 2849 h 10768"/>
                <a:gd name="connsiteX306" fmla="*/ 1683 w 10000"/>
                <a:gd name="connsiteY306" fmla="*/ 2843 h 10768"/>
                <a:gd name="connsiteX307" fmla="*/ 1675 w 10000"/>
                <a:gd name="connsiteY307" fmla="*/ 2840 h 10768"/>
                <a:gd name="connsiteX308" fmla="*/ 1675 w 10000"/>
                <a:gd name="connsiteY308" fmla="*/ 2840 h 10768"/>
                <a:gd name="connsiteX309" fmla="*/ 1646 w 10000"/>
                <a:gd name="connsiteY309" fmla="*/ 2795 h 10768"/>
                <a:gd name="connsiteX310" fmla="*/ 1746 w 10000"/>
                <a:gd name="connsiteY310" fmla="*/ 2741 h 10768"/>
                <a:gd name="connsiteX311" fmla="*/ 1842 w 10000"/>
                <a:gd name="connsiteY311" fmla="*/ 2649 h 10768"/>
                <a:gd name="connsiteX312" fmla="*/ 1933 w 10000"/>
                <a:gd name="connsiteY312" fmla="*/ 2542 h 10768"/>
                <a:gd name="connsiteX313" fmla="*/ 2017 w 10000"/>
                <a:gd name="connsiteY313" fmla="*/ 2411 h 10768"/>
                <a:gd name="connsiteX314" fmla="*/ 2092 w 10000"/>
                <a:gd name="connsiteY314" fmla="*/ 2265 h 10768"/>
                <a:gd name="connsiteX315" fmla="*/ 2163 w 10000"/>
                <a:gd name="connsiteY315" fmla="*/ 2113 h 10768"/>
                <a:gd name="connsiteX316" fmla="*/ 2221 w 10000"/>
                <a:gd name="connsiteY316" fmla="*/ 1955 h 10768"/>
                <a:gd name="connsiteX317" fmla="*/ 2275 w 10000"/>
                <a:gd name="connsiteY317" fmla="*/ 1803 h 10768"/>
                <a:gd name="connsiteX318" fmla="*/ 2321 w 10000"/>
                <a:gd name="connsiteY318" fmla="*/ 1657 h 10768"/>
                <a:gd name="connsiteX319" fmla="*/ 2329 w 10000"/>
                <a:gd name="connsiteY319" fmla="*/ 1853 h 10768"/>
                <a:gd name="connsiteX320" fmla="*/ 2321 w 10000"/>
                <a:gd name="connsiteY320" fmla="*/ 2032 h 10768"/>
                <a:gd name="connsiteX321" fmla="*/ 2283 w 10000"/>
                <a:gd name="connsiteY321" fmla="*/ 2199 h 10768"/>
                <a:gd name="connsiteX322" fmla="*/ 2229 w 10000"/>
                <a:gd name="connsiteY322" fmla="*/ 2366 h 10768"/>
                <a:gd name="connsiteX323" fmla="*/ 2154 w 10000"/>
                <a:gd name="connsiteY323" fmla="*/ 2524 h 10768"/>
                <a:gd name="connsiteX324" fmla="*/ 2046 w 10000"/>
                <a:gd name="connsiteY324" fmla="*/ 2682 h 10768"/>
                <a:gd name="connsiteX325" fmla="*/ 1796 w 10000"/>
                <a:gd name="connsiteY325" fmla="*/ 3027 h 10768"/>
                <a:gd name="connsiteX326" fmla="*/ 2054 w 10000"/>
                <a:gd name="connsiteY326" fmla="*/ 3305 h 10768"/>
                <a:gd name="connsiteX327" fmla="*/ 2333 w 10000"/>
                <a:gd name="connsiteY327" fmla="*/ 3564 h 10768"/>
                <a:gd name="connsiteX328" fmla="*/ 2638 w 10000"/>
                <a:gd name="connsiteY328" fmla="*/ 3808 h 10768"/>
                <a:gd name="connsiteX329" fmla="*/ 2963 w 10000"/>
                <a:gd name="connsiteY329" fmla="*/ 4032 h 10768"/>
                <a:gd name="connsiteX330" fmla="*/ 4129 w 10000"/>
                <a:gd name="connsiteY330" fmla="*/ 4610 h 10768"/>
                <a:gd name="connsiteX331" fmla="*/ 4167 w 10000"/>
                <a:gd name="connsiteY331" fmla="*/ 4589 h 10768"/>
                <a:gd name="connsiteX332" fmla="*/ 4071 w 10000"/>
                <a:gd name="connsiteY332" fmla="*/ 4333 h 10768"/>
                <a:gd name="connsiteX333" fmla="*/ 3996 w 10000"/>
                <a:gd name="connsiteY333" fmla="*/ 4058 h 10768"/>
                <a:gd name="connsiteX334" fmla="*/ 3933 w 10000"/>
                <a:gd name="connsiteY334" fmla="*/ 3760 h 10768"/>
                <a:gd name="connsiteX335" fmla="*/ 3904 w 10000"/>
                <a:gd name="connsiteY335" fmla="*/ 3456 h 10768"/>
                <a:gd name="connsiteX336" fmla="*/ 3879 w 10000"/>
                <a:gd name="connsiteY336" fmla="*/ 3138 h 10768"/>
                <a:gd name="connsiteX337" fmla="*/ 3879 w 10000"/>
                <a:gd name="connsiteY337" fmla="*/ 2813 h 10768"/>
                <a:gd name="connsiteX338" fmla="*/ 3896 w 10000"/>
                <a:gd name="connsiteY338" fmla="*/ 2485 h 10768"/>
                <a:gd name="connsiteX339" fmla="*/ 3933 w 10000"/>
                <a:gd name="connsiteY339" fmla="*/ 2160 h 10768"/>
                <a:gd name="connsiteX340" fmla="*/ 3988 w 10000"/>
                <a:gd name="connsiteY340" fmla="*/ 1836 h 10768"/>
                <a:gd name="connsiteX341" fmla="*/ 4046 w 10000"/>
                <a:gd name="connsiteY341" fmla="*/ 1523 h 10768"/>
                <a:gd name="connsiteX342" fmla="*/ 4129 w 10000"/>
                <a:gd name="connsiteY342" fmla="*/ 1219 h 10768"/>
                <a:gd name="connsiteX343" fmla="*/ 4229 w 10000"/>
                <a:gd name="connsiteY343" fmla="*/ 933 h 10768"/>
                <a:gd name="connsiteX344" fmla="*/ 4333 w 10000"/>
                <a:gd name="connsiteY344" fmla="*/ 662 h 10768"/>
                <a:gd name="connsiteX345" fmla="*/ 4454 w 10000"/>
                <a:gd name="connsiteY345" fmla="*/ 417 h 10768"/>
                <a:gd name="connsiteX346" fmla="*/ 4583 w 10000"/>
                <a:gd name="connsiteY346" fmla="*/ 194 h 10768"/>
                <a:gd name="connsiteX347" fmla="*/ 4738 w 10000"/>
                <a:gd name="connsiteY347" fmla="*/ 0 h 10768"/>
                <a:gd name="connsiteX0" fmla="*/ 4738 w 10000"/>
                <a:gd name="connsiteY0" fmla="*/ 0 h 10714"/>
                <a:gd name="connsiteX1" fmla="*/ 4721 w 10000"/>
                <a:gd name="connsiteY1" fmla="*/ 48 h 10714"/>
                <a:gd name="connsiteX2" fmla="*/ 4713 w 10000"/>
                <a:gd name="connsiteY2" fmla="*/ 80 h 10714"/>
                <a:gd name="connsiteX3" fmla="*/ 4704 w 10000"/>
                <a:gd name="connsiteY3" fmla="*/ 101 h 10714"/>
                <a:gd name="connsiteX4" fmla="*/ 4704 w 10000"/>
                <a:gd name="connsiteY4" fmla="*/ 113 h 10714"/>
                <a:gd name="connsiteX5" fmla="*/ 4713 w 10000"/>
                <a:gd name="connsiteY5" fmla="*/ 119 h 10714"/>
                <a:gd name="connsiteX6" fmla="*/ 4713 w 10000"/>
                <a:gd name="connsiteY6" fmla="*/ 125 h 10714"/>
                <a:gd name="connsiteX7" fmla="*/ 4721 w 10000"/>
                <a:gd name="connsiteY7" fmla="*/ 125 h 10714"/>
                <a:gd name="connsiteX8" fmla="*/ 4721 w 10000"/>
                <a:gd name="connsiteY8" fmla="*/ 125 h 10714"/>
                <a:gd name="connsiteX9" fmla="*/ 4721 w 10000"/>
                <a:gd name="connsiteY9" fmla="*/ 134 h 10714"/>
                <a:gd name="connsiteX10" fmla="*/ 4713 w 10000"/>
                <a:gd name="connsiteY10" fmla="*/ 152 h 10714"/>
                <a:gd name="connsiteX11" fmla="*/ 4704 w 10000"/>
                <a:gd name="connsiteY11" fmla="*/ 179 h 10714"/>
                <a:gd name="connsiteX12" fmla="*/ 4692 w 10000"/>
                <a:gd name="connsiteY12" fmla="*/ 221 h 10714"/>
                <a:gd name="connsiteX13" fmla="*/ 4667 w 10000"/>
                <a:gd name="connsiteY13" fmla="*/ 280 h 10714"/>
                <a:gd name="connsiteX14" fmla="*/ 4629 w 10000"/>
                <a:gd name="connsiteY14" fmla="*/ 364 h 10714"/>
                <a:gd name="connsiteX15" fmla="*/ 4592 w 10000"/>
                <a:gd name="connsiteY15" fmla="*/ 465 h 10714"/>
                <a:gd name="connsiteX16" fmla="*/ 4533 w 10000"/>
                <a:gd name="connsiteY16" fmla="*/ 596 h 10714"/>
                <a:gd name="connsiteX17" fmla="*/ 4463 w 10000"/>
                <a:gd name="connsiteY17" fmla="*/ 754 h 10714"/>
                <a:gd name="connsiteX18" fmla="*/ 4379 w 10000"/>
                <a:gd name="connsiteY18" fmla="*/ 1001 h 10714"/>
                <a:gd name="connsiteX19" fmla="*/ 4321 w 10000"/>
                <a:gd name="connsiteY19" fmla="*/ 1266 h 10714"/>
                <a:gd name="connsiteX20" fmla="*/ 4275 w 10000"/>
                <a:gd name="connsiteY20" fmla="*/ 1538 h 10714"/>
                <a:gd name="connsiteX21" fmla="*/ 4213 w 10000"/>
                <a:gd name="connsiteY21" fmla="*/ 1827 h 10714"/>
                <a:gd name="connsiteX22" fmla="*/ 4204 w 10000"/>
                <a:gd name="connsiteY22" fmla="*/ 1889 h 10714"/>
                <a:gd name="connsiteX23" fmla="*/ 4192 w 10000"/>
                <a:gd name="connsiteY23" fmla="*/ 1982 h 10714"/>
                <a:gd name="connsiteX24" fmla="*/ 4183 w 10000"/>
                <a:gd name="connsiteY24" fmla="*/ 2080 h 10714"/>
                <a:gd name="connsiteX25" fmla="*/ 4175 w 10000"/>
                <a:gd name="connsiteY25" fmla="*/ 2187 h 10714"/>
                <a:gd name="connsiteX26" fmla="*/ 4175 w 10000"/>
                <a:gd name="connsiteY26" fmla="*/ 2297 h 10714"/>
                <a:gd name="connsiteX27" fmla="*/ 4192 w 10000"/>
                <a:gd name="connsiteY27" fmla="*/ 2396 h 10714"/>
                <a:gd name="connsiteX28" fmla="*/ 4213 w 10000"/>
                <a:gd name="connsiteY28" fmla="*/ 2482 h 10714"/>
                <a:gd name="connsiteX29" fmla="*/ 4250 w 10000"/>
                <a:gd name="connsiteY29" fmla="*/ 2542 h 10714"/>
                <a:gd name="connsiteX30" fmla="*/ 4450 w 10000"/>
                <a:gd name="connsiteY30" fmla="*/ 2530 h 10714"/>
                <a:gd name="connsiteX31" fmla="*/ 4646 w 10000"/>
                <a:gd name="connsiteY31" fmla="*/ 2482 h 10714"/>
                <a:gd name="connsiteX32" fmla="*/ 4833 w 10000"/>
                <a:gd name="connsiteY32" fmla="*/ 2405 h 10714"/>
                <a:gd name="connsiteX33" fmla="*/ 5025 w 10000"/>
                <a:gd name="connsiteY33" fmla="*/ 2297 h 10714"/>
                <a:gd name="connsiteX34" fmla="*/ 5200 w 10000"/>
                <a:gd name="connsiteY34" fmla="*/ 2172 h 10714"/>
                <a:gd name="connsiteX35" fmla="*/ 5371 w 10000"/>
                <a:gd name="connsiteY35" fmla="*/ 2020 h 10714"/>
                <a:gd name="connsiteX36" fmla="*/ 5533 w 10000"/>
                <a:gd name="connsiteY36" fmla="*/ 1859 h 10714"/>
                <a:gd name="connsiteX37" fmla="*/ 5683 w 10000"/>
                <a:gd name="connsiteY37" fmla="*/ 1690 h 10714"/>
                <a:gd name="connsiteX38" fmla="*/ 5829 w 10000"/>
                <a:gd name="connsiteY38" fmla="*/ 1511 h 10714"/>
                <a:gd name="connsiteX39" fmla="*/ 5954 w 10000"/>
                <a:gd name="connsiteY39" fmla="*/ 1326 h 10714"/>
                <a:gd name="connsiteX40" fmla="*/ 6071 w 10000"/>
                <a:gd name="connsiteY40" fmla="*/ 1147 h 10714"/>
                <a:gd name="connsiteX41" fmla="*/ 6167 w 10000"/>
                <a:gd name="connsiteY41" fmla="*/ 974 h 10714"/>
                <a:gd name="connsiteX42" fmla="*/ 6213 w 10000"/>
                <a:gd name="connsiteY42" fmla="*/ 974 h 10714"/>
                <a:gd name="connsiteX43" fmla="*/ 6213 w 10000"/>
                <a:gd name="connsiteY43" fmla="*/ 992 h 10714"/>
                <a:gd name="connsiteX44" fmla="*/ 6138 w 10000"/>
                <a:gd name="connsiteY44" fmla="*/ 1165 h 10714"/>
                <a:gd name="connsiteX45" fmla="*/ 6054 w 10000"/>
                <a:gd name="connsiteY45" fmla="*/ 1344 h 10714"/>
                <a:gd name="connsiteX46" fmla="*/ 5963 w 10000"/>
                <a:gd name="connsiteY46" fmla="*/ 1517 h 10714"/>
                <a:gd name="connsiteX47" fmla="*/ 5871 w 10000"/>
                <a:gd name="connsiteY47" fmla="*/ 1684 h 10714"/>
                <a:gd name="connsiteX48" fmla="*/ 5775 w 10000"/>
                <a:gd name="connsiteY48" fmla="*/ 1847 h 10714"/>
                <a:gd name="connsiteX49" fmla="*/ 5667 w 10000"/>
                <a:gd name="connsiteY49" fmla="*/ 1999 h 10714"/>
                <a:gd name="connsiteX50" fmla="*/ 5554 w 10000"/>
                <a:gd name="connsiteY50" fmla="*/ 2145 h 10714"/>
                <a:gd name="connsiteX51" fmla="*/ 5417 w 10000"/>
                <a:gd name="connsiteY51" fmla="*/ 2279 h 10714"/>
                <a:gd name="connsiteX52" fmla="*/ 5275 w 10000"/>
                <a:gd name="connsiteY52" fmla="*/ 2411 h 10714"/>
                <a:gd name="connsiteX53" fmla="*/ 5108 w 10000"/>
                <a:gd name="connsiteY53" fmla="*/ 2518 h 10714"/>
                <a:gd name="connsiteX54" fmla="*/ 4917 w 10000"/>
                <a:gd name="connsiteY54" fmla="*/ 2616 h 10714"/>
                <a:gd name="connsiteX55" fmla="*/ 4704 w 10000"/>
                <a:gd name="connsiteY55" fmla="*/ 2703 h 10714"/>
                <a:gd name="connsiteX56" fmla="*/ 4479 w 10000"/>
                <a:gd name="connsiteY56" fmla="*/ 2768 h 10714"/>
                <a:gd name="connsiteX57" fmla="*/ 4213 w 10000"/>
                <a:gd name="connsiteY57" fmla="*/ 2813 h 10714"/>
                <a:gd name="connsiteX58" fmla="*/ 4221 w 10000"/>
                <a:gd name="connsiteY58" fmla="*/ 3126 h 10714"/>
                <a:gd name="connsiteX59" fmla="*/ 4258 w 10000"/>
                <a:gd name="connsiteY59" fmla="*/ 3424 h 10714"/>
                <a:gd name="connsiteX60" fmla="*/ 4321 w 10000"/>
                <a:gd name="connsiteY60" fmla="*/ 3707 h 10714"/>
                <a:gd name="connsiteX61" fmla="*/ 4404 w 10000"/>
                <a:gd name="connsiteY61" fmla="*/ 3975 h 10714"/>
                <a:gd name="connsiteX62" fmla="*/ 4508 w 10000"/>
                <a:gd name="connsiteY62" fmla="*/ 4231 h 10714"/>
                <a:gd name="connsiteX63" fmla="*/ 4621 w 10000"/>
                <a:gd name="connsiteY63" fmla="*/ 4476 h 10714"/>
                <a:gd name="connsiteX64" fmla="*/ 4750 w 10000"/>
                <a:gd name="connsiteY64" fmla="*/ 4708 h 10714"/>
                <a:gd name="connsiteX65" fmla="*/ 4879 w 10000"/>
                <a:gd name="connsiteY65" fmla="*/ 4934 h 10714"/>
                <a:gd name="connsiteX66" fmla="*/ 4917 w 10000"/>
                <a:gd name="connsiteY66" fmla="*/ 4988 h 10714"/>
                <a:gd name="connsiteX67" fmla="*/ 4950 w 10000"/>
                <a:gd name="connsiteY67" fmla="*/ 5054 h 10714"/>
                <a:gd name="connsiteX68" fmla="*/ 4996 w 10000"/>
                <a:gd name="connsiteY68" fmla="*/ 5125 h 10714"/>
                <a:gd name="connsiteX69" fmla="*/ 5038 w 10000"/>
                <a:gd name="connsiteY69" fmla="*/ 5200 h 10714"/>
                <a:gd name="connsiteX70" fmla="*/ 5092 w 10000"/>
                <a:gd name="connsiteY70" fmla="*/ 5271 h 10714"/>
                <a:gd name="connsiteX71" fmla="*/ 5154 w 10000"/>
                <a:gd name="connsiteY71" fmla="*/ 5331 h 10714"/>
                <a:gd name="connsiteX72" fmla="*/ 5229 w 10000"/>
                <a:gd name="connsiteY72" fmla="*/ 5384 h 10714"/>
                <a:gd name="connsiteX73" fmla="*/ 5313 w 10000"/>
                <a:gd name="connsiteY73" fmla="*/ 5423 h 10714"/>
                <a:gd name="connsiteX74" fmla="*/ 5413 w 10000"/>
                <a:gd name="connsiteY74" fmla="*/ 5438 h 10714"/>
                <a:gd name="connsiteX75" fmla="*/ 5517 w 10000"/>
                <a:gd name="connsiteY75" fmla="*/ 5435 h 10714"/>
                <a:gd name="connsiteX76" fmla="*/ 5704 w 10000"/>
                <a:gd name="connsiteY76" fmla="*/ 5390 h 10714"/>
                <a:gd name="connsiteX77" fmla="*/ 5871 w 10000"/>
                <a:gd name="connsiteY77" fmla="*/ 5316 h 10714"/>
                <a:gd name="connsiteX78" fmla="*/ 6033 w 10000"/>
                <a:gd name="connsiteY78" fmla="*/ 5223 h 10714"/>
                <a:gd name="connsiteX79" fmla="*/ 6167 w 10000"/>
                <a:gd name="connsiteY79" fmla="*/ 5113 h 10714"/>
                <a:gd name="connsiteX80" fmla="*/ 6296 w 10000"/>
                <a:gd name="connsiteY80" fmla="*/ 4994 h 10714"/>
                <a:gd name="connsiteX81" fmla="*/ 6417 w 10000"/>
                <a:gd name="connsiteY81" fmla="*/ 4869 h 10714"/>
                <a:gd name="connsiteX82" fmla="*/ 6525 w 10000"/>
                <a:gd name="connsiteY82" fmla="*/ 4750 h 10714"/>
                <a:gd name="connsiteX83" fmla="*/ 6617 w 10000"/>
                <a:gd name="connsiteY83" fmla="*/ 4636 h 10714"/>
                <a:gd name="connsiteX84" fmla="*/ 6821 w 10000"/>
                <a:gd name="connsiteY84" fmla="*/ 4377 h 10714"/>
                <a:gd name="connsiteX85" fmla="*/ 7017 w 10000"/>
                <a:gd name="connsiteY85" fmla="*/ 4085 h 10714"/>
                <a:gd name="connsiteX86" fmla="*/ 7213 w 10000"/>
                <a:gd name="connsiteY86" fmla="*/ 3766 h 10714"/>
                <a:gd name="connsiteX87" fmla="*/ 7396 w 10000"/>
                <a:gd name="connsiteY87" fmla="*/ 3418 h 10714"/>
                <a:gd name="connsiteX88" fmla="*/ 7563 w 10000"/>
                <a:gd name="connsiteY88" fmla="*/ 3051 h 10714"/>
                <a:gd name="connsiteX89" fmla="*/ 7713 w 10000"/>
                <a:gd name="connsiteY89" fmla="*/ 2661 h 10714"/>
                <a:gd name="connsiteX90" fmla="*/ 7850 w 10000"/>
                <a:gd name="connsiteY90" fmla="*/ 2253 h 10714"/>
                <a:gd name="connsiteX91" fmla="*/ 7950 w 10000"/>
                <a:gd name="connsiteY91" fmla="*/ 1830 h 10714"/>
                <a:gd name="connsiteX92" fmla="*/ 8025 w 10000"/>
                <a:gd name="connsiteY92" fmla="*/ 1397 h 10714"/>
                <a:gd name="connsiteX93" fmla="*/ 8071 w 10000"/>
                <a:gd name="connsiteY93" fmla="*/ 954 h 10714"/>
                <a:gd name="connsiteX94" fmla="*/ 8108 w 10000"/>
                <a:gd name="connsiteY94" fmla="*/ 974 h 10714"/>
                <a:gd name="connsiteX95" fmla="*/ 8138 w 10000"/>
                <a:gd name="connsiteY95" fmla="*/ 1025 h 10714"/>
                <a:gd name="connsiteX96" fmla="*/ 8163 w 10000"/>
                <a:gd name="connsiteY96" fmla="*/ 1100 h 10714"/>
                <a:gd name="connsiteX97" fmla="*/ 8175 w 10000"/>
                <a:gd name="connsiteY97" fmla="*/ 1198 h 10714"/>
                <a:gd name="connsiteX98" fmla="*/ 8183 w 10000"/>
                <a:gd name="connsiteY98" fmla="*/ 1311 h 10714"/>
                <a:gd name="connsiteX99" fmla="*/ 8183 w 10000"/>
                <a:gd name="connsiteY99" fmla="*/ 1442 h 10714"/>
                <a:gd name="connsiteX100" fmla="*/ 8183 w 10000"/>
                <a:gd name="connsiteY100" fmla="*/ 1582 h 10714"/>
                <a:gd name="connsiteX101" fmla="*/ 8175 w 10000"/>
                <a:gd name="connsiteY101" fmla="*/ 1734 h 10714"/>
                <a:gd name="connsiteX102" fmla="*/ 8163 w 10000"/>
                <a:gd name="connsiteY102" fmla="*/ 1889 h 10714"/>
                <a:gd name="connsiteX103" fmla="*/ 8146 w 10000"/>
                <a:gd name="connsiteY103" fmla="*/ 2047 h 10714"/>
                <a:gd name="connsiteX104" fmla="*/ 8121 w 10000"/>
                <a:gd name="connsiteY104" fmla="*/ 2205 h 10714"/>
                <a:gd name="connsiteX105" fmla="*/ 8108 w 10000"/>
                <a:gd name="connsiteY105" fmla="*/ 2357 h 10714"/>
                <a:gd name="connsiteX106" fmla="*/ 8083 w 10000"/>
                <a:gd name="connsiteY106" fmla="*/ 2497 h 10714"/>
                <a:gd name="connsiteX107" fmla="*/ 8063 w 10000"/>
                <a:gd name="connsiteY107" fmla="*/ 2628 h 10714"/>
                <a:gd name="connsiteX108" fmla="*/ 8038 w 10000"/>
                <a:gd name="connsiteY108" fmla="*/ 2741 h 10714"/>
                <a:gd name="connsiteX109" fmla="*/ 8017 w 10000"/>
                <a:gd name="connsiteY109" fmla="*/ 2834 h 10714"/>
                <a:gd name="connsiteX110" fmla="*/ 8000 w 10000"/>
                <a:gd name="connsiteY110" fmla="*/ 2908 h 10714"/>
                <a:gd name="connsiteX111" fmla="*/ 7700 w 10000"/>
                <a:gd name="connsiteY111" fmla="*/ 3754 h 10714"/>
                <a:gd name="connsiteX112" fmla="*/ 7942 w 10000"/>
                <a:gd name="connsiteY112" fmla="*/ 3737 h 10714"/>
                <a:gd name="connsiteX113" fmla="*/ 8167 w 10000"/>
                <a:gd name="connsiteY113" fmla="*/ 3695 h 10714"/>
                <a:gd name="connsiteX114" fmla="*/ 8379 w 10000"/>
                <a:gd name="connsiteY114" fmla="*/ 3635 h 10714"/>
                <a:gd name="connsiteX115" fmla="*/ 8583 w 10000"/>
                <a:gd name="connsiteY115" fmla="*/ 3558 h 10714"/>
                <a:gd name="connsiteX116" fmla="*/ 8767 w 10000"/>
                <a:gd name="connsiteY116" fmla="*/ 3471 h 10714"/>
                <a:gd name="connsiteX117" fmla="*/ 8933 w 10000"/>
                <a:gd name="connsiteY117" fmla="*/ 3376 h 10714"/>
                <a:gd name="connsiteX118" fmla="*/ 9092 w 10000"/>
                <a:gd name="connsiteY118" fmla="*/ 3278 h 10714"/>
                <a:gd name="connsiteX119" fmla="*/ 9238 w 10000"/>
                <a:gd name="connsiteY119" fmla="*/ 3185 h 10714"/>
                <a:gd name="connsiteX120" fmla="*/ 9250 w 10000"/>
                <a:gd name="connsiteY120" fmla="*/ 3230 h 10714"/>
                <a:gd name="connsiteX121" fmla="*/ 9117 w 10000"/>
                <a:gd name="connsiteY121" fmla="*/ 3376 h 10714"/>
                <a:gd name="connsiteX122" fmla="*/ 8954 w 10000"/>
                <a:gd name="connsiteY122" fmla="*/ 3516 h 10714"/>
                <a:gd name="connsiteX123" fmla="*/ 8758 w 10000"/>
                <a:gd name="connsiteY123" fmla="*/ 3641 h 10714"/>
                <a:gd name="connsiteX124" fmla="*/ 8538 w 10000"/>
                <a:gd name="connsiteY124" fmla="*/ 3754 h 10714"/>
                <a:gd name="connsiteX125" fmla="*/ 8304 w 10000"/>
                <a:gd name="connsiteY125" fmla="*/ 3856 h 10714"/>
                <a:gd name="connsiteX126" fmla="*/ 8054 w 10000"/>
                <a:gd name="connsiteY126" fmla="*/ 3945 h 10714"/>
                <a:gd name="connsiteX127" fmla="*/ 7796 w 10000"/>
                <a:gd name="connsiteY127" fmla="*/ 4014 h 10714"/>
                <a:gd name="connsiteX128" fmla="*/ 7533 w 10000"/>
                <a:gd name="connsiteY128" fmla="*/ 4064 h 10714"/>
                <a:gd name="connsiteX129" fmla="*/ 7479 w 10000"/>
                <a:gd name="connsiteY129" fmla="*/ 4184 h 10714"/>
                <a:gd name="connsiteX130" fmla="*/ 7404 w 10000"/>
                <a:gd name="connsiteY130" fmla="*/ 4324 h 10714"/>
                <a:gd name="connsiteX131" fmla="*/ 7321 w 10000"/>
                <a:gd name="connsiteY131" fmla="*/ 4470 h 10714"/>
                <a:gd name="connsiteX132" fmla="*/ 7213 w 10000"/>
                <a:gd name="connsiteY132" fmla="*/ 4628 h 10714"/>
                <a:gd name="connsiteX133" fmla="*/ 7100 w 10000"/>
                <a:gd name="connsiteY133" fmla="*/ 4794 h 10714"/>
                <a:gd name="connsiteX134" fmla="*/ 6979 w 10000"/>
                <a:gd name="connsiteY134" fmla="*/ 4958 h 10714"/>
                <a:gd name="connsiteX135" fmla="*/ 6850 w 10000"/>
                <a:gd name="connsiteY135" fmla="*/ 5113 h 10714"/>
                <a:gd name="connsiteX136" fmla="*/ 6721 w 10000"/>
                <a:gd name="connsiteY136" fmla="*/ 5265 h 10714"/>
                <a:gd name="connsiteX137" fmla="*/ 6600 w 10000"/>
                <a:gd name="connsiteY137" fmla="*/ 5405 h 10714"/>
                <a:gd name="connsiteX138" fmla="*/ 6471 w 10000"/>
                <a:gd name="connsiteY138" fmla="*/ 5530 h 10714"/>
                <a:gd name="connsiteX139" fmla="*/ 6358 w 10000"/>
                <a:gd name="connsiteY139" fmla="*/ 5641 h 10714"/>
                <a:gd name="connsiteX140" fmla="*/ 6250 w 10000"/>
                <a:gd name="connsiteY140" fmla="*/ 5721 h 10714"/>
                <a:gd name="connsiteX141" fmla="*/ 6267 w 10000"/>
                <a:gd name="connsiteY141" fmla="*/ 5781 h 10714"/>
                <a:gd name="connsiteX142" fmla="*/ 6296 w 10000"/>
                <a:gd name="connsiteY142" fmla="*/ 5793 h 10714"/>
                <a:gd name="connsiteX143" fmla="*/ 6479 w 10000"/>
                <a:gd name="connsiteY143" fmla="*/ 5754 h 10714"/>
                <a:gd name="connsiteX144" fmla="*/ 6663 w 10000"/>
                <a:gd name="connsiteY144" fmla="*/ 5736 h 10714"/>
                <a:gd name="connsiteX145" fmla="*/ 6858 w 10000"/>
                <a:gd name="connsiteY145" fmla="*/ 5736 h 10714"/>
                <a:gd name="connsiteX146" fmla="*/ 7046 w 10000"/>
                <a:gd name="connsiteY146" fmla="*/ 5742 h 10714"/>
                <a:gd name="connsiteX147" fmla="*/ 7246 w 10000"/>
                <a:gd name="connsiteY147" fmla="*/ 5748 h 10714"/>
                <a:gd name="connsiteX148" fmla="*/ 7425 w 10000"/>
                <a:gd name="connsiteY148" fmla="*/ 5748 h 10714"/>
                <a:gd name="connsiteX149" fmla="*/ 7600 w 10000"/>
                <a:gd name="connsiteY149" fmla="*/ 5733 h 10714"/>
                <a:gd name="connsiteX150" fmla="*/ 7950 w 10000"/>
                <a:gd name="connsiteY150" fmla="*/ 5673 h 10714"/>
                <a:gd name="connsiteX151" fmla="*/ 8275 w 10000"/>
                <a:gd name="connsiteY151" fmla="*/ 5596 h 10714"/>
                <a:gd name="connsiteX152" fmla="*/ 8579 w 10000"/>
                <a:gd name="connsiteY152" fmla="*/ 5504 h 10714"/>
                <a:gd name="connsiteX153" fmla="*/ 8858 w 10000"/>
                <a:gd name="connsiteY153" fmla="*/ 5390 h 10714"/>
                <a:gd name="connsiteX154" fmla="*/ 9117 w 10000"/>
                <a:gd name="connsiteY154" fmla="*/ 5265 h 10714"/>
                <a:gd name="connsiteX155" fmla="*/ 9350 w 10000"/>
                <a:gd name="connsiteY155" fmla="*/ 5119 h 10714"/>
                <a:gd name="connsiteX156" fmla="*/ 9563 w 10000"/>
                <a:gd name="connsiteY156" fmla="*/ 4967 h 10714"/>
                <a:gd name="connsiteX157" fmla="*/ 9758 w 10000"/>
                <a:gd name="connsiteY157" fmla="*/ 4794 h 10714"/>
                <a:gd name="connsiteX158" fmla="*/ 9933 w 10000"/>
                <a:gd name="connsiteY158" fmla="*/ 4610 h 10714"/>
                <a:gd name="connsiteX159" fmla="*/ 10000 w 10000"/>
                <a:gd name="connsiteY159" fmla="*/ 4648 h 10714"/>
                <a:gd name="connsiteX160" fmla="*/ 10000 w 10000"/>
                <a:gd name="connsiteY160" fmla="*/ 4660 h 10714"/>
                <a:gd name="connsiteX161" fmla="*/ 9904 w 10000"/>
                <a:gd name="connsiteY161" fmla="*/ 4827 h 10714"/>
                <a:gd name="connsiteX162" fmla="*/ 9767 w 10000"/>
                <a:gd name="connsiteY162" fmla="*/ 5000 h 10714"/>
                <a:gd name="connsiteX163" fmla="*/ 9600 w 10000"/>
                <a:gd name="connsiteY163" fmla="*/ 5173 h 10714"/>
                <a:gd name="connsiteX164" fmla="*/ 9404 w 10000"/>
                <a:gd name="connsiteY164" fmla="*/ 5343 h 10714"/>
                <a:gd name="connsiteX165" fmla="*/ 9183 w 10000"/>
                <a:gd name="connsiteY165" fmla="*/ 5504 h 10714"/>
                <a:gd name="connsiteX166" fmla="*/ 8950 w 10000"/>
                <a:gd name="connsiteY166" fmla="*/ 5662 h 10714"/>
                <a:gd name="connsiteX167" fmla="*/ 8704 w 10000"/>
                <a:gd name="connsiteY167" fmla="*/ 5802 h 10714"/>
                <a:gd name="connsiteX168" fmla="*/ 8463 w 10000"/>
                <a:gd name="connsiteY168" fmla="*/ 5927 h 10714"/>
                <a:gd name="connsiteX169" fmla="*/ 8229 w 10000"/>
                <a:gd name="connsiteY169" fmla="*/ 6025 h 10714"/>
                <a:gd name="connsiteX170" fmla="*/ 8000 w 10000"/>
                <a:gd name="connsiteY170" fmla="*/ 6105 h 10714"/>
                <a:gd name="connsiteX171" fmla="*/ 7879 w 10000"/>
                <a:gd name="connsiteY171" fmla="*/ 6132 h 10714"/>
                <a:gd name="connsiteX172" fmla="*/ 7729 w 10000"/>
                <a:gd name="connsiteY172" fmla="*/ 6153 h 10714"/>
                <a:gd name="connsiteX173" fmla="*/ 7563 w 10000"/>
                <a:gd name="connsiteY173" fmla="*/ 6177 h 10714"/>
                <a:gd name="connsiteX174" fmla="*/ 7388 w 10000"/>
                <a:gd name="connsiteY174" fmla="*/ 6198 h 10714"/>
                <a:gd name="connsiteX175" fmla="*/ 7204 w 10000"/>
                <a:gd name="connsiteY175" fmla="*/ 6219 h 10714"/>
                <a:gd name="connsiteX176" fmla="*/ 7017 w 10000"/>
                <a:gd name="connsiteY176" fmla="*/ 6240 h 10714"/>
                <a:gd name="connsiteX177" fmla="*/ 6842 w 10000"/>
                <a:gd name="connsiteY177" fmla="*/ 6263 h 10714"/>
                <a:gd name="connsiteX178" fmla="*/ 6675 w 10000"/>
                <a:gd name="connsiteY178" fmla="*/ 6290 h 10714"/>
                <a:gd name="connsiteX179" fmla="*/ 6517 w 10000"/>
                <a:gd name="connsiteY179" fmla="*/ 6329 h 10714"/>
                <a:gd name="connsiteX180" fmla="*/ 6388 w 10000"/>
                <a:gd name="connsiteY180" fmla="*/ 6365 h 10714"/>
                <a:gd name="connsiteX181" fmla="*/ 6288 w 10000"/>
                <a:gd name="connsiteY181" fmla="*/ 6415 h 10714"/>
                <a:gd name="connsiteX182" fmla="*/ 6213 w 10000"/>
                <a:gd name="connsiteY182" fmla="*/ 6475 h 10714"/>
                <a:gd name="connsiteX183" fmla="*/ 6092 w 10000"/>
                <a:gd name="connsiteY183" fmla="*/ 6648 h 10714"/>
                <a:gd name="connsiteX184" fmla="*/ 6008 w 10000"/>
                <a:gd name="connsiteY184" fmla="*/ 6836 h 10714"/>
                <a:gd name="connsiteX185" fmla="*/ 5942 w 10000"/>
                <a:gd name="connsiteY185" fmla="*/ 7032 h 10714"/>
                <a:gd name="connsiteX186" fmla="*/ 5904 w 10000"/>
                <a:gd name="connsiteY186" fmla="*/ 7232 h 10714"/>
                <a:gd name="connsiteX187" fmla="*/ 5888 w 10000"/>
                <a:gd name="connsiteY187" fmla="*/ 7443 h 10714"/>
                <a:gd name="connsiteX188" fmla="*/ 5879 w 10000"/>
                <a:gd name="connsiteY188" fmla="*/ 7655 h 10714"/>
                <a:gd name="connsiteX189" fmla="*/ 5888 w 10000"/>
                <a:gd name="connsiteY189" fmla="*/ 7867 h 10714"/>
                <a:gd name="connsiteX190" fmla="*/ 5904 w 10000"/>
                <a:gd name="connsiteY190" fmla="*/ 8084 h 10714"/>
                <a:gd name="connsiteX191" fmla="*/ 5925 w 10000"/>
                <a:gd name="connsiteY191" fmla="*/ 8299 h 10714"/>
                <a:gd name="connsiteX192" fmla="*/ 5950 w 10000"/>
                <a:gd name="connsiteY192" fmla="*/ 8510 h 10714"/>
                <a:gd name="connsiteX193" fmla="*/ 5954 w 10000"/>
                <a:gd name="connsiteY193" fmla="*/ 8820 h 10714"/>
                <a:gd name="connsiteX194" fmla="*/ 5933 w 10000"/>
                <a:gd name="connsiteY194" fmla="*/ 9130 h 10714"/>
                <a:gd name="connsiteX195" fmla="*/ 5896 w 10000"/>
                <a:gd name="connsiteY195" fmla="*/ 9428 h 10714"/>
                <a:gd name="connsiteX196" fmla="*/ 5850 w 10000"/>
                <a:gd name="connsiteY196" fmla="*/ 9720 h 10714"/>
                <a:gd name="connsiteX197" fmla="*/ 5756 w 10000"/>
                <a:gd name="connsiteY197" fmla="*/ 10714 h 10714"/>
                <a:gd name="connsiteX198" fmla="*/ 4117 w 10000"/>
                <a:gd name="connsiteY198" fmla="*/ 10686 h 10714"/>
                <a:gd name="connsiteX199" fmla="*/ 3043 w 10000"/>
                <a:gd name="connsiteY199" fmla="*/ 9881 h 10714"/>
                <a:gd name="connsiteX200" fmla="*/ 4546 w 10000"/>
                <a:gd name="connsiteY200" fmla="*/ 9848 h 10714"/>
                <a:gd name="connsiteX201" fmla="*/ 4629 w 10000"/>
                <a:gd name="connsiteY201" fmla="*/ 9687 h 10714"/>
                <a:gd name="connsiteX202" fmla="*/ 4700 w 10000"/>
                <a:gd name="connsiteY202" fmla="*/ 9508 h 10714"/>
                <a:gd name="connsiteX203" fmla="*/ 4767 w 10000"/>
                <a:gd name="connsiteY203" fmla="*/ 9309 h 10714"/>
                <a:gd name="connsiteX204" fmla="*/ 4829 w 10000"/>
                <a:gd name="connsiteY204" fmla="*/ 9097 h 10714"/>
                <a:gd name="connsiteX205" fmla="*/ 4879 w 10000"/>
                <a:gd name="connsiteY205" fmla="*/ 8868 h 10714"/>
                <a:gd name="connsiteX206" fmla="*/ 4917 w 10000"/>
                <a:gd name="connsiteY206" fmla="*/ 8635 h 10714"/>
                <a:gd name="connsiteX207" fmla="*/ 4954 w 10000"/>
                <a:gd name="connsiteY207" fmla="*/ 8391 h 10714"/>
                <a:gd name="connsiteX208" fmla="*/ 4979 w 10000"/>
                <a:gd name="connsiteY208" fmla="*/ 8144 h 10714"/>
                <a:gd name="connsiteX209" fmla="*/ 5000 w 10000"/>
                <a:gd name="connsiteY209" fmla="*/ 7887 h 10714"/>
                <a:gd name="connsiteX210" fmla="*/ 5000 w 10000"/>
                <a:gd name="connsiteY210" fmla="*/ 7634 h 10714"/>
                <a:gd name="connsiteX211" fmla="*/ 5000 w 10000"/>
                <a:gd name="connsiteY211" fmla="*/ 7384 h 10714"/>
                <a:gd name="connsiteX212" fmla="*/ 4979 w 10000"/>
                <a:gd name="connsiteY212" fmla="*/ 7133 h 10714"/>
                <a:gd name="connsiteX213" fmla="*/ 4950 w 10000"/>
                <a:gd name="connsiteY213" fmla="*/ 6892 h 10714"/>
                <a:gd name="connsiteX214" fmla="*/ 4913 w 10000"/>
                <a:gd name="connsiteY214" fmla="*/ 6657 h 10714"/>
                <a:gd name="connsiteX215" fmla="*/ 4858 w 10000"/>
                <a:gd name="connsiteY215" fmla="*/ 6430 h 10714"/>
                <a:gd name="connsiteX216" fmla="*/ 4783 w 10000"/>
                <a:gd name="connsiteY216" fmla="*/ 6219 h 10714"/>
                <a:gd name="connsiteX217" fmla="*/ 4700 w 10000"/>
                <a:gd name="connsiteY217" fmla="*/ 6019 h 10714"/>
                <a:gd name="connsiteX218" fmla="*/ 4600 w 10000"/>
                <a:gd name="connsiteY218" fmla="*/ 5840 h 10714"/>
                <a:gd name="connsiteX219" fmla="*/ 4488 w 10000"/>
                <a:gd name="connsiteY219" fmla="*/ 5682 h 10714"/>
                <a:gd name="connsiteX220" fmla="*/ 4358 w 10000"/>
                <a:gd name="connsiteY220" fmla="*/ 5542 h 10714"/>
                <a:gd name="connsiteX221" fmla="*/ 4213 w 10000"/>
                <a:gd name="connsiteY221" fmla="*/ 5429 h 10714"/>
                <a:gd name="connsiteX222" fmla="*/ 4046 w 10000"/>
                <a:gd name="connsiteY222" fmla="*/ 5343 h 10714"/>
                <a:gd name="connsiteX223" fmla="*/ 3904 w 10000"/>
                <a:gd name="connsiteY223" fmla="*/ 5292 h 10714"/>
                <a:gd name="connsiteX224" fmla="*/ 3746 w 10000"/>
                <a:gd name="connsiteY224" fmla="*/ 5271 h 10714"/>
                <a:gd name="connsiteX225" fmla="*/ 3583 w 10000"/>
                <a:gd name="connsiteY225" fmla="*/ 5271 h 10714"/>
                <a:gd name="connsiteX226" fmla="*/ 3413 w 10000"/>
                <a:gd name="connsiteY226" fmla="*/ 5286 h 10714"/>
                <a:gd name="connsiteX227" fmla="*/ 3246 w 10000"/>
                <a:gd name="connsiteY227" fmla="*/ 5310 h 10714"/>
                <a:gd name="connsiteX228" fmla="*/ 3079 w 10000"/>
                <a:gd name="connsiteY228" fmla="*/ 5343 h 10714"/>
                <a:gd name="connsiteX229" fmla="*/ 2913 w 10000"/>
                <a:gd name="connsiteY229" fmla="*/ 5369 h 10714"/>
                <a:gd name="connsiteX230" fmla="*/ 2750 w 10000"/>
                <a:gd name="connsiteY230" fmla="*/ 5396 h 10714"/>
                <a:gd name="connsiteX231" fmla="*/ 2600 w 10000"/>
                <a:gd name="connsiteY231" fmla="*/ 5411 h 10714"/>
                <a:gd name="connsiteX232" fmla="*/ 2258 w 10000"/>
                <a:gd name="connsiteY232" fmla="*/ 5423 h 10714"/>
                <a:gd name="connsiteX233" fmla="*/ 1925 w 10000"/>
                <a:gd name="connsiteY233" fmla="*/ 5411 h 10714"/>
                <a:gd name="connsiteX234" fmla="*/ 1617 w 10000"/>
                <a:gd name="connsiteY234" fmla="*/ 5384 h 10714"/>
                <a:gd name="connsiteX235" fmla="*/ 1321 w 10000"/>
                <a:gd name="connsiteY235" fmla="*/ 5346 h 10714"/>
                <a:gd name="connsiteX236" fmla="*/ 1033 w 10000"/>
                <a:gd name="connsiteY236" fmla="*/ 5298 h 10714"/>
                <a:gd name="connsiteX237" fmla="*/ 758 w 10000"/>
                <a:gd name="connsiteY237" fmla="*/ 5250 h 10714"/>
                <a:gd name="connsiteX238" fmla="*/ 500 w 10000"/>
                <a:gd name="connsiteY238" fmla="*/ 5197 h 10714"/>
                <a:gd name="connsiteX239" fmla="*/ 517 w 10000"/>
                <a:gd name="connsiteY239" fmla="*/ 5137 h 10714"/>
                <a:gd name="connsiteX240" fmla="*/ 871 w 10000"/>
                <a:gd name="connsiteY240" fmla="*/ 5173 h 10714"/>
                <a:gd name="connsiteX241" fmla="*/ 1221 w 10000"/>
                <a:gd name="connsiteY241" fmla="*/ 5197 h 10714"/>
                <a:gd name="connsiteX242" fmla="*/ 1563 w 10000"/>
                <a:gd name="connsiteY242" fmla="*/ 5206 h 10714"/>
                <a:gd name="connsiteX243" fmla="*/ 1896 w 10000"/>
                <a:gd name="connsiteY243" fmla="*/ 5197 h 10714"/>
                <a:gd name="connsiteX244" fmla="*/ 2221 w 10000"/>
                <a:gd name="connsiteY244" fmla="*/ 5164 h 10714"/>
                <a:gd name="connsiteX245" fmla="*/ 2538 w 10000"/>
                <a:gd name="connsiteY245" fmla="*/ 5113 h 10714"/>
                <a:gd name="connsiteX246" fmla="*/ 2842 w 10000"/>
                <a:gd name="connsiteY246" fmla="*/ 5045 h 10714"/>
                <a:gd name="connsiteX247" fmla="*/ 3129 w 10000"/>
                <a:gd name="connsiteY247" fmla="*/ 4946 h 10714"/>
                <a:gd name="connsiteX248" fmla="*/ 3500 w 10000"/>
                <a:gd name="connsiteY248" fmla="*/ 4815 h 10714"/>
                <a:gd name="connsiteX249" fmla="*/ 2821 w 10000"/>
                <a:gd name="connsiteY249" fmla="*/ 4389 h 10714"/>
                <a:gd name="connsiteX250" fmla="*/ 2213 w 10000"/>
                <a:gd name="connsiteY250" fmla="*/ 3912 h 10714"/>
                <a:gd name="connsiteX251" fmla="*/ 1879 w 10000"/>
                <a:gd name="connsiteY251" fmla="*/ 3939 h 10714"/>
                <a:gd name="connsiteX252" fmla="*/ 1554 w 10000"/>
                <a:gd name="connsiteY252" fmla="*/ 3939 h 10714"/>
                <a:gd name="connsiteX253" fmla="*/ 1258 w 10000"/>
                <a:gd name="connsiteY253" fmla="*/ 3912 h 10714"/>
                <a:gd name="connsiteX254" fmla="*/ 979 w 10000"/>
                <a:gd name="connsiteY254" fmla="*/ 3856 h 10714"/>
                <a:gd name="connsiteX255" fmla="*/ 721 w 10000"/>
                <a:gd name="connsiteY255" fmla="*/ 3775 h 10714"/>
                <a:gd name="connsiteX256" fmla="*/ 496 w 10000"/>
                <a:gd name="connsiteY256" fmla="*/ 3674 h 10714"/>
                <a:gd name="connsiteX257" fmla="*/ 296 w 10000"/>
                <a:gd name="connsiteY257" fmla="*/ 3549 h 10714"/>
                <a:gd name="connsiteX258" fmla="*/ 129 w 10000"/>
                <a:gd name="connsiteY258" fmla="*/ 3403 h 10714"/>
                <a:gd name="connsiteX259" fmla="*/ 0 w 10000"/>
                <a:gd name="connsiteY259" fmla="*/ 3245 h 10714"/>
                <a:gd name="connsiteX260" fmla="*/ 17 w 10000"/>
                <a:gd name="connsiteY260" fmla="*/ 3218 h 10714"/>
                <a:gd name="connsiteX261" fmla="*/ 71 w 10000"/>
                <a:gd name="connsiteY261" fmla="*/ 3245 h 10714"/>
                <a:gd name="connsiteX262" fmla="*/ 138 w 10000"/>
                <a:gd name="connsiteY262" fmla="*/ 3349 h 10714"/>
                <a:gd name="connsiteX263" fmla="*/ 246 w 10000"/>
                <a:gd name="connsiteY263" fmla="*/ 3439 h 10714"/>
                <a:gd name="connsiteX264" fmla="*/ 379 w 10000"/>
                <a:gd name="connsiteY264" fmla="*/ 3528 h 10714"/>
                <a:gd name="connsiteX265" fmla="*/ 538 w 10000"/>
                <a:gd name="connsiteY265" fmla="*/ 3597 h 10714"/>
                <a:gd name="connsiteX266" fmla="*/ 721 w 10000"/>
                <a:gd name="connsiteY266" fmla="*/ 3656 h 10714"/>
                <a:gd name="connsiteX267" fmla="*/ 913 w 10000"/>
                <a:gd name="connsiteY267" fmla="*/ 3701 h 10714"/>
                <a:gd name="connsiteX268" fmla="*/ 1117 w 10000"/>
                <a:gd name="connsiteY268" fmla="*/ 3728 h 10714"/>
                <a:gd name="connsiteX269" fmla="*/ 1329 w 10000"/>
                <a:gd name="connsiteY269" fmla="*/ 3737 h 10714"/>
                <a:gd name="connsiteX270" fmla="*/ 1533 w 10000"/>
                <a:gd name="connsiteY270" fmla="*/ 3734 h 10714"/>
                <a:gd name="connsiteX271" fmla="*/ 1646 w 10000"/>
                <a:gd name="connsiteY271" fmla="*/ 3722 h 10714"/>
                <a:gd name="connsiteX272" fmla="*/ 1746 w 10000"/>
                <a:gd name="connsiteY272" fmla="*/ 3722 h 10714"/>
                <a:gd name="connsiteX273" fmla="*/ 1833 w 10000"/>
                <a:gd name="connsiteY273" fmla="*/ 3710 h 10714"/>
                <a:gd name="connsiteX274" fmla="*/ 1917 w 10000"/>
                <a:gd name="connsiteY274" fmla="*/ 3695 h 10714"/>
                <a:gd name="connsiteX275" fmla="*/ 1988 w 10000"/>
                <a:gd name="connsiteY275" fmla="*/ 3662 h 10714"/>
                <a:gd name="connsiteX276" fmla="*/ 1788 w 10000"/>
                <a:gd name="connsiteY276" fmla="*/ 3391 h 10714"/>
                <a:gd name="connsiteX277" fmla="*/ 1617 w 10000"/>
                <a:gd name="connsiteY277" fmla="*/ 3126 h 10714"/>
                <a:gd name="connsiteX278" fmla="*/ 1454 w 10000"/>
                <a:gd name="connsiteY278" fmla="*/ 2849 h 10714"/>
                <a:gd name="connsiteX279" fmla="*/ 1313 w 10000"/>
                <a:gd name="connsiteY279" fmla="*/ 2563 h 10714"/>
                <a:gd name="connsiteX280" fmla="*/ 1175 w 10000"/>
                <a:gd name="connsiteY280" fmla="*/ 2253 h 10714"/>
                <a:gd name="connsiteX281" fmla="*/ 1046 w 10000"/>
                <a:gd name="connsiteY281" fmla="*/ 1919 h 10714"/>
                <a:gd name="connsiteX282" fmla="*/ 1033 w 10000"/>
                <a:gd name="connsiteY282" fmla="*/ 1859 h 10714"/>
                <a:gd name="connsiteX283" fmla="*/ 1000 w 10000"/>
                <a:gd name="connsiteY283" fmla="*/ 1776 h 10714"/>
                <a:gd name="connsiteX284" fmla="*/ 979 w 10000"/>
                <a:gd name="connsiteY284" fmla="*/ 1684 h 10714"/>
                <a:gd name="connsiteX285" fmla="*/ 950 w 10000"/>
                <a:gd name="connsiteY285" fmla="*/ 1591 h 10714"/>
                <a:gd name="connsiteX286" fmla="*/ 925 w 10000"/>
                <a:gd name="connsiteY286" fmla="*/ 1490 h 10714"/>
                <a:gd name="connsiteX287" fmla="*/ 917 w 10000"/>
                <a:gd name="connsiteY287" fmla="*/ 1397 h 10714"/>
                <a:gd name="connsiteX288" fmla="*/ 917 w 10000"/>
                <a:gd name="connsiteY288" fmla="*/ 1311 h 10714"/>
                <a:gd name="connsiteX289" fmla="*/ 933 w 10000"/>
                <a:gd name="connsiteY289" fmla="*/ 1234 h 10714"/>
                <a:gd name="connsiteX290" fmla="*/ 963 w 10000"/>
                <a:gd name="connsiteY290" fmla="*/ 1180 h 10714"/>
                <a:gd name="connsiteX291" fmla="*/ 1000 w 10000"/>
                <a:gd name="connsiteY291" fmla="*/ 1192 h 10714"/>
                <a:gd name="connsiteX292" fmla="*/ 1033 w 10000"/>
                <a:gd name="connsiteY292" fmla="*/ 1496 h 10714"/>
                <a:gd name="connsiteX293" fmla="*/ 1108 w 10000"/>
                <a:gd name="connsiteY293" fmla="*/ 1800 h 10714"/>
                <a:gd name="connsiteX294" fmla="*/ 1221 w 10000"/>
                <a:gd name="connsiteY294" fmla="*/ 2098 h 10714"/>
                <a:gd name="connsiteX295" fmla="*/ 1358 w 10000"/>
                <a:gd name="connsiteY295" fmla="*/ 2372 h 10714"/>
                <a:gd name="connsiteX296" fmla="*/ 1508 w 10000"/>
                <a:gd name="connsiteY296" fmla="*/ 2628 h 10714"/>
                <a:gd name="connsiteX297" fmla="*/ 1646 w 10000"/>
                <a:gd name="connsiteY297" fmla="*/ 2795 h 10714"/>
                <a:gd name="connsiteX298" fmla="*/ 1629 w 10000"/>
                <a:gd name="connsiteY298" fmla="*/ 2801 h 10714"/>
                <a:gd name="connsiteX299" fmla="*/ 1629 w 10000"/>
                <a:gd name="connsiteY299" fmla="*/ 2807 h 10714"/>
                <a:gd name="connsiteX300" fmla="*/ 1638 w 10000"/>
                <a:gd name="connsiteY300" fmla="*/ 2813 h 10714"/>
                <a:gd name="connsiteX301" fmla="*/ 1646 w 10000"/>
                <a:gd name="connsiteY301" fmla="*/ 2816 h 10714"/>
                <a:gd name="connsiteX302" fmla="*/ 1663 w 10000"/>
                <a:gd name="connsiteY302" fmla="*/ 2822 h 10714"/>
                <a:gd name="connsiteX303" fmla="*/ 1667 w 10000"/>
                <a:gd name="connsiteY303" fmla="*/ 2834 h 10714"/>
                <a:gd name="connsiteX304" fmla="*/ 1675 w 10000"/>
                <a:gd name="connsiteY304" fmla="*/ 2840 h 10714"/>
                <a:gd name="connsiteX305" fmla="*/ 1683 w 10000"/>
                <a:gd name="connsiteY305" fmla="*/ 2849 h 10714"/>
                <a:gd name="connsiteX306" fmla="*/ 1683 w 10000"/>
                <a:gd name="connsiteY306" fmla="*/ 2843 h 10714"/>
                <a:gd name="connsiteX307" fmla="*/ 1675 w 10000"/>
                <a:gd name="connsiteY307" fmla="*/ 2840 h 10714"/>
                <a:gd name="connsiteX308" fmla="*/ 1675 w 10000"/>
                <a:gd name="connsiteY308" fmla="*/ 2840 h 10714"/>
                <a:gd name="connsiteX309" fmla="*/ 1646 w 10000"/>
                <a:gd name="connsiteY309" fmla="*/ 2795 h 10714"/>
                <a:gd name="connsiteX310" fmla="*/ 1746 w 10000"/>
                <a:gd name="connsiteY310" fmla="*/ 2741 h 10714"/>
                <a:gd name="connsiteX311" fmla="*/ 1842 w 10000"/>
                <a:gd name="connsiteY311" fmla="*/ 2649 h 10714"/>
                <a:gd name="connsiteX312" fmla="*/ 1933 w 10000"/>
                <a:gd name="connsiteY312" fmla="*/ 2542 h 10714"/>
                <a:gd name="connsiteX313" fmla="*/ 2017 w 10000"/>
                <a:gd name="connsiteY313" fmla="*/ 2411 h 10714"/>
                <a:gd name="connsiteX314" fmla="*/ 2092 w 10000"/>
                <a:gd name="connsiteY314" fmla="*/ 2265 h 10714"/>
                <a:gd name="connsiteX315" fmla="*/ 2163 w 10000"/>
                <a:gd name="connsiteY315" fmla="*/ 2113 h 10714"/>
                <a:gd name="connsiteX316" fmla="*/ 2221 w 10000"/>
                <a:gd name="connsiteY316" fmla="*/ 1955 h 10714"/>
                <a:gd name="connsiteX317" fmla="*/ 2275 w 10000"/>
                <a:gd name="connsiteY317" fmla="*/ 1803 h 10714"/>
                <a:gd name="connsiteX318" fmla="*/ 2321 w 10000"/>
                <a:gd name="connsiteY318" fmla="*/ 1657 h 10714"/>
                <a:gd name="connsiteX319" fmla="*/ 2329 w 10000"/>
                <a:gd name="connsiteY319" fmla="*/ 1853 h 10714"/>
                <a:gd name="connsiteX320" fmla="*/ 2321 w 10000"/>
                <a:gd name="connsiteY320" fmla="*/ 2032 h 10714"/>
                <a:gd name="connsiteX321" fmla="*/ 2283 w 10000"/>
                <a:gd name="connsiteY321" fmla="*/ 2199 h 10714"/>
                <a:gd name="connsiteX322" fmla="*/ 2229 w 10000"/>
                <a:gd name="connsiteY322" fmla="*/ 2366 h 10714"/>
                <a:gd name="connsiteX323" fmla="*/ 2154 w 10000"/>
                <a:gd name="connsiteY323" fmla="*/ 2524 h 10714"/>
                <a:gd name="connsiteX324" fmla="*/ 2046 w 10000"/>
                <a:gd name="connsiteY324" fmla="*/ 2682 h 10714"/>
                <a:gd name="connsiteX325" fmla="*/ 1796 w 10000"/>
                <a:gd name="connsiteY325" fmla="*/ 3027 h 10714"/>
                <a:gd name="connsiteX326" fmla="*/ 2054 w 10000"/>
                <a:gd name="connsiteY326" fmla="*/ 3305 h 10714"/>
                <a:gd name="connsiteX327" fmla="*/ 2333 w 10000"/>
                <a:gd name="connsiteY327" fmla="*/ 3564 h 10714"/>
                <a:gd name="connsiteX328" fmla="*/ 2638 w 10000"/>
                <a:gd name="connsiteY328" fmla="*/ 3808 h 10714"/>
                <a:gd name="connsiteX329" fmla="*/ 2963 w 10000"/>
                <a:gd name="connsiteY329" fmla="*/ 4032 h 10714"/>
                <a:gd name="connsiteX330" fmla="*/ 4129 w 10000"/>
                <a:gd name="connsiteY330" fmla="*/ 4610 h 10714"/>
                <a:gd name="connsiteX331" fmla="*/ 4167 w 10000"/>
                <a:gd name="connsiteY331" fmla="*/ 4589 h 10714"/>
                <a:gd name="connsiteX332" fmla="*/ 4071 w 10000"/>
                <a:gd name="connsiteY332" fmla="*/ 4333 h 10714"/>
                <a:gd name="connsiteX333" fmla="*/ 3996 w 10000"/>
                <a:gd name="connsiteY333" fmla="*/ 4058 h 10714"/>
                <a:gd name="connsiteX334" fmla="*/ 3933 w 10000"/>
                <a:gd name="connsiteY334" fmla="*/ 3760 h 10714"/>
                <a:gd name="connsiteX335" fmla="*/ 3904 w 10000"/>
                <a:gd name="connsiteY335" fmla="*/ 3456 h 10714"/>
                <a:gd name="connsiteX336" fmla="*/ 3879 w 10000"/>
                <a:gd name="connsiteY336" fmla="*/ 3138 h 10714"/>
                <a:gd name="connsiteX337" fmla="*/ 3879 w 10000"/>
                <a:gd name="connsiteY337" fmla="*/ 2813 h 10714"/>
                <a:gd name="connsiteX338" fmla="*/ 3896 w 10000"/>
                <a:gd name="connsiteY338" fmla="*/ 2485 h 10714"/>
                <a:gd name="connsiteX339" fmla="*/ 3933 w 10000"/>
                <a:gd name="connsiteY339" fmla="*/ 2160 h 10714"/>
                <a:gd name="connsiteX340" fmla="*/ 3988 w 10000"/>
                <a:gd name="connsiteY340" fmla="*/ 1836 h 10714"/>
                <a:gd name="connsiteX341" fmla="*/ 4046 w 10000"/>
                <a:gd name="connsiteY341" fmla="*/ 1523 h 10714"/>
                <a:gd name="connsiteX342" fmla="*/ 4129 w 10000"/>
                <a:gd name="connsiteY342" fmla="*/ 1219 h 10714"/>
                <a:gd name="connsiteX343" fmla="*/ 4229 w 10000"/>
                <a:gd name="connsiteY343" fmla="*/ 933 h 10714"/>
                <a:gd name="connsiteX344" fmla="*/ 4333 w 10000"/>
                <a:gd name="connsiteY344" fmla="*/ 662 h 10714"/>
                <a:gd name="connsiteX345" fmla="*/ 4454 w 10000"/>
                <a:gd name="connsiteY345" fmla="*/ 417 h 10714"/>
                <a:gd name="connsiteX346" fmla="*/ 4583 w 10000"/>
                <a:gd name="connsiteY346" fmla="*/ 194 h 10714"/>
                <a:gd name="connsiteX347" fmla="*/ 4738 w 10000"/>
                <a:gd name="connsiteY347" fmla="*/ 0 h 10714"/>
                <a:gd name="connsiteX0" fmla="*/ 4738 w 10000"/>
                <a:gd name="connsiteY0" fmla="*/ 0 h 10714"/>
                <a:gd name="connsiteX1" fmla="*/ 4721 w 10000"/>
                <a:gd name="connsiteY1" fmla="*/ 48 h 10714"/>
                <a:gd name="connsiteX2" fmla="*/ 4713 w 10000"/>
                <a:gd name="connsiteY2" fmla="*/ 80 h 10714"/>
                <a:gd name="connsiteX3" fmla="*/ 4704 w 10000"/>
                <a:gd name="connsiteY3" fmla="*/ 101 h 10714"/>
                <a:gd name="connsiteX4" fmla="*/ 4704 w 10000"/>
                <a:gd name="connsiteY4" fmla="*/ 113 h 10714"/>
                <a:gd name="connsiteX5" fmla="*/ 4713 w 10000"/>
                <a:gd name="connsiteY5" fmla="*/ 119 h 10714"/>
                <a:gd name="connsiteX6" fmla="*/ 4713 w 10000"/>
                <a:gd name="connsiteY6" fmla="*/ 125 h 10714"/>
                <a:gd name="connsiteX7" fmla="*/ 4721 w 10000"/>
                <a:gd name="connsiteY7" fmla="*/ 125 h 10714"/>
                <a:gd name="connsiteX8" fmla="*/ 4721 w 10000"/>
                <a:gd name="connsiteY8" fmla="*/ 125 h 10714"/>
                <a:gd name="connsiteX9" fmla="*/ 4721 w 10000"/>
                <a:gd name="connsiteY9" fmla="*/ 134 h 10714"/>
                <a:gd name="connsiteX10" fmla="*/ 4713 w 10000"/>
                <a:gd name="connsiteY10" fmla="*/ 152 h 10714"/>
                <a:gd name="connsiteX11" fmla="*/ 4704 w 10000"/>
                <a:gd name="connsiteY11" fmla="*/ 179 h 10714"/>
                <a:gd name="connsiteX12" fmla="*/ 4692 w 10000"/>
                <a:gd name="connsiteY12" fmla="*/ 221 h 10714"/>
                <a:gd name="connsiteX13" fmla="*/ 4667 w 10000"/>
                <a:gd name="connsiteY13" fmla="*/ 280 h 10714"/>
                <a:gd name="connsiteX14" fmla="*/ 4629 w 10000"/>
                <a:gd name="connsiteY14" fmla="*/ 364 h 10714"/>
                <a:gd name="connsiteX15" fmla="*/ 4592 w 10000"/>
                <a:gd name="connsiteY15" fmla="*/ 465 h 10714"/>
                <a:gd name="connsiteX16" fmla="*/ 4533 w 10000"/>
                <a:gd name="connsiteY16" fmla="*/ 596 h 10714"/>
                <a:gd name="connsiteX17" fmla="*/ 4463 w 10000"/>
                <a:gd name="connsiteY17" fmla="*/ 754 h 10714"/>
                <a:gd name="connsiteX18" fmla="*/ 4379 w 10000"/>
                <a:gd name="connsiteY18" fmla="*/ 1001 h 10714"/>
                <a:gd name="connsiteX19" fmla="*/ 4321 w 10000"/>
                <a:gd name="connsiteY19" fmla="*/ 1266 h 10714"/>
                <a:gd name="connsiteX20" fmla="*/ 4275 w 10000"/>
                <a:gd name="connsiteY20" fmla="*/ 1538 h 10714"/>
                <a:gd name="connsiteX21" fmla="*/ 4213 w 10000"/>
                <a:gd name="connsiteY21" fmla="*/ 1827 h 10714"/>
                <a:gd name="connsiteX22" fmla="*/ 4204 w 10000"/>
                <a:gd name="connsiteY22" fmla="*/ 1889 h 10714"/>
                <a:gd name="connsiteX23" fmla="*/ 4192 w 10000"/>
                <a:gd name="connsiteY23" fmla="*/ 1982 h 10714"/>
                <a:gd name="connsiteX24" fmla="*/ 4183 w 10000"/>
                <a:gd name="connsiteY24" fmla="*/ 2080 h 10714"/>
                <a:gd name="connsiteX25" fmla="*/ 4175 w 10000"/>
                <a:gd name="connsiteY25" fmla="*/ 2187 h 10714"/>
                <a:gd name="connsiteX26" fmla="*/ 4175 w 10000"/>
                <a:gd name="connsiteY26" fmla="*/ 2297 h 10714"/>
                <a:gd name="connsiteX27" fmla="*/ 4192 w 10000"/>
                <a:gd name="connsiteY27" fmla="*/ 2396 h 10714"/>
                <a:gd name="connsiteX28" fmla="*/ 4213 w 10000"/>
                <a:gd name="connsiteY28" fmla="*/ 2482 h 10714"/>
                <a:gd name="connsiteX29" fmla="*/ 4250 w 10000"/>
                <a:gd name="connsiteY29" fmla="*/ 2542 h 10714"/>
                <a:gd name="connsiteX30" fmla="*/ 4450 w 10000"/>
                <a:gd name="connsiteY30" fmla="*/ 2530 h 10714"/>
                <a:gd name="connsiteX31" fmla="*/ 4646 w 10000"/>
                <a:gd name="connsiteY31" fmla="*/ 2482 h 10714"/>
                <a:gd name="connsiteX32" fmla="*/ 4833 w 10000"/>
                <a:gd name="connsiteY32" fmla="*/ 2405 h 10714"/>
                <a:gd name="connsiteX33" fmla="*/ 5025 w 10000"/>
                <a:gd name="connsiteY33" fmla="*/ 2297 h 10714"/>
                <a:gd name="connsiteX34" fmla="*/ 5200 w 10000"/>
                <a:gd name="connsiteY34" fmla="*/ 2172 h 10714"/>
                <a:gd name="connsiteX35" fmla="*/ 5371 w 10000"/>
                <a:gd name="connsiteY35" fmla="*/ 2020 h 10714"/>
                <a:gd name="connsiteX36" fmla="*/ 5533 w 10000"/>
                <a:gd name="connsiteY36" fmla="*/ 1859 h 10714"/>
                <a:gd name="connsiteX37" fmla="*/ 5683 w 10000"/>
                <a:gd name="connsiteY37" fmla="*/ 1690 h 10714"/>
                <a:gd name="connsiteX38" fmla="*/ 5829 w 10000"/>
                <a:gd name="connsiteY38" fmla="*/ 1511 h 10714"/>
                <a:gd name="connsiteX39" fmla="*/ 5954 w 10000"/>
                <a:gd name="connsiteY39" fmla="*/ 1326 h 10714"/>
                <a:gd name="connsiteX40" fmla="*/ 6071 w 10000"/>
                <a:gd name="connsiteY40" fmla="*/ 1147 h 10714"/>
                <a:gd name="connsiteX41" fmla="*/ 6167 w 10000"/>
                <a:gd name="connsiteY41" fmla="*/ 974 h 10714"/>
                <a:gd name="connsiteX42" fmla="*/ 6213 w 10000"/>
                <a:gd name="connsiteY42" fmla="*/ 974 h 10714"/>
                <a:gd name="connsiteX43" fmla="*/ 6213 w 10000"/>
                <a:gd name="connsiteY43" fmla="*/ 992 h 10714"/>
                <a:gd name="connsiteX44" fmla="*/ 6138 w 10000"/>
                <a:gd name="connsiteY44" fmla="*/ 1165 h 10714"/>
                <a:gd name="connsiteX45" fmla="*/ 6054 w 10000"/>
                <a:gd name="connsiteY45" fmla="*/ 1344 h 10714"/>
                <a:gd name="connsiteX46" fmla="*/ 5963 w 10000"/>
                <a:gd name="connsiteY46" fmla="*/ 1517 h 10714"/>
                <a:gd name="connsiteX47" fmla="*/ 5871 w 10000"/>
                <a:gd name="connsiteY47" fmla="*/ 1684 h 10714"/>
                <a:gd name="connsiteX48" fmla="*/ 5775 w 10000"/>
                <a:gd name="connsiteY48" fmla="*/ 1847 h 10714"/>
                <a:gd name="connsiteX49" fmla="*/ 5667 w 10000"/>
                <a:gd name="connsiteY49" fmla="*/ 1999 h 10714"/>
                <a:gd name="connsiteX50" fmla="*/ 5554 w 10000"/>
                <a:gd name="connsiteY50" fmla="*/ 2145 h 10714"/>
                <a:gd name="connsiteX51" fmla="*/ 5417 w 10000"/>
                <a:gd name="connsiteY51" fmla="*/ 2279 h 10714"/>
                <a:gd name="connsiteX52" fmla="*/ 5275 w 10000"/>
                <a:gd name="connsiteY52" fmla="*/ 2411 h 10714"/>
                <a:gd name="connsiteX53" fmla="*/ 5108 w 10000"/>
                <a:gd name="connsiteY53" fmla="*/ 2518 h 10714"/>
                <a:gd name="connsiteX54" fmla="*/ 4917 w 10000"/>
                <a:gd name="connsiteY54" fmla="*/ 2616 h 10714"/>
                <a:gd name="connsiteX55" fmla="*/ 4704 w 10000"/>
                <a:gd name="connsiteY55" fmla="*/ 2703 h 10714"/>
                <a:gd name="connsiteX56" fmla="*/ 4479 w 10000"/>
                <a:gd name="connsiteY56" fmla="*/ 2768 h 10714"/>
                <a:gd name="connsiteX57" fmla="*/ 4213 w 10000"/>
                <a:gd name="connsiteY57" fmla="*/ 2813 h 10714"/>
                <a:gd name="connsiteX58" fmla="*/ 4221 w 10000"/>
                <a:gd name="connsiteY58" fmla="*/ 3126 h 10714"/>
                <a:gd name="connsiteX59" fmla="*/ 4258 w 10000"/>
                <a:gd name="connsiteY59" fmla="*/ 3424 h 10714"/>
                <a:gd name="connsiteX60" fmla="*/ 4321 w 10000"/>
                <a:gd name="connsiteY60" fmla="*/ 3707 h 10714"/>
                <a:gd name="connsiteX61" fmla="*/ 4404 w 10000"/>
                <a:gd name="connsiteY61" fmla="*/ 3975 h 10714"/>
                <a:gd name="connsiteX62" fmla="*/ 4508 w 10000"/>
                <a:gd name="connsiteY62" fmla="*/ 4231 h 10714"/>
                <a:gd name="connsiteX63" fmla="*/ 4621 w 10000"/>
                <a:gd name="connsiteY63" fmla="*/ 4476 h 10714"/>
                <a:gd name="connsiteX64" fmla="*/ 4750 w 10000"/>
                <a:gd name="connsiteY64" fmla="*/ 4708 h 10714"/>
                <a:gd name="connsiteX65" fmla="*/ 4879 w 10000"/>
                <a:gd name="connsiteY65" fmla="*/ 4934 h 10714"/>
                <a:gd name="connsiteX66" fmla="*/ 4917 w 10000"/>
                <a:gd name="connsiteY66" fmla="*/ 4988 h 10714"/>
                <a:gd name="connsiteX67" fmla="*/ 4950 w 10000"/>
                <a:gd name="connsiteY67" fmla="*/ 5054 h 10714"/>
                <a:gd name="connsiteX68" fmla="*/ 4996 w 10000"/>
                <a:gd name="connsiteY68" fmla="*/ 5125 h 10714"/>
                <a:gd name="connsiteX69" fmla="*/ 5038 w 10000"/>
                <a:gd name="connsiteY69" fmla="*/ 5200 h 10714"/>
                <a:gd name="connsiteX70" fmla="*/ 5092 w 10000"/>
                <a:gd name="connsiteY70" fmla="*/ 5271 h 10714"/>
                <a:gd name="connsiteX71" fmla="*/ 5154 w 10000"/>
                <a:gd name="connsiteY71" fmla="*/ 5331 h 10714"/>
                <a:gd name="connsiteX72" fmla="*/ 5229 w 10000"/>
                <a:gd name="connsiteY72" fmla="*/ 5384 h 10714"/>
                <a:gd name="connsiteX73" fmla="*/ 5313 w 10000"/>
                <a:gd name="connsiteY73" fmla="*/ 5423 h 10714"/>
                <a:gd name="connsiteX74" fmla="*/ 5413 w 10000"/>
                <a:gd name="connsiteY74" fmla="*/ 5438 h 10714"/>
                <a:gd name="connsiteX75" fmla="*/ 5517 w 10000"/>
                <a:gd name="connsiteY75" fmla="*/ 5435 h 10714"/>
                <a:gd name="connsiteX76" fmla="*/ 5704 w 10000"/>
                <a:gd name="connsiteY76" fmla="*/ 5390 h 10714"/>
                <a:gd name="connsiteX77" fmla="*/ 5871 w 10000"/>
                <a:gd name="connsiteY77" fmla="*/ 5316 h 10714"/>
                <a:gd name="connsiteX78" fmla="*/ 6033 w 10000"/>
                <a:gd name="connsiteY78" fmla="*/ 5223 h 10714"/>
                <a:gd name="connsiteX79" fmla="*/ 6167 w 10000"/>
                <a:gd name="connsiteY79" fmla="*/ 5113 h 10714"/>
                <a:gd name="connsiteX80" fmla="*/ 6296 w 10000"/>
                <a:gd name="connsiteY80" fmla="*/ 4994 h 10714"/>
                <a:gd name="connsiteX81" fmla="*/ 6417 w 10000"/>
                <a:gd name="connsiteY81" fmla="*/ 4869 h 10714"/>
                <a:gd name="connsiteX82" fmla="*/ 6525 w 10000"/>
                <a:gd name="connsiteY82" fmla="*/ 4750 h 10714"/>
                <a:gd name="connsiteX83" fmla="*/ 6617 w 10000"/>
                <a:gd name="connsiteY83" fmla="*/ 4636 h 10714"/>
                <a:gd name="connsiteX84" fmla="*/ 6821 w 10000"/>
                <a:gd name="connsiteY84" fmla="*/ 4377 h 10714"/>
                <a:gd name="connsiteX85" fmla="*/ 7017 w 10000"/>
                <a:gd name="connsiteY85" fmla="*/ 4085 h 10714"/>
                <a:gd name="connsiteX86" fmla="*/ 7213 w 10000"/>
                <a:gd name="connsiteY86" fmla="*/ 3766 h 10714"/>
                <a:gd name="connsiteX87" fmla="*/ 7396 w 10000"/>
                <a:gd name="connsiteY87" fmla="*/ 3418 h 10714"/>
                <a:gd name="connsiteX88" fmla="*/ 7563 w 10000"/>
                <a:gd name="connsiteY88" fmla="*/ 3051 h 10714"/>
                <a:gd name="connsiteX89" fmla="*/ 7713 w 10000"/>
                <a:gd name="connsiteY89" fmla="*/ 2661 h 10714"/>
                <a:gd name="connsiteX90" fmla="*/ 7850 w 10000"/>
                <a:gd name="connsiteY90" fmla="*/ 2253 h 10714"/>
                <a:gd name="connsiteX91" fmla="*/ 7950 w 10000"/>
                <a:gd name="connsiteY91" fmla="*/ 1830 h 10714"/>
                <a:gd name="connsiteX92" fmla="*/ 8025 w 10000"/>
                <a:gd name="connsiteY92" fmla="*/ 1397 h 10714"/>
                <a:gd name="connsiteX93" fmla="*/ 8071 w 10000"/>
                <a:gd name="connsiteY93" fmla="*/ 954 h 10714"/>
                <a:gd name="connsiteX94" fmla="*/ 8108 w 10000"/>
                <a:gd name="connsiteY94" fmla="*/ 974 h 10714"/>
                <a:gd name="connsiteX95" fmla="*/ 8138 w 10000"/>
                <a:gd name="connsiteY95" fmla="*/ 1025 h 10714"/>
                <a:gd name="connsiteX96" fmla="*/ 8163 w 10000"/>
                <a:gd name="connsiteY96" fmla="*/ 1100 h 10714"/>
                <a:gd name="connsiteX97" fmla="*/ 8175 w 10000"/>
                <a:gd name="connsiteY97" fmla="*/ 1198 h 10714"/>
                <a:gd name="connsiteX98" fmla="*/ 8183 w 10000"/>
                <a:gd name="connsiteY98" fmla="*/ 1311 h 10714"/>
                <a:gd name="connsiteX99" fmla="*/ 8183 w 10000"/>
                <a:gd name="connsiteY99" fmla="*/ 1442 h 10714"/>
                <a:gd name="connsiteX100" fmla="*/ 8183 w 10000"/>
                <a:gd name="connsiteY100" fmla="*/ 1582 h 10714"/>
                <a:gd name="connsiteX101" fmla="*/ 8175 w 10000"/>
                <a:gd name="connsiteY101" fmla="*/ 1734 h 10714"/>
                <a:gd name="connsiteX102" fmla="*/ 8163 w 10000"/>
                <a:gd name="connsiteY102" fmla="*/ 1889 h 10714"/>
                <a:gd name="connsiteX103" fmla="*/ 8146 w 10000"/>
                <a:gd name="connsiteY103" fmla="*/ 2047 h 10714"/>
                <a:gd name="connsiteX104" fmla="*/ 8121 w 10000"/>
                <a:gd name="connsiteY104" fmla="*/ 2205 h 10714"/>
                <a:gd name="connsiteX105" fmla="*/ 8108 w 10000"/>
                <a:gd name="connsiteY105" fmla="*/ 2357 h 10714"/>
                <a:gd name="connsiteX106" fmla="*/ 8083 w 10000"/>
                <a:gd name="connsiteY106" fmla="*/ 2497 h 10714"/>
                <a:gd name="connsiteX107" fmla="*/ 8063 w 10000"/>
                <a:gd name="connsiteY107" fmla="*/ 2628 h 10714"/>
                <a:gd name="connsiteX108" fmla="*/ 8038 w 10000"/>
                <a:gd name="connsiteY108" fmla="*/ 2741 h 10714"/>
                <a:gd name="connsiteX109" fmla="*/ 8017 w 10000"/>
                <a:gd name="connsiteY109" fmla="*/ 2834 h 10714"/>
                <a:gd name="connsiteX110" fmla="*/ 8000 w 10000"/>
                <a:gd name="connsiteY110" fmla="*/ 2908 h 10714"/>
                <a:gd name="connsiteX111" fmla="*/ 7700 w 10000"/>
                <a:gd name="connsiteY111" fmla="*/ 3754 h 10714"/>
                <a:gd name="connsiteX112" fmla="*/ 7942 w 10000"/>
                <a:gd name="connsiteY112" fmla="*/ 3737 h 10714"/>
                <a:gd name="connsiteX113" fmla="*/ 8167 w 10000"/>
                <a:gd name="connsiteY113" fmla="*/ 3695 h 10714"/>
                <a:gd name="connsiteX114" fmla="*/ 8379 w 10000"/>
                <a:gd name="connsiteY114" fmla="*/ 3635 h 10714"/>
                <a:gd name="connsiteX115" fmla="*/ 8583 w 10000"/>
                <a:gd name="connsiteY115" fmla="*/ 3558 h 10714"/>
                <a:gd name="connsiteX116" fmla="*/ 8767 w 10000"/>
                <a:gd name="connsiteY116" fmla="*/ 3471 h 10714"/>
                <a:gd name="connsiteX117" fmla="*/ 8933 w 10000"/>
                <a:gd name="connsiteY117" fmla="*/ 3376 h 10714"/>
                <a:gd name="connsiteX118" fmla="*/ 9092 w 10000"/>
                <a:gd name="connsiteY118" fmla="*/ 3278 h 10714"/>
                <a:gd name="connsiteX119" fmla="*/ 9238 w 10000"/>
                <a:gd name="connsiteY119" fmla="*/ 3185 h 10714"/>
                <a:gd name="connsiteX120" fmla="*/ 9250 w 10000"/>
                <a:gd name="connsiteY120" fmla="*/ 3230 h 10714"/>
                <a:gd name="connsiteX121" fmla="*/ 9117 w 10000"/>
                <a:gd name="connsiteY121" fmla="*/ 3376 h 10714"/>
                <a:gd name="connsiteX122" fmla="*/ 8954 w 10000"/>
                <a:gd name="connsiteY122" fmla="*/ 3516 h 10714"/>
                <a:gd name="connsiteX123" fmla="*/ 8758 w 10000"/>
                <a:gd name="connsiteY123" fmla="*/ 3641 h 10714"/>
                <a:gd name="connsiteX124" fmla="*/ 8538 w 10000"/>
                <a:gd name="connsiteY124" fmla="*/ 3754 h 10714"/>
                <a:gd name="connsiteX125" fmla="*/ 8304 w 10000"/>
                <a:gd name="connsiteY125" fmla="*/ 3856 h 10714"/>
                <a:gd name="connsiteX126" fmla="*/ 8054 w 10000"/>
                <a:gd name="connsiteY126" fmla="*/ 3945 h 10714"/>
                <a:gd name="connsiteX127" fmla="*/ 7796 w 10000"/>
                <a:gd name="connsiteY127" fmla="*/ 4014 h 10714"/>
                <a:gd name="connsiteX128" fmla="*/ 7533 w 10000"/>
                <a:gd name="connsiteY128" fmla="*/ 4064 h 10714"/>
                <a:gd name="connsiteX129" fmla="*/ 7479 w 10000"/>
                <a:gd name="connsiteY129" fmla="*/ 4184 h 10714"/>
                <a:gd name="connsiteX130" fmla="*/ 7404 w 10000"/>
                <a:gd name="connsiteY130" fmla="*/ 4324 h 10714"/>
                <a:gd name="connsiteX131" fmla="*/ 7321 w 10000"/>
                <a:gd name="connsiteY131" fmla="*/ 4470 h 10714"/>
                <a:gd name="connsiteX132" fmla="*/ 7213 w 10000"/>
                <a:gd name="connsiteY132" fmla="*/ 4628 h 10714"/>
                <a:gd name="connsiteX133" fmla="*/ 7100 w 10000"/>
                <a:gd name="connsiteY133" fmla="*/ 4794 h 10714"/>
                <a:gd name="connsiteX134" fmla="*/ 6979 w 10000"/>
                <a:gd name="connsiteY134" fmla="*/ 4958 h 10714"/>
                <a:gd name="connsiteX135" fmla="*/ 6850 w 10000"/>
                <a:gd name="connsiteY135" fmla="*/ 5113 h 10714"/>
                <a:gd name="connsiteX136" fmla="*/ 6721 w 10000"/>
                <a:gd name="connsiteY136" fmla="*/ 5265 h 10714"/>
                <a:gd name="connsiteX137" fmla="*/ 6600 w 10000"/>
                <a:gd name="connsiteY137" fmla="*/ 5405 h 10714"/>
                <a:gd name="connsiteX138" fmla="*/ 6471 w 10000"/>
                <a:gd name="connsiteY138" fmla="*/ 5530 h 10714"/>
                <a:gd name="connsiteX139" fmla="*/ 6358 w 10000"/>
                <a:gd name="connsiteY139" fmla="*/ 5641 h 10714"/>
                <a:gd name="connsiteX140" fmla="*/ 6250 w 10000"/>
                <a:gd name="connsiteY140" fmla="*/ 5721 h 10714"/>
                <a:gd name="connsiteX141" fmla="*/ 6267 w 10000"/>
                <a:gd name="connsiteY141" fmla="*/ 5781 h 10714"/>
                <a:gd name="connsiteX142" fmla="*/ 6296 w 10000"/>
                <a:gd name="connsiteY142" fmla="*/ 5793 h 10714"/>
                <a:gd name="connsiteX143" fmla="*/ 6479 w 10000"/>
                <a:gd name="connsiteY143" fmla="*/ 5754 h 10714"/>
                <a:gd name="connsiteX144" fmla="*/ 6663 w 10000"/>
                <a:gd name="connsiteY144" fmla="*/ 5736 h 10714"/>
                <a:gd name="connsiteX145" fmla="*/ 6858 w 10000"/>
                <a:gd name="connsiteY145" fmla="*/ 5736 h 10714"/>
                <a:gd name="connsiteX146" fmla="*/ 7046 w 10000"/>
                <a:gd name="connsiteY146" fmla="*/ 5742 h 10714"/>
                <a:gd name="connsiteX147" fmla="*/ 7246 w 10000"/>
                <a:gd name="connsiteY147" fmla="*/ 5748 h 10714"/>
                <a:gd name="connsiteX148" fmla="*/ 7425 w 10000"/>
                <a:gd name="connsiteY148" fmla="*/ 5748 h 10714"/>
                <a:gd name="connsiteX149" fmla="*/ 7600 w 10000"/>
                <a:gd name="connsiteY149" fmla="*/ 5733 h 10714"/>
                <a:gd name="connsiteX150" fmla="*/ 7950 w 10000"/>
                <a:gd name="connsiteY150" fmla="*/ 5673 h 10714"/>
                <a:gd name="connsiteX151" fmla="*/ 8275 w 10000"/>
                <a:gd name="connsiteY151" fmla="*/ 5596 h 10714"/>
                <a:gd name="connsiteX152" fmla="*/ 8579 w 10000"/>
                <a:gd name="connsiteY152" fmla="*/ 5504 h 10714"/>
                <a:gd name="connsiteX153" fmla="*/ 8858 w 10000"/>
                <a:gd name="connsiteY153" fmla="*/ 5390 h 10714"/>
                <a:gd name="connsiteX154" fmla="*/ 9117 w 10000"/>
                <a:gd name="connsiteY154" fmla="*/ 5265 h 10714"/>
                <a:gd name="connsiteX155" fmla="*/ 9350 w 10000"/>
                <a:gd name="connsiteY155" fmla="*/ 5119 h 10714"/>
                <a:gd name="connsiteX156" fmla="*/ 9563 w 10000"/>
                <a:gd name="connsiteY156" fmla="*/ 4967 h 10714"/>
                <a:gd name="connsiteX157" fmla="*/ 9758 w 10000"/>
                <a:gd name="connsiteY157" fmla="*/ 4794 h 10714"/>
                <a:gd name="connsiteX158" fmla="*/ 9933 w 10000"/>
                <a:gd name="connsiteY158" fmla="*/ 4610 h 10714"/>
                <a:gd name="connsiteX159" fmla="*/ 10000 w 10000"/>
                <a:gd name="connsiteY159" fmla="*/ 4648 h 10714"/>
                <a:gd name="connsiteX160" fmla="*/ 10000 w 10000"/>
                <a:gd name="connsiteY160" fmla="*/ 4660 h 10714"/>
                <a:gd name="connsiteX161" fmla="*/ 9904 w 10000"/>
                <a:gd name="connsiteY161" fmla="*/ 4827 h 10714"/>
                <a:gd name="connsiteX162" fmla="*/ 9767 w 10000"/>
                <a:gd name="connsiteY162" fmla="*/ 5000 h 10714"/>
                <a:gd name="connsiteX163" fmla="*/ 9600 w 10000"/>
                <a:gd name="connsiteY163" fmla="*/ 5173 h 10714"/>
                <a:gd name="connsiteX164" fmla="*/ 9404 w 10000"/>
                <a:gd name="connsiteY164" fmla="*/ 5343 h 10714"/>
                <a:gd name="connsiteX165" fmla="*/ 9183 w 10000"/>
                <a:gd name="connsiteY165" fmla="*/ 5504 h 10714"/>
                <a:gd name="connsiteX166" fmla="*/ 8950 w 10000"/>
                <a:gd name="connsiteY166" fmla="*/ 5662 h 10714"/>
                <a:gd name="connsiteX167" fmla="*/ 8704 w 10000"/>
                <a:gd name="connsiteY167" fmla="*/ 5802 h 10714"/>
                <a:gd name="connsiteX168" fmla="*/ 8463 w 10000"/>
                <a:gd name="connsiteY168" fmla="*/ 5927 h 10714"/>
                <a:gd name="connsiteX169" fmla="*/ 8229 w 10000"/>
                <a:gd name="connsiteY169" fmla="*/ 6025 h 10714"/>
                <a:gd name="connsiteX170" fmla="*/ 8000 w 10000"/>
                <a:gd name="connsiteY170" fmla="*/ 6105 h 10714"/>
                <a:gd name="connsiteX171" fmla="*/ 7879 w 10000"/>
                <a:gd name="connsiteY171" fmla="*/ 6132 h 10714"/>
                <a:gd name="connsiteX172" fmla="*/ 7729 w 10000"/>
                <a:gd name="connsiteY172" fmla="*/ 6153 h 10714"/>
                <a:gd name="connsiteX173" fmla="*/ 7563 w 10000"/>
                <a:gd name="connsiteY173" fmla="*/ 6177 h 10714"/>
                <a:gd name="connsiteX174" fmla="*/ 7388 w 10000"/>
                <a:gd name="connsiteY174" fmla="*/ 6198 h 10714"/>
                <a:gd name="connsiteX175" fmla="*/ 7204 w 10000"/>
                <a:gd name="connsiteY175" fmla="*/ 6219 h 10714"/>
                <a:gd name="connsiteX176" fmla="*/ 7017 w 10000"/>
                <a:gd name="connsiteY176" fmla="*/ 6240 h 10714"/>
                <a:gd name="connsiteX177" fmla="*/ 6842 w 10000"/>
                <a:gd name="connsiteY177" fmla="*/ 6263 h 10714"/>
                <a:gd name="connsiteX178" fmla="*/ 6675 w 10000"/>
                <a:gd name="connsiteY178" fmla="*/ 6290 h 10714"/>
                <a:gd name="connsiteX179" fmla="*/ 6517 w 10000"/>
                <a:gd name="connsiteY179" fmla="*/ 6329 h 10714"/>
                <a:gd name="connsiteX180" fmla="*/ 6388 w 10000"/>
                <a:gd name="connsiteY180" fmla="*/ 6365 h 10714"/>
                <a:gd name="connsiteX181" fmla="*/ 6288 w 10000"/>
                <a:gd name="connsiteY181" fmla="*/ 6415 h 10714"/>
                <a:gd name="connsiteX182" fmla="*/ 6213 w 10000"/>
                <a:gd name="connsiteY182" fmla="*/ 6475 h 10714"/>
                <a:gd name="connsiteX183" fmla="*/ 6092 w 10000"/>
                <a:gd name="connsiteY183" fmla="*/ 6648 h 10714"/>
                <a:gd name="connsiteX184" fmla="*/ 6008 w 10000"/>
                <a:gd name="connsiteY184" fmla="*/ 6836 h 10714"/>
                <a:gd name="connsiteX185" fmla="*/ 5942 w 10000"/>
                <a:gd name="connsiteY185" fmla="*/ 7032 h 10714"/>
                <a:gd name="connsiteX186" fmla="*/ 5904 w 10000"/>
                <a:gd name="connsiteY186" fmla="*/ 7232 h 10714"/>
                <a:gd name="connsiteX187" fmla="*/ 5888 w 10000"/>
                <a:gd name="connsiteY187" fmla="*/ 7443 h 10714"/>
                <a:gd name="connsiteX188" fmla="*/ 5879 w 10000"/>
                <a:gd name="connsiteY188" fmla="*/ 7655 h 10714"/>
                <a:gd name="connsiteX189" fmla="*/ 5888 w 10000"/>
                <a:gd name="connsiteY189" fmla="*/ 7867 h 10714"/>
                <a:gd name="connsiteX190" fmla="*/ 5904 w 10000"/>
                <a:gd name="connsiteY190" fmla="*/ 8084 h 10714"/>
                <a:gd name="connsiteX191" fmla="*/ 5925 w 10000"/>
                <a:gd name="connsiteY191" fmla="*/ 8299 h 10714"/>
                <a:gd name="connsiteX192" fmla="*/ 5950 w 10000"/>
                <a:gd name="connsiteY192" fmla="*/ 8510 h 10714"/>
                <a:gd name="connsiteX193" fmla="*/ 5954 w 10000"/>
                <a:gd name="connsiteY193" fmla="*/ 8820 h 10714"/>
                <a:gd name="connsiteX194" fmla="*/ 5933 w 10000"/>
                <a:gd name="connsiteY194" fmla="*/ 9130 h 10714"/>
                <a:gd name="connsiteX195" fmla="*/ 5896 w 10000"/>
                <a:gd name="connsiteY195" fmla="*/ 9428 h 10714"/>
                <a:gd name="connsiteX196" fmla="*/ 5850 w 10000"/>
                <a:gd name="connsiteY196" fmla="*/ 9720 h 10714"/>
                <a:gd name="connsiteX197" fmla="*/ 5756 w 10000"/>
                <a:gd name="connsiteY197" fmla="*/ 10714 h 10714"/>
                <a:gd name="connsiteX198" fmla="*/ 4117 w 10000"/>
                <a:gd name="connsiteY198" fmla="*/ 10686 h 10714"/>
                <a:gd name="connsiteX199" fmla="*/ 4309 w 10000"/>
                <a:gd name="connsiteY199" fmla="*/ 10293 h 10714"/>
                <a:gd name="connsiteX200" fmla="*/ 4546 w 10000"/>
                <a:gd name="connsiteY200" fmla="*/ 9848 h 10714"/>
                <a:gd name="connsiteX201" fmla="*/ 4629 w 10000"/>
                <a:gd name="connsiteY201" fmla="*/ 9687 h 10714"/>
                <a:gd name="connsiteX202" fmla="*/ 4700 w 10000"/>
                <a:gd name="connsiteY202" fmla="*/ 9508 h 10714"/>
                <a:gd name="connsiteX203" fmla="*/ 4767 w 10000"/>
                <a:gd name="connsiteY203" fmla="*/ 9309 h 10714"/>
                <a:gd name="connsiteX204" fmla="*/ 4829 w 10000"/>
                <a:gd name="connsiteY204" fmla="*/ 9097 h 10714"/>
                <a:gd name="connsiteX205" fmla="*/ 4879 w 10000"/>
                <a:gd name="connsiteY205" fmla="*/ 8868 h 10714"/>
                <a:gd name="connsiteX206" fmla="*/ 4917 w 10000"/>
                <a:gd name="connsiteY206" fmla="*/ 8635 h 10714"/>
                <a:gd name="connsiteX207" fmla="*/ 4954 w 10000"/>
                <a:gd name="connsiteY207" fmla="*/ 8391 h 10714"/>
                <a:gd name="connsiteX208" fmla="*/ 4979 w 10000"/>
                <a:gd name="connsiteY208" fmla="*/ 8144 h 10714"/>
                <a:gd name="connsiteX209" fmla="*/ 5000 w 10000"/>
                <a:gd name="connsiteY209" fmla="*/ 7887 h 10714"/>
                <a:gd name="connsiteX210" fmla="*/ 5000 w 10000"/>
                <a:gd name="connsiteY210" fmla="*/ 7634 h 10714"/>
                <a:gd name="connsiteX211" fmla="*/ 5000 w 10000"/>
                <a:gd name="connsiteY211" fmla="*/ 7384 h 10714"/>
                <a:gd name="connsiteX212" fmla="*/ 4979 w 10000"/>
                <a:gd name="connsiteY212" fmla="*/ 7133 h 10714"/>
                <a:gd name="connsiteX213" fmla="*/ 4950 w 10000"/>
                <a:gd name="connsiteY213" fmla="*/ 6892 h 10714"/>
                <a:gd name="connsiteX214" fmla="*/ 4913 w 10000"/>
                <a:gd name="connsiteY214" fmla="*/ 6657 h 10714"/>
                <a:gd name="connsiteX215" fmla="*/ 4858 w 10000"/>
                <a:gd name="connsiteY215" fmla="*/ 6430 h 10714"/>
                <a:gd name="connsiteX216" fmla="*/ 4783 w 10000"/>
                <a:gd name="connsiteY216" fmla="*/ 6219 h 10714"/>
                <a:gd name="connsiteX217" fmla="*/ 4700 w 10000"/>
                <a:gd name="connsiteY217" fmla="*/ 6019 h 10714"/>
                <a:gd name="connsiteX218" fmla="*/ 4600 w 10000"/>
                <a:gd name="connsiteY218" fmla="*/ 5840 h 10714"/>
                <a:gd name="connsiteX219" fmla="*/ 4488 w 10000"/>
                <a:gd name="connsiteY219" fmla="*/ 5682 h 10714"/>
                <a:gd name="connsiteX220" fmla="*/ 4358 w 10000"/>
                <a:gd name="connsiteY220" fmla="*/ 5542 h 10714"/>
                <a:gd name="connsiteX221" fmla="*/ 4213 w 10000"/>
                <a:gd name="connsiteY221" fmla="*/ 5429 h 10714"/>
                <a:gd name="connsiteX222" fmla="*/ 4046 w 10000"/>
                <a:gd name="connsiteY222" fmla="*/ 5343 h 10714"/>
                <a:gd name="connsiteX223" fmla="*/ 3904 w 10000"/>
                <a:gd name="connsiteY223" fmla="*/ 5292 h 10714"/>
                <a:gd name="connsiteX224" fmla="*/ 3746 w 10000"/>
                <a:gd name="connsiteY224" fmla="*/ 5271 h 10714"/>
                <a:gd name="connsiteX225" fmla="*/ 3583 w 10000"/>
                <a:gd name="connsiteY225" fmla="*/ 5271 h 10714"/>
                <a:gd name="connsiteX226" fmla="*/ 3413 w 10000"/>
                <a:gd name="connsiteY226" fmla="*/ 5286 h 10714"/>
                <a:gd name="connsiteX227" fmla="*/ 3246 w 10000"/>
                <a:gd name="connsiteY227" fmla="*/ 5310 h 10714"/>
                <a:gd name="connsiteX228" fmla="*/ 3079 w 10000"/>
                <a:gd name="connsiteY228" fmla="*/ 5343 h 10714"/>
                <a:gd name="connsiteX229" fmla="*/ 2913 w 10000"/>
                <a:gd name="connsiteY229" fmla="*/ 5369 h 10714"/>
                <a:gd name="connsiteX230" fmla="*/ 2750 w 10000"/>
                <a:gd name="connsiteY230" fmla="*/ 5396 h 10714"/>
                <a:gd name="connsiteX231" fmla="*/ 2600 w 10000"/>
                <a:gd name="connsiteY231" fmla="*/ 5411 h 10714"/>
                <a:gd name="connsiteX232" fmla="*/ 2258 w 10000"/>
                <a:gd name="connsiteY232" fmla="*/ 5423 h 10714"/>
                <a:gd name="connsiteX233" fmla="*/ 1925 w 10000"/>
                <a:gd name="connsiteY233" fmla="*/ 5411 h 10714"/>
                <a:gd name="connsiteX234" fmla="*/ 1617 w 10000"/>
                <a:gd name="connsiteY234" fmla="*/ 5384 h 10714"/>
                <a:gd name="connsiteX235" fmla="*/ 1321 w 10000"/>
                <a:gd name="connsiteY235" fmla="*/ 5346 h 10714"/>
                <a:gd name="connsiteX236" fmla="*/ 1033 w 10000"/>
                <a:gd name="connsiteY236" fmla="*/ 5298 h 10714"/>
                <a:gd name="connsiteX237" fmla="*/ 758 w 10000"/>
                <a:gd name="connsiteY237" fmla="*/ 5250 h 10714"/>
                <a:gd name="connsiteX238" fmla="*/ 500 w 10000"/>
                <a:gd name="connsiteY238" fmla="*/ 5197 h 10714"/>
                <a:gd name="connsiteX239" fmla="*/ 517 w 10000"/>
                <a:gd name="connsiteY239" fmla="*/ 5137 h 10714"/>
                <a:gd name="connsiteX240" fmla="*/ 871 w 10000"/>
                <a:gd name="connsiteY240" fmla="*/ 5173 h 10714"/>
                <a:gd name="connsiteX241" fmla="*/ 1221 w 10000"/>
                <a:gd name="connsiteY241" fmla="*/ 5197 h 10714"/>
                <a:gd name="connsiteX242" fmla="*/ 1563 w 10000"/>
                <a:gd name="connsiteY242" fmla="*/ 5206 h 10714"/>
                <a:gd name="connsiteX243" fmla="*/ 1896 w 10000"/>
                <a:gd name="connsiteY243" fmla="*/ 5197 h 10714"/>
                <a:gd name="connsiteX244" fmla="*/ 2221 w 10000"/>
                <a:gd name="connsiteY244" fmla="*/ 5164 h 10714"/>
                <a:gd name="connsiteX245" fmla="*/ 2538 w 10000"/>
                <a:gd name="connsiteY245" fmla="*/ 5113 h 10714"/>
                <a:gd name="connsiteX246" fmla="*/ 2842 w 10000"/>
                <a:gd name="connsiteY246" fmla="*/ 5045 h 10714"/>
                <a:gd name="connsiteX247" fmla="*/ 3129 w 10000"/>
                <a:gd name="connsiteY247" fmla="*/ 4946 h 10714"/>
                <a:gd name="connsiteX248" fmla="*/ 3500 w 10000"/>
                <a:gd name="connsiteY248" fmla="*/ 4815 h 10714"/>
                <a:gd name="connsiteX249" fmla="*/ 2821 w 10000"/>
                <a:gd name="connsiteY249" fmla="*/ 4389 h 10714"/>
                <a:gd name="connsiteX250" fmla="*/ 2213 w 10000"/>
                <a:gd name="connsiteY250" fmla="*/ 3912 h 10714"/>
                <a:gd name="connsiteX251" fmla="*/ 1879 w 10000"/>
                <a:gd name="connsiteY251" fmla="*/ 3939 h 10714"/>
                <a:gd name="connsiteX252" fmla="*/ 1554 w 10000"/>
                <a:gd name="connsiteY252" fmla="*/ 3939 h 10714"/>
                <a:gd name="connsiteX253" fmla="*/ 1258 w 10000"/>
                <a:gd name="connsiteY253" fmla="*/ 3912 h 10714"/>
                <a:gd name="connsiteX254" fmla="*/ 979 w 10000"/>
                <a:gd name="connsiteY254" fmla="*/ 3856 h 10714"/>
                <a:gd name="connsiteX255" fmla="*/ 721 w 10000"/>
                <a:gd name="connsiteY255" fmla="*/ 3775 h 10714"/>
                <a:gd name="connsiteX256" fmla="*/ 496 w 10000"/>
                <a:gd name="connsiteY256" fmla="*/ 3674 h 10714"/>
                <a:gd name="connsiteX257" fmla="*/ 296 w 10000"/>
                <a:gd name="connsiteY257" fmla="*/ 3549 h 10714"/>
                <a:gd name="connsiteX258" fmla="*/ 129 w 10000"/>
                <a:gd name="connsiteY258" fmla="*/ 3403 h 10714"/>
                <a:gd name="connsiteX259" fmla="*/ 0 w 10000"/>
                <a:gd name="connsiteY259" fmla="*/ 3245 h 10714"/>
                <a:gd name="connsiteX260" fmla="*/ 17 w 10000"/>
                <a:gd name="connsiteY260" fmla="*/ 3218 h 10714"/>
                <a:gd name="connsiteX261" fmla="*/ 71 w 10000"/>
                <a:gd name="connsiteY261" fmla="*/ 3245 h 10714"/>
                <a:gd name="connsiteX262" fmla="*/ 138 w 10000"/>
                <a:gd name="connsiteY262" fmla="*/ 3349 h 10714"/>
                <a:gd name="connsiteX263" fmla="*/ 246 w 10000"/>
                <a:gd name="connsiteY263" fmla="*/ 3439 h 10714"/>
                <a:gd name="connsiteX264" fmla="*/ 379 w 10000"/>
                <a:gd name="connsiteY264" fmla="*/ 3528 h 10714"/>
                <a:gd name="connsiteX265" fmla="*/ 538 w 10000"/>
                <a:gd name="connsiteY265" fmla="*/ 3597 h 10714"/>
                <a:gd name="connsiteX266" fmla="*/ 721 w 10000"/>
                <a:gd name="connsiteY266" fmla="*/ 3656 h 10714"/>
                <a:gd name="connsiteX267" fmla="*/ 913 w 10000"/>
                <a:gd name="connsiteY267" fmla="*/ 3701 h 10714"/>
                <a:gd name="connsiteX268" fmla="*/ 1117 w 10000"/>
                <a:gd name="connsiteY268" fmla="*/ 3728 h 10714"/>
                <a:gd name="connsiteX269" fmla="*/ 1329 w 10000"/>
                <a:gd name="connsiteY269" fmla="*/ 3737 h 10714"/>
                <a:gd name="connsiteX270" fmla="*/ 1533 w 10000"/>
                <a:gd name="connsiteY270" fmla="*/ 3734 h 10714"/>
                <a:gd name="connsiteX271" fmla="*/ 1646 w 10000"/>
                <a:gd name="connsiteY271" fmla="*/ 3722 h 10714"/>
                <a:gd name="connsiteX272" fmla="*/ 1746 w 10000"/>
                <a:gd name="connsiteY272" fmla="*/ 3722 h 10714"/>
                <a:gd name="connsiteX273" fmla="*/ 1833 w 10000"/>
                <a:gd name="connsiteY273" fmla="*/ 3710 h 10714"/>
                <a:gd name="connsiteX274" fmla="*/ 1917 w 10000"/>
                <a:gd name="connsiteY274" fmla="*/ 3695 h 10714"/>
                <a:gd name="connsiteX275" fmla="*/ 1988 w 10000"/>
                <a:gd name="connsiteY275" fmla="*/ 3662 h 10714"/>
                <a:gd name="connsiteX276" fmla="*/ 1788 w 10000"/>
                <a:gd name="connsiteY276" fmla="*/ 3391 h 10714"/>
                <a:gd name="connsiteX277" fmla="*/ 1617 w 10000"/>
                <a:gd name="connsiteY277" fmla="*/ 3126 h 10714"/>
                <a:gd name="connsiteX278" fmla="*/ 1454 w 10000"/>
                <a:gd name="connsiteY278" fmla="*/ 2849 h 10714"/>
                <a:gd name="connsiteX279" fmla="*/ 1313 w 10000"/>
                <a:gd name="connsiteY279" fmla="*/ 2563 h 10714"/>
                <a:gd name="connsiteX280" fmla="*/ 1175 w 10000"/>
                <a:gd name="connsiteY280" fmla="*/ 2253 h 10714"/>
                <a:gd name="connsiteX281" fmla="*/ 1046 w 10000"/>
                <a:gd name="connsiteY281" fmla="*/ 1919 h 10714"/>
                <a:gd name="connsiteX282" fmla="*/ 1033 w 10000"/>
                <a:gd name="connsiteY282" fmla="*/ 1859 h 10714"/>
                <a:gd name="connsiteX283" fmla="*/ 1000 w 10000"/>
                <a:gd name="connsiteY283" fmla="*/ 1776 h 10714"/>
                <a:gd name="connsiteX284" fmla="*/ 979 w 10000"/>
                <a:gd name="connsiteY284" fmla="*/ 1684 h 10714"/>
                <a:gd name="connsiteX285" fmla="*/ 950 w 10000"/>
                <a:gd name="connsiteY285" fmla="*/ 1591 h 10714"/>
                <a:gd name="connsiteX286" fmla="*/ 925 w 10000"/>
                <a:gd name="connsiteY286" fmla="*/ 1490 h 10714"/>
                <a:gd name="connsiteX287" fmla="*/ 917 w 10000"/>
                <a:gd name="connsiteY287" fmla="*/ 1397 h 10714"/>
                <a:gd name="connsiteX288" fmla="*/ 917 w 10000"/>
                <a:gd name="connsiteY288" fmla="*/ 1311 h 10714"/>
                <a:gd name="connsiteX289" fmla="*/ 933 w 10000"/>
                <a:gd name="connsiteY289" fmla="*/ 1234 h 10714"/>
                <a:gd name="connsiteX290" fmla="*/ 963 w 10000"/>
                <a:gd name="connsiteY290" fmla="*/ 1180 h 10714"/>
                <a:gd name="connsiteX291" fmla="*/ 1000 w 10000"/>
                <a:gd name="connsiteY291" fmla="*/ 1192 h 10714"/>
                <a:gd name="connsiteX292" fmla="*/ 1033 w 10000"/>
                <a:gd name="connsiteY292" fmla="*/ 1496 h 10714"/>
                <a:gd name="connsiteX293" fmla="*/ 1108 w 10000"/>
                <a:gd name="connsiteY293" fmla="*/ 1800 h 10714"/>
                <a:gd name="connsiteX294" fmla="*/ 1221 w 10000"/>
                <a:gd name="connsiteY294" fmla="*/ 2098 h 10714"/>
                <a:gd name="connsiteX295" fmla="*/ 1358 w 10000"/>
                <a:gd name="connsiteY295" fmla="*/ 2372 h 10714"/>
                <a:gd name="connsiteX296" fmla="*/ 1508 w 10000"/>
                <a:gd name="connsiteY296" fmla="*/ 2628 h 10714"/>
                <a:gd name="connsiteX297" fmla="*/ 1646 w 10000"/>
                <a:gd name="connsiteY297" fmla="*/ 2795 h 10714"/>
                <a:gd name="connsiteX298" fmla="*/ 1629 w 10000"/>
                <a:gd name="connsiteY298" fmla="*/ 2801 h 10714"/>
                <a:gd name="connsiteX299" fmla="*/ 1629 w 10000"/>
                <a:gd name="connsiteY299" fmla="*/ 2807 h 10714"/>
                <a:gd name="connsiteX300" fmla="*/ 1638 w 10000"/>
                <a:gd name="connsiteY300" fmla="*/ 2813 h 10714"/>
                <a:gd name="connsiteX301" fmla="*/ 1646 w 10000"/>
                <a:gd name="connsiteY301" fmla="*/ 2816 h 10714"/>
                <a:gd name="connsiteX302" fmla="*/ 1663 w 10000"/>
                <a:gd name="connsiteY302" fmla="*/ 2822 h 10714"/>
                <a:gd name="connsiteX303" fmla="*/ 1667 w 10000"/>
                <a:gd name="connsiteY303" fmla="*/ 2834 h 10714"/>
                <a:gd name="connsiteX304" fmla="*/ 1675 w 10000"/>
                <a:gd name="connsiteY304" fmla="*/ 2840 h 10714"/>
                <a:gd name="connsiteX305" fmla="*/ 1683 w 10000"/>
                <a:gd name="connsiteY305" fmla="*/ 2849 h 10714"/>
                <a:gd name="connsiteX306" fmla="*/ 1683 w 10000"/>
                <a:gd name="connsiteY306" fmla="*/ 2843 h 10714"/>
                <a:gd name="connsiteX307" fmla="*/ 1675 w 10000"/>
                <a:gd name="connsiteY307" fmla="*/ 2840 h 10714"/>
                <a:gd name="connsiteX308" fmla="*/ 1675 w 10000"/>
                <a:gd name="connsiteY308" fmla="*/ 2840 h 10714"/>
                <a:gd name="connsiteX309" fmla="*/ 1646 w 10000"/>
                <a:gd name="connsiteY309" fmla="*/ 2795 h 10714"/>
                <a:gd name="connsiteX310" fmla="*/ 1746 w 10000"/>
                <a:gd name="connsiteY310" fmla="*/ 2741 h 10714"/>
                <a:gd name="connsiteX311" fmla="*/ 1842 w 10000"/>
                <a:gd name="connsiteY311" fmla="*/ 2649 h 10714"/>
                <a:gd name="connsiteX312" fmla="*/ 1933 w 10000"/>
                <a:gd name="connsiteY312" fmla="*/ 2542 h 10714"/>
                <a:gd name="connsiteX313" fmla="*/ 2017 w 10000"/>
                <a:gd name="connsiteY313" fmla="*/ 2411 h 10714"/>
                <a:gd name="connsiteX314" fmla="*/ 2092 w 10000"/>
                <a:gd name="connsiteY314" fmla="*/ 2265 h 10714"/>
                <a:gd name="connsiteX315" fmla="*/ 2163 w 10000"/>
                <a:gd name="connsiteY315" fmla="*/ 2113 h 10714"/>
                <a:gd name="connsiteX316" fmla="*/ 2221 w 10000"/>
                <a:gd name="connsiteY316" fmla="*/ 1955 h 10714"/>
                <a:gd name="connsiteX317" fmla="*/ 2275 w 10000"/>
                <a:gd name="connsiteY317" fmla="*/ 1803 h 10714"/>
                <a:gd name="connsiteX318" fmla="*/ 2321 w 10000"/>
                <a:gd name="connsiteY318" fmla="*/ 1657 h 10714"/>
                <a:gd name="connsiteX319" fmla="*/ 2329 w 10000"/>
                <a:gd name="connsiteY319" fmla="*/ 1853 h 10714"/>
                <a:gd name="connsiteX320" fmla="*/ 2321 w 10000"/>
                <a:gd name="connsiteY320" fmla="*/ 2032 h 10714"/>
                <a:gd name="connsiteX321" fmla="*/ 2283 w 10000"/>
                <a:gd name="connsiteY321" fmla="*/ 2199 h 10714"/>
                <a:gd name="connsiteX322" fmla="*/ 2229 w 10000"/>
                <a:gd name="connsiteY322" fmla="*/ 2366 h 10714"/>
                <a:gd name="connsiteX323" fmla="*/ 2154 w 10000"/>
                <a:gd name="connsiteY323" fmla="*/ 2524 h 10714"/>
                <a:gd name="connsiteX324" fmla="*/ 2046 w 10000"/>
                <a:gd name="connsiteY324" fmla="*/ 2682 h 10714"/>
                <a:gd name="connsiteX325" fmla="*/ 1796 w 10000"/>
                <a:gd name="connsiteY325" fmla="*/ 3027 h 10714"/>
                <a:gd name="connsiteX326" fmla="*/ 2054 w 10000"/>
                <a:gd name="connsiteY326" fmla="*/ 3305 h 10714"/>
                <a:gd name="connsiteX327" fmla="*/ 2333 w 10000"/>
                <a:gd name="connsiteY327" fmla="*/ 3564 h 10714"/>
                <a:gd name="connsiteX328" fmla="*/ 2638 w 10000"/>
                <a:gd name="connsiteY328" fmla="*/ 3808 h 10714"/>
                <a:gd name="connsiteX329" fmla="*/ 2963 w 10000"/>
                <a:gd name="connsiteY329" fmla="*/ 4032 h 10714"/>
                <a:gd name="connsiteX330" fmla="*/ 4129 w 10000"/>
                <a:gd name="connsiteY330" fmla="*/ 4610 h 10714"/>
                <a:gd name="connsiteX331" fmla="*/ 4167 w 10000"/>
                <a:gd name="connsiteY331" fmla="*/ 4589 h 10714"/>
                <a:gd name="connsiteX332" fmla="*/ 4071 w 10000"/>
                <a:gd name="connsiteY332" fmla="*/ 4333 h 10714"/>
                <a:gd name="connsiteX333" fmla="*/ 3996 w 10000"/>
                <a:gd name="connsiteY333" fmla="*/ 4058 h 10714"/>
                <a:gd name="connsiteX334" fmla="*/ 3933 w 10000"/>
                <a:gd name="connsiteY334" fmla="*/ 3760 h 10714"/>
                <a:gd name="connsiteX335" fmla="*/ 3904 w 10000"/>
                <a:gd name="connsiteY335" fmla="*/ 3456 h 10714"/>
                <a:gd name="connsiteX336" fmla="*/ 3879 w 10000"/>
                <a:gd name="connsiteY336" fmla="*/ 3138 h 10714"/>
                <a:gd name="connsiteX337" fmla="*/ 3879 w 10000"/>
                <a:gd name="connsiteY337" fmla="*/ 2813 h 10714"/>
                <a:gd name="connsiteX338" fmla="*/ 3896 w 10000"/>
                <a:gd name="connsiteY338" fmla="*/ 2485 h 10714"/>
                <a:gd name="connsiteX339" fmla="*/ 3933 w 10000"/>
                <a:gd name="connsiteY339" fmla="*/ 2160 h 10714"/>
                <a:gd name="connsiteX340" fmla="*/ 3988 w 10000"/>
                <a:gd name="connsiteY340" fmla="*/ 1836 h 10714"/>
                <a:gd name="connsiteX341" fmla="*/ 4046 w 10000"/>
                <a:gd name="connsiteY341" fmla="*/ 1523 h 10714"/>
                <a:gd name="connsiteX342" fmla="*/ 4129 w 10000"/>
                <a:gd name="connsiteY342" fmla="*/ 1219 h 10714"/>
                <a:gd name="connsiteX343" fmla="*/ 4229 w 10000"/>
                <a:gd name="connsiteY343" fmla="*/ 933 h 10714"/>
                <a:gd name="connsiteX344" fmla="*/ 4333 w 10000"/>
                <a:gd name="connsiteY344" fmla="*/ 662 h 10714"/>
                <a:gd name="connsiteX345" fmla="*/ 4454 w 10000"/>
                <a:gd name="connsiteY345" fmla="*/ 417 h 10714"/>
                <a:gd name="connsiteX346" fmla="*/ 4583 w 10000"/>
                <a:gd name="connsiteY346" fmla="*/ 194 h 10714"/>
                <a:gd name="connsiteX347" fmla="*/ 4738 w 10000"/>
                <a:gd name="connsiteY347" fmla="*/ 0 h 10714"/>
                <a:gd name="connsiteX0" fmla="*/ 4738 w 10000"/>
                <a:gd name="connsiteY0" fmla="*/ 0 h 10741"/>
                <a:gd name="connsiteX1" fmla="*/ 4721 w 10000"/>
                <a:gd name="connsiteY1" fmla="*/ 48 h 10741"/>
                <a:gd name="connsiteX2" fmla="*/ 4713 w 10000"/>
                <a:gd name="connsiteY2" fmla="*/ 80 h 10741"/>
                <a:gd name="connsiteX3" fmla="*/ 4704 w 10000"/>
                <a:gd name="connsiteY3" fmla="*/ 101 h 10741"/>
                <a:gd name="connsiteX4" fmla="*/ 4704 w 10000"/>
                <a:gd name="connsiteY4" fmla="*/ 113 h 10741"/>
                <a:gd name="connsiteX5" fmla="*/ 4713 w 10000"/>
                <a:gd name="connsiteY5" fmla="*/ 119 h 10741"/>
                <a:gd name="connsiteX6" fmla="*/ 4713 w 10000"/>
                <a:gd name="connsiteY6" fmla="*/ 125 h 10741"/>
                <a:gd name="connsiteX7" fmla="*/ 4721 w 10000"/>
                <a:gd name="connsiteY7" fmla="*/ 125 h 10741"/>
                <a:gd name="connsiteX8" fmla="*/ 4721 w 10000"/>
                <a:gd name="connsiteY8" fmla="*/ 125 h 10741"/>
                <a:gd name="connsiteX9" fmla="*/ 4721 w 10000"/>
                <a:gd name="connsiteY9" fmla="*/ 134 h 10741"/>
                <a:gd name="connsiteX10" fmla="*/ 4713 w 10000"/>
                <a:gd name="connsiteY10" fmla="*/ 152 h 10741"/>
                <a:gd name="connsiteX11" fmla="*/ 4704 w 10000"/>
                <a:gd name="connsiteY11" fmla="*/ 179 h 10741"/>
                <a:gd name="connsiteX12" fmla="*/ 4692 w 10000"/>
                <a:gd name="connsiteY12" fmla="*/ 221 h 10741"/>
                <a:gd name="connsiteX13" fmla="*/ 4667 w 10000"/>
                <a:gd name="connsiteY13" fmla="*/ 280 h 10741"/>
                <a:gd name="connsiteX14" fmla="*/ 4629 w 10000"/>
                <a:gd name="connsiteY14" fmla="*/ 364 h 10741"/>
                <a:gd name="connsiteX15" fmla="*/ 4592 w 10000"/>
                <a:gd name="connsiteY15" fmla="*/ 465 h 10741"/>
                <a:gd name="connsiteX16" fmla="*/ 4533 w 10000"/>
                <a:gd name="connsiteY16" fmla="*/ 596 h 10741"/>
                <a:gd name="connsiteX17" fmla="*/ 4463 w 10000"/>
                <a:gd name="connsiteY17" fmla="*/ 754 h 10741"/>
                <a:gd name="connsiteX18" fmla="*/ 4379 w 10000"/>
                <a:gd name="connsiteY18" fmla="*/ 1001 h 10741"/>
                <a:gd name="connsiteX19" fmla="*/ 4321 w 10000"/>
                <a:gd name="connsiteY19" fmla="*/ 1266 h 10741"/>
                <a:gd name="connsiteX20" fmla="*/ 4275 w 10000"/>
                <a:gd name="connsiteY20" fmla="*/ 1538 h 10741"/>
                <a:gd name="connsiteX21" fmla="*/ 4213 w 10000"/>
                <a:gd name="connsiteY21" fmla="*/ 1827 h 10741"/>
                <a:gd name="connsiteX22" fmla="*/ 4204 w 10000"/>
                <a:gd name="connsiteY22" fmla="*/ 1889 h 10741"/>
                <a:gd name="connsiteX23" fmla="*/ 4192 w 10000"/>
                <a:gd name="connsiteY23" fmla="*/ 1982 h 10741"/>
                <a:gd name="connsiteX24" fmla="*/ 4183 w 10000"/>
                <a:gd name="connsiteY24" fmla="*/ 2080 h 10741"/>
                <a:gd name="connsiteX25" fmla="*/ 4175 w 10000"/>
                <a:gd name="connsiteY25" fmla="*/ 2187 h 10741"/>
                <a:gd name="connsiteX26" fmla="*/ 4175 w 10000"/>
                <a:gd name="connsiteY26" fmla="*/ 2297 h 10741"/>
                <a:gd name="connsiteX27" fmla="*/ 4192 w 10000"/>
                <a:gd name="connsiteY27" fmla="*/ 2396 h 10741"/>
                <a:gd name="connsiteX28" fmla="*/ 4213 w 10000"/>
                <a:gd name="connsiteY28" fmla="*/ 2482 h 10741"/>
                <a:gd name="connsiteX29" fmla="*/ 4250 w 10000"/>
                <a:gd name="connsiteY29" fmla="*/ 2542 h 10741"/>
                <a:gd name="connsiteX30" fmla="*/ 4450 w 10000"/>
                <a:gd name="connsiteY30" fmla="*/ 2530 h 10741"/>
                <a:gd name="connsiteX31" fmla="*/ 4646 w 10000"/>
                <a:gd name="connsiteY31" fmla="*/ 2482 h 10741"/>
                <a:gd name="connsiteX32" fmla="*/ 4833 w 10000"/>
                <a:gd name="connsiteY32" fmla="*/ 2405 h 10741"/>
                <a:gd name="connsiteX33" fmla="*/ 5025 w 10000"/>
                <a:gd name="connsiteY33" fmla="*/ 2297 h 10741"/>
                <a:gd name="connsiteX34" fmla="*/ 5200 w 10000"/>
                <a:gd name="connsiteY34" fmla="*/ 2172 h 10741"/>
                <a:gd name="connsiteX35" fmla="*/ 5371 w 10000"/>
                <a:gd name="connsiteY35" fmla="*/ 2020 h 10741"/>
                <a:gd name="connsiteX36" fmla="*/ 5533 w 10000"/>
                <a:gd name="connsiteY36" fmla="*/ 1859 h 10741"/>
                <a:gd name="connsiteX37" fmla="*/ 5683 w 10000"/>
                <a:gd name="connsiteY37" fmla="*/ 1690 h 10741"/>
                <a:gd name="connsiteX38" fmla="*/ 5829 w 10000"/>
                <a:gd name="connsiteY38" fmla="*/ 1511 h 10741"/>
                <a:gd name="connsiteX39" fmla="*/ 5954 w 10000"/>
                <a:gd name="connsiteY39" fmla="*/ 1326 h 10741"/>
                <a:gd name="connsiteX40" fmla="*/ 6071 w 10000"/>
                <a:gd name="connsiteY40" fmla="*/ 1147 h 10741"/>
                <a:gd name="connsiteX41" fmla="*/ 6167 w 10000"/>
                <a:gd name="connsiteY41" fmla="*/ 974 h 10741"/>
                <a:gd name="connsiteX42" fmla="*/ 6213 w 10000"/>
                <a:gd name="connsiteY42" fmla="*/ 974 h 10741"/>
                <a:gd name="connsiteX43" fmla="*/ 6213 w 10000"/>
                <a:gd name="connsiteY43" fmla="*/ 992 h 10741"/>
                <a:gd name="connsiteX44" fmla="*/ 6138 w 10000"/>
                <a:gd name="connsiteY44" fmla="*/ 1165 h 10741"/>
                <a:gd name="connsiteX45" fmla="*/ 6054 w 10000"/>
                <a:gd name="connsiteY45" fmla="*/ 1344 h 10741"/>
                <a:gd name="connsiteX46" fmla="*/ 5963 w 10000"/>
                <a:gd name="connsiteY46" fmla="*/ 1517 h 10741"/>
                <a:gd name="connsiteX47" fmla="*/ 5871 w 10000"/>
                <a:gd name="connsiteY47" fmla="*/ 1684 h 10741"/>
                <a:gd name="connsiteX48" fmla="*/ 5775 w 10000"/>
                <a:gd name="connsiteY48" fmla="*/ 1847 h 10741"/>
                <a:gd name="connsiteX49" fmla="*/ 5667 w 10000"/>
                <a:gd name="connsiteY49" fmla="*/ 1999 h 10741"/>
                <a:gd name="connsiteX50" fmla="*/ 5554 w 10000"/>
                <a:gd name="connsiteY50" fmla="*/ 2145 h 10741"/>
                <a:gd name="connsiteX51" fmla="*/ 5417 w 10000"/>
                <a:gd name="connsiteY51" fmla="*/ 2279 h 10741"/>
                <a:gd name="connsiteX52" fmla="*/ 5275 w 10000"/>
                <a:gd name="connsiteY52" fmla="*/ 2411 h 10741"/>
                <a:gd name="connsiteX53" fmla="*/ 5108 w 10000"/>
                <a:gd name="connsiteY53" fmla="*/ 2518 h 10741"/>
                <a:gd name="connsiteX54" fmla="*/ 4917 w 10000"/>
                <a:gd name="connsiteY54" fmla="*/ 2616 h 10741"/>
                <a:gd name="connsiteX55" fmla="*/ 4704 w 10000"/>
                <a:gd name="connsiteY55" fmla="*/ 2703 h 10741"/>
                <a:gd name="connsiteX56" fmla="*/ 4479 w 10000"/>
                <a:gd name="connsiteY56" fmla="*/ 2768 h 10741"/>
                <a:gd name="connsiteX57" fmla="*/ 4213 w 10000"/>
                <a:gd name="connsiteY57" fmla="*/ 2813 h 10741"/>
                <a:gd name="connsiteX58" fmla="*/ 4221 w 10000"/>
                <a:gd name="connsiteY58" fmla="*/ 3126 h 10741"/>
                <a:gd name="connsiteX59" fmla="*/ 4258 w 10000"/>
                <a:gd name="connsiteY59" fmla="*/ 3424 h 10741"/>
                <a:gd name="connsiteX60" fmla="*/ 4321 w 10000"/>
                <a:gd name="connsiteY60" fmla="*/ 3707 h 10741"/>
                <a:gd name="connsiteX61" fmla="*/ 4404 w 10000"/>
                <a:gd name="connsiteY61" fmla="*/ 3975 h 10741"/>
                <a:gd name="connsiteX62" fmla="*/ 4508 w 10000"/>
                <a:gd name="connsiteY62" fmla="*/ 4231 h 10741"/>
                <a:gd name="connsiteX63" fmla="*/ 4621 w 10000"/>
                <a:gd name="connsiteY63" fmla="*/ 4476 h 10741"/>
                <a:gd name="connsiteX64" fmla="*/ 4750 w 10000"/>
                <a:gd name="connsiteY64" fmla="*/ 4708 h 10741"/>
                <a:gd name="connsiteX65" fmla="*/ 4879 w 10000"/>
                <a:gd name="connsiteY65" fmla="*/ 4934 h 10741"/>
                <a:gd name="connsiteX66" fmla="*/ 4917 w 10000"/>
                <a:gd name="connsiteY66" fmla="*/ 4988 h 10741"/>
                <a:gd name="connsiteX67" fmla="*/ 4950 w 10000"/>
                <a:gd name="connsiteY67" fmla="*/ 5054 h 10741"/>
                <a:gd name="connsiteX68" fmla="*/ 4996 w 10000"/>
                <a:gd name="connsiteY68" fmla="*/ 5125 h 10741"/>
                <a:gd name="connsiteX69" fmla="*/ 5038 w 10000"/>
                <a:gd name="connsiteY69" fmla="*/ 5200 h 10741"/>
                <a:gd name="connsiteX70" fmla="*/ 5092 w 10000"/>
                <a:gd name="connsiteY70" fmla="*/ 5271 h 10741"/>
                <a:gd name="connsiteX71" fmla="*/ 5154 w 10000"/>
                <a:gd name="connsiteY71" fmla="*/ 5331 h 10741"/>
                <a:gd name="connsiteX72" fmla="*/ 5229 w 10000"/>
                <a:gd name="connsiteY72" fmla="*/ 5384 h 10741"/>
                <a:gd name="connsiteX73" fmla="*/ 5313 w 10000"/>
                <a:gd name="connsiteY73" fmla="*/ 5423 h 10741"/>
                <a:gd name="connsiteX74" fmla="*/ 5413 w 10000"/>
                <a:gd name="connsiteY74" fmla="*/ 5438 h 10741"/>
                <a:gd name="connsiteX75" fmla="*/ 5517 w 10000"/>
                <a:gd name="connsiteY75" fmla="*/ 5435 h 10741"/>
                <a:gd name="connsiteX76" fmla="*/ 5704 w 10000"/>
                <a:gd name="connsiteY76" fmla="*/ 5390 h 10741"/>
                <a:gd name="connsiteX77" fmla="*/ 5871 w 10000"/>
                <a:gd name="connsiteY77" fmla="*/ 5316 h 10741"/>
                <a:gd name="connsiteX78" fmla="*/ 6033 w 10000"/>
                <a:gd name="connsiteY78" fmla="*/ 5223 h 10741"/>
                <a:gd name="connsiteX79" fmla="*/ 6167 w 10000"/>
                <a:gd name="connsiteY79" fmla="*/ 5113 h 10741"/>
                <a:gd name="connsiteX80" fmla="*/ 6296 w 10000"/>
                <a:gd name="connsiteY80" fmla="*/ 4994 h 10741"/>
                <a:gd name="connsiteX81" fmla="*/ 6417 w 10000"/>
                <a:gd name="connsiteY81" fmla="*/ 4869 h 10741"/>
                <a:gd name="connsiteX82" fmla="*/ 6525 w 10000"/>
                <a:gd name="connsiteY82" fmla="*/ 4750 h 10741"/>
                <a:gd name="connsiteX83" fmla="*/ 6617 w 10000"/>
                <a:gd name="connsiteY83" fmla="*/ 4636 h 10741"/>
                <a:gd name="connsiteX84" fmla="*/ 6821 w 10000"/>
                <a:gd name="connsiteY84" fmla="*/ 4377 h 10741"/>
                <a:gd name="connsiteX85" fmla="*/ 7017 w 10000"/>
                <a:gd name="connsiteY85" fmla="*/ 4085 h 10741"/>
                <a:gd name="connsiteX86" fmla="*/ 7213 w 10000"/>
                <a:gd name="connsiteY86" fmla="*/ 3766 h 10741"/>
                <a:gd name="connsiteX87" fmla="*/ 7396 w 10000"/>
                <a:gd name="connsiteY87" fmla="*/ 3418 h 10741"/>
                <a:gd name="connsiteX88" fmla="*/ 7563 w 10000"/>
                <a:gd name="connsiteY88" fmla="*/ 3051 h 10741"/>
                <a:gd name="connsiteX89" fmla="*/ 7713 w 10000"/>
                <a:gd name="connsiteY89" fmla="*/ 2661 h 10741"/>
                <a:gd name="connsiteX90" fmla="*/ 7850 w 10000"/>
                <a:gd name="connsiteY90" fmla="*/ 2253 h 10741"/>
                <a:gd name="connsiteX91" fmla="*/ 7950 w 10000"/>
                <a:gd name="connsiteY91" fmla="*/ 1830 h 10741"/>
                <a:gd name="connsiteX92" fmla="*/ 8025 w 10000"/>
                <a:gd name="connsiteY92" fmla="*/ 1397 h 10741"/>
                <a:gd name="connsiteX93" fmla="*/ 8071 w 10000"/>
                <a:gd name="connsiteY93" fmla="*/ 954 h 10741"/>
                <a:gd name="connsiteX94" fmla="*/ 8108 w 10000"/>
                <a:gd name="connsiteY94" fmla="*/ 974 h 10741"/>
                <a:gd name="connsiteX95" fmla="*/ 8138 w 10000"/>
                <a:gd name="connsiteY95" fmla="*/ 1025 h 10741"/>
                <a:gd name="connsiteX96" fmla="*/ 8163 w 10000"/>
                <a:gd name="connsiteY96" fmla="*/ 1100 h 10741"/>
                <a:gd name="connsiteX97" fmla="*/ 8175 w 10000"/>
                <a:gd name="connsiteY97" fmla="*/ 1198 h 10741"/>
                <a:gd name="connsiteX98" fmla="*/ 8183 w 10000"/>
                <a:gd name="connsiteY98" fmla="*/ 1311 h 10741"/>
                <a:gd name="connsiteX99" fmla="*/ 8183 w 10000"/>
                <a:gd name="connsiteY99" fmla="*/ 1442 h 10741"/>
                <a:gd name="connsiteX100" fmla="*/ 8183 w 10000"/>
                <a:gd name="connsiteY100" fmla="*/ 1582 h 10741"/>
                <a:gd name="connsiteX101" fmla="*/ 8175 w 10000"/>
                <a:gd name="connsiteY101" fmla="*/ 1734 h 10741"/>
                <a:gd name="connsiteX102" fmla="*/ 8163 w 10000"/>
                <a:gd name="connsiteY102" fmla="*/ 1889 h 10741"/>
                <a:gd name="connsiteX103" fmla="*/ 8146 w 10000"/>
                <a:gd name="connsiteY103" fmla="*/ 2047 h 10741"/>
                <a:gd name="connsiteX104" fmla="*/ 8121 w 10000"/>
                <a:gd name="connsiteY104" fmla="*/ 2205 h 10741"/>
                <a:gd name="connsiteX105" fmla="*/ 8108 w 10000"/>
                <a:gd name="connsiteY105" fmla="*/ 2357 h 10741"/>
                <a:gd name="connsiteX106" fmla="*/ 8083 w 10000"/>
                <a:gd name="connsiteY106" fmla="*/ 2497 h 10741"/>
                <a:gd name="connsiteX107" fmla="*/ 8063 w 10000"/>
                <a:gd name="connsiteY107" fmla="*/ 2628 h 10741"/>
                <a:gd name="connsiteX108" fmla="*/ 8038 w 10000"/>
                <a:gd name="connsiteY108" fmla="*/ 2741 h 10741"/>
                <a:gd name="connsiteX109" fmla="*/ 8017 w 10000"/>
                <a:gd name="connsiteY109" fmla="*/ 2834 h 10741"/>
                <a:gd name="connsiteX110" fmla="*/ 8000 w 10000"/>
                <a:gd name="connsiteY110" fmla="*/ 2908 h 10741"/>
                <a:gd name="connsiteX111" fmla="*/ 7700 w 10000"/>
                <a:gd name="connsiteY111" fmla="*/ 3754 h 10741"/>
                <a:gd name="connsiteX112" fmla="*/ 7942 w 10000"/>
                <a:gd name="connsiteY112" fmla="*/ 3737 h 10741"/>
                <a:gd name="connsiteX113" fmla="*/ 8167 w 10000"/>
                <a:gd name="connsiteY113" fmla="*/ 3695 h 10741"/>
                <a:gd name="connsiteX114" fmla="*/ 8379 w 10000"/>
                <a:gd name="connsiteY114" fmla="*/ 3635 h 10741"/>
                <a:gd name="connsiteX115" fmla="*/ 8583 w 10000"/>
                <a:gd name="connsiteY115" fmla="*/ 3558 h 10741"/>
                <a:gd name="connsiteX116" fmla="*/ 8767 w 10000"/>
                <a:gd name="connsiteY116" fmla="*/ 3471 h 10741"/>
                <a:gd name="connsiteX117" fmla="*/ 8933 w 10000"/>
                <a:gd name="connsiteY117" fmla="*/ 3376 h 10741"/>
                <a:gd name="connsiteX118" fmla="*/ 9092 w 10000"/>
                <a:gd name="connsiteY118" fmla="*/ 3278 h 10741"/>
                <a:gd name="connsiteX119" fmla="*/ 9238 w 10000"/>
                <a:gd name="connsiteY119" fmla="*/ 3185 h 10741"/>
                <a:gd name="connsiteX120" fmla="*/ 9250 w 10000"/>
                <a:gd name="connsiteY120" fmla="*/ 3230 h 10741"/>
                <a:gd name="connsiteX121" fmla="*/ 9117 w 10000"/>
                <a:gd name="connsiteY121" fmla="*/ 3376 h 10741"/>
                <a:gd name="connsiteX122" fmla="*/ 8954 w 10000"/>
                <a:gd name="connsiteY122" fmla="*/ 3516 h 10741"/>
                <a:gd name="connsiteX123" fmla="*/ 8758 w 10000"/>
                <a:gd name="connsiteY123" fmla="*/ 3641 h 10741"/>
                <a:gd name="connsiteX124" fmla="*/ 8538 w 10000"/>
                <a:gd name="connsiteY124" fmla="*/ 3754 h 10741"/>
                <a:gd name="connsiteX125" fmla="*/ 8304 w 10000"/>
                <a:gd name="connsiteY125" fmla="*/ 3856 h 10741"/>
                <a:gd name="connsiteX126" fmla="*/ 8054 w 10000"/>
                <a:gd name="connsiteY126" fmla="*/ 3945 h 10741"/>
                <a:gd name="connsiteX127" fmla="*/ 7796 w 10000"/>
                <a:gd name="connsiteY127" fmla="*/ 4014 h 10741"/>
                <a:gd name="connsiteX128" fmla="*/ 7533 w 10000"/>
                <a:gd name="connsiteY128" fmla="*/ 4064 h 10741"/>
                <a:gd name="connsiteX129" fmla="*/ 7479 w 10000"/>
                <a:gd name="connsiteY129" fmla="*/ 4184 h 10741"/>
                <a:gd name="connsiteX130" fmla="*/ 7404 w 10000"/>
                <a:gd name="connsiteY130" fmla="*/ 4324 h 10741"/>
                <a:gd name="connsiteX131" fmla="*/ 7321 w 10000"/>
                <a:gd name="connsiteY131" fmla="*/ 4470 h 10741"/>
                <a:gd name="connsiteX132" fmla="*/ 7213 w 10000"/>
                <a:gd name="connsiteY132" fmla="*/ 4628 h 10741"/>
                <a:gd name="connsiteX133" fmla="*/ 7100 w 10000"/>
                <a:gd name="connsiteY133" fmla="*/ 4794 h 10741"/>
                <a:gd name="connsiteX134" fmla="*/ 6979 w 10000"/>
                <a:gd name="connsiteY134" fmla="*/ 4958 h 10741"/>
                <a:gd name="connsiteX135" fmla="*/ 6850 w 10000"/>
                <a:gd name="connsiteY135" fmla="*/ 5113 h 10741"/>
                <a:gd name="connsiteX136" fmla="*/ 6721 w 10000"/>
                <a:gd name="connsiteY136" fmla="*/ 5265 h 10741"/>
                <a:gd name="connsiteX137" fmla="*/ 6600 w 10000"/>
                <a:gd name="connsiteY137" fmla="*/ 5405 h 10741"/>
                <a:gd name="connsiteX138" fmla="*/ 6471 w 10000"/>
                <a:gd name="connsiteY138" fmla="*/ 5530 h 10741"/>
                <a:gd name="connsiteX139" fmla="*/ 6358 w 10000"/>
                <a:gd name="connsiteY139" fmla="*/ 5641 h 10741"/>
                <a:gd name="connsiteX140" fmla="*/ 6250 w 10000"/>
                <a:gd name="connsiteY140" fmla="*/ 5721 h 10741"/>
                <a:gd name="connsiteX141" fmla="*/ 6267 w 10000"/>
                <a:gd name="connsiteY141" fmla="*/ 5781 h 10741"/>
                <a:gd name="connsiteX142" fmla="*/ 6296 w 10000"/>
                <a:gd name="connsiteY142" fmla="*/ 5793 h 10741"/>
                <a:gd name="connsiteX143" fmla="*/ 6479 w 10000"/>
                <a:gd name="connsiteY143" fmla="*/ 5754 h 10741"/>
                <a:gd name="connsiteX144" fmla="*/ 6663 w 10000"/>
                <a:gd name="connsiteY144" fmla="*/ 5736 h 10741"/>
                <a:gd name="connsiteX145" fmla="*/ 6858 w 10000"/>
                <a:gd name="connsiteY145" fmla="*/ 5736 h 10741"/>
                <a:gd name="connsiteX146" fmla="*/ 7046 w 10000"/>
                <a:gd name="connsiteY146" fmla="*/ 5742 h 10741"/>
                <a:gd name="connsiteX147" fmla="*/ 7246 w 10000"/>
                <a:gd name="connsiteY147" fmla="*/ 5748 h 10741"/>
                <a:gd name="connsiteX148" fmla="*/ 7425 w 10000"/>
                <a:gd name="connsiteY148" fmla="*/ 5748 h 10741"/>
                <a:gd name="connsiteX149" fmla="*/ 7600 w 10000"/>
                <a:gd name="connsiteY149" fmla="*/ 5733 h 10741"/>
                <a:gd name="connsiteX150" fmla="*/ 7950 w 10000"/>
                <a:gd name="connsiteY150" fmla="*/ 5673 h 10741"/>
                <a:gd name="connsiteX151" fmla="*/ 8275 w 10000"/>
                <a:gd name="connsiteY151" fmla="*/ 5596 h 10741"/>
                <a:gd name="connsiteX152" fmla="*/ 8579 w 10000"/>
                <a:gd name="connsiteY152" fmla="*/ 5504 h 10741"/>
                <a:gd name="connsiteX153" fmla="*/ 8858 w 10000"/>
                <a:gd name="connsiteY153" fmla="*/ 5390 h 10741"/>
                <a:gd name="connsiteX154" fmla="*/ 9117 w 10000"/>
                <a:gd name="connsiteY154" fmla="*/ 5265 h 10741"/>
                <a:gd name="connsiteX155" fmla="*/ 9350 w 10000"/>
                <a:gd name="connsiteY155" fmla="*/ 5119 h 10741"/>
                <a:gd name="connsiteX156" fmla="*/ 9563 w 10000"/>
                <a:gd name="connsiteY156" fmla="*/ 4967 h 10741"/>
                <a:gd name="connsiteX157" fmla="*/ 9758 w 10000"/>
                <a:gd name="connsiteY157" fmla="*/ 4794 h 10741"/>
                <a:gd name="connsiteX158" fmla="*/ 9933 w 10000"/>
                <a:gd name="connsiteY158" fmla="*/ 4610 h 10741"/>
                <a:gd name="connsiteX159" fmla="*/ 10000 w 10000"/>
                <a:gd name="connsiteY159" fmla="*/ 4648 h 10741"/>
                <a:gd name="connsiteX160" fmla="*/ 10000 w 10000"/>
                <a:gd name="connsiteY160" fmla="*/ 4660 h 10741"/>
                <a:gd name="connsiteX161" fmla="*/ 9904 w 10000"/>
                <a:gd name="connsiteY161" fmla="*/ 4827 h 10741"/>
                <a:gd name="connsiteX162" fmla="*/ 9767 w 10000"/>
                <a:gd name="connsiteY162" fmla="*/ 5000 h 10741"/>
                <a:gd name="connsiteX163" fmla="*/ 9600 w 10000"/>
                <a:gd name="connsiteY163" fmla="*/ 5173 h 10741"/>
                <a:gd name="connsiteX164" fmla="*/ 9404 w 10000"/>
                <a:gd name="connsiteY164" fmla="*/ 5343 h 10741"/>
                <a:gd name="connsiteX165" fmla="*/ 9183 w 10000"/>
                <a:gd name="connsiteY165" fmla="*/ 5504 h 10741"/>
                <a:gd name="connsiteX166" fmla="*/ 8950 w 10000"/>
                <a:gd name="connsiteY166" fmla="*/ 5662 h 10741"/>
                <a:gd name="connsiteX167" fmla="*/ 8704 w 10000"/>
                <a:gd name="connsiteY167" fmla="*/ 5802 h 10741"/>
                <a:gd name="connsiteX168" fmla="*/ 8463 w 10000"/>
                <a:gd name="connsiteY168" fmla="*/ 5927 h 10741"/>
                <a:gd name="connsiteX169" fmla="*/ 8229 w 10000"/>
                <a:gd name="connsiteY169" fmla="*/ 6025 h 10741"/>
                <a:gd name="connsiteX170" fmla="*/ 8000 w 10000"/>
                <a:gd name="connsiteY170" fmla="*/ 6105 h 10741"/>
                <a:gd name="connsiteX171" fmla="*/ 7879 w 10000"/>
                <a:gd name="connsiteY171" fmla="*/ 6132 h 10741"/>
                <a:gd name="connsiteX172" fmla="*/ 7729 w 10000"/>
                <a:gd name="connsiteY172" fmla="*/ 6153 h 10741"/>
                <a:gd name="connsiteX173" fmla="*/ 7563 w 10000"/>
                <a:gd name="connsiteY173" fmla="*/ 6177 h 10741"/>
                <a:gd name="connsiteX174" fmla="*/ 7388 w 10000"/>
                <a:gd name="connsiteY174" fmla="*/ 6198 h 10741"/>
                <a:gd name="connsiteX175" fmla="*/ 7204 w 10000"/>
                <a:gd name="connsiteY175" fmla="*/ 6219 h 10741"/>
                <a:gd name="connsiteX176" fmla="*/ 7017 w 10000"/>
                <a:gd name="connsiteY176" fmla="*/ 6240 h 10741"/>
                <a:gd name="connsiteX177" fmla="*/ 6842 w 10000"/>
                <a:gd name="connsiteY177" fmla="*/ 6263 h 10741"/>
                <a:gd name="connsiteX178" fmla="*/ 6675 w 10000"/>
                <a:gd name="connsiteY178" fmla="*/ 6290 h 10741"/>
                <a:gd name="connsiteX179" fmla="*/ 6517 w 10000"/>
                <a:gd name="connsiteY179" fmla="*/ 6329 h 10741"/>
                <a:gd name="connsiteX180" fmla="*/ 6388 w 10000"/>
                <a:gd name="connsiteY180" fmla="*/ 6365 h 10741"/>
                <a:gd name="connsiteX181" fmla="*/ 6288 w 10000"/>
                <a:gd name="connsiteY181" fmla="*/ 6415 h 10741"/>
                <a:gd name="connsiteX182" fmla="*/ 6213 w 10000"/>
                <a:gd name="connsiteY182" fmla="*/ 6475 h 10741"/>
                <a:gd name="connsiteX183" fmla="*/ 6092 w 10000"/>
                <a:gd name="connsiteY183" fmla="*/ 6648 h 10741"/>
                <a:gd name="connsiteX184" fmla="*/ 6008 w 10000"/>
                <a:gd name="connsiteY184" fmla="*/ 6836 h 10741"/>
                <a:gd name="connsiteX185" fmla="*/ 5942 w 10000"/>
                <a:gd name="connsiteY185" fmla="*/ 7032 h 10741"/>
                <a:gd name="connsiteX186" fmla="*/ 5904 w 10000"/>
                <a:gd name="connsiteY186" fmla="*/ 7232 h 10741"/>
                <a:gd name="connsiteX187" fmla="*/ 5888 w 10000"/>
                <a:gd name="connsiteY187" fmla="*/ 7443 h 10741"/>
                <a:gd name="connsiteX188" fmla="*/ 5879 w 10000"/>
                <a:gd name="connsiteY188" fmla="*/ 7655 h 10741"/>
                <a:gd name="connsiteX189" fmla="*/ 5888 w 10000"/>
                <a:gd name="connsiteY189" fmla="*/ 7867 h 10741"/>
                <a:gd name="connsiteX190" fmla="*/ 5904 w 10000"/>
                <a:gd name="connsiteY190" fmla="*/ 8084 h 10741"/>
                <a:gd name="connsiteX191" fmla="*/ 5925 w 10000"/>
                <a:gd name="connsiteY191" fmla="*/ 8299 h 10741"/>
                <a:gd name="connsiteX192" fmla="*/ 5950 w 10000"/>
                <a:gd name="connsiteY192" fmla="*/ 8510 h 10741"/>
                <a:gd name="connsiteX193" fmla="*/ 5954 w 10000"/>
                <a:gd name="connsiteY193" fmla="*/ 8820 h 10741"/>
                <a:gd name="connsiteX194" fmla="*/ 5933 w 10000"/>
                <a:gd name="connsiteY194" fmla="*/ 9130 h 10741"/>
                <a:gd name="connsiteX195" fmla="*/ 5896 w 10000"/>
                <a:gd name="connsiteY195" fmla="*/ 9428 h 10741"/>
                <a:gd name="connsiteX196" fmla="*/ 5850 w 10000"/>
                <a:gd name="connsiteY196" fmla="*/ 9720 h 10741"/>
                <a:gd name="connsiteX197" fmla="*/ 5909 w 10000"/>
                <a:gd name="connsiteY197" fmla="*/ 10741 h 10741"/>
                <a:gd name="connsiteX198" fmla="*/ 4117 w 10000"/>
                <a:gd name="connsiteY198" fmla="*/ 10686 h 10741"/>
                <a:gd name="connsiteX199" fmla="*/ 4309 w 10000"/>
                <a:gd name="connsiteY199" fmla="*/ 10293 h 10741"/>
                <a:gd name="connsiteX200" fmla="*/ 4546 w 10000"/>
                <a:gd name="connsiteY200" fmla="*/ 9848 h 10741"/>
                <a:gd name="connsiteX201" fmla="*/ 4629 w 10000"/>
                <a:gd name="connsiteY201" fmla="*/ 9687 h 10741"/>
                <a:gd name="connsiteX202" fmla="*/ 4700 w 10000"/>
                <a:gd name="connsiteY202" fmla="*/ 9508 h 10741"/>
                <a:gd name="connsiteX203" fmla="*/ 4767 w 10000"/>
                <a:gd name="connsiteY203" fmla="*/ 9309 h 10741"/>
                <a:gd name="connsiteX204" fmla="*/ 4829 w 10000"/>
                <a:gd name="connsiteY204" fmla="*/ 9097 h 10741"/>
                <a:gd name="connsiteX205" fmla="*/ 4879 w 10000"/>
                <a:gd name="connsiteY205" fmla="*/ 8868 h 10741"/>
                <a:gd name="connsiteX206" fmla="*/ 4917 w 10000"/>
                <a:gd name="connsiteY206" fmla="*/ 8635 h 10741"/>
                <a:gd name="connsiteX207" fmla="*/ 4954 w 10000"/>
                <a:gd name="connsiteY207" fmla="*/ 8391 h 10741"/>
                <a:gd name="connsiteX208" fmla="*/ 4979 w 10000"/>
                <a:gd name="connsiteY208" fmla="*/ 8144 h 10741"/>
                <a:gd name="connsiteX209" fmla="*/ 5000 w 10000"/>
                <a:gd name="connsiteY209" fmla="*/ 7887 h 10741"/>
                <a:gd name="connsiteX210" fmla="*/ 5000 w 10000"/>
                <a:gd name="connsiteY210" fmla="*/ 7634 h 10741"/>
                <a:gd name="connsiteX211" fmla="*/ 5000 w 10000"/>
                <a:gd name="connsiteY211" fmla="*/ 7384 h 10741"/>
                <a:gd name="connsiteX212" fmla="*/ 4979 w 10000"/>
                <a:gd name="connsiteY212" fmla="*/ 7133 h 10741"/>
                <a:gd name="connsiteX213" fmla="*/ 4950 w 10000"/>
                <a:gd name="connsiteY213" fmla="*/ 6892 h 10741"/>
                <a:gd name="connsiteX214" fmla="*/ 4913 w 10000"/>
                <a:gd name="connsiteY214" fmla="*/ 6657 h 10741"/>
                <a:gd name="connsiteX215" fmla="*/ 4858 w 10000"/>
                <a:gd name="connsiteY215" fmla="*/ 6430 h 10741"/>
                <a:gd name="connsiteX216" fmla="*/ 4783 w 10000"/>
                <a:gd name="connsiteY216" fmla="*/ 6219 h 10741"/>
                <a:gd name="connsiteX217" fmla="*/ 4700 w 10000"/>
                <a:gd name="connsiteY217" fmla="*/ 6019 h 10741"/>
                <a:gd name="connsiteX218" fmla="*/ 4600 w 10000"/>
                <a:gd name="connsiteY218" fmla="*/ 5840 h 10741"/>
                <a:gd name="connsiteX219" fmla="*/ 4488 w 10000"/>
                <a:gd name="connsiteY219" fmla="*/ 5682 h 10741"/>
                <a:gd name="connsiteX220" fmla="*/ 4358 w 10000"/>
                <a:gd name="connsiteY220" fmla="*/ 5542 h 10741"/>
                <a:gd name="connsiteX221" fmla="*/ 4213 w 10000"/>
                <a:gd name="connsiteY221" fmla="*/ 5429 h 10741"/>
                <a:gd name="connsiteX222" fmla="*/ 4046 w 10000"/>
                <a:gd name="connsiteY222" fmla="*/ 5343 h 10741"/>
                <a:gd name="connsiteX223" fmla="*/ 3904 w 10000"/>
                <a:gd name="connsiteY223" fmla="*/ 5292 h 10741"/>
                <a:gd name="connsiteX224" fmla="*/ 3746 w 10000"/>
                <a:gd name="connsiteY224" fmla="*/ 5271 h 10741"/>
                <a:gd name="connsiteX225" fmla="*/ 3583 w 10000"/>
                <a:gd name="connsiteY225" fmla="*/ 5271 h 10741"/>
                <a:gd name="connsiteX226" fmla="*/ 3413 w 10000"/>
                <a:gd name="connsiteY226" fmla="*/ 5286 h 10741"/>
                <a:gd name="connsiteX227" fmla="*/ 3246 w 10000"/>
                <a:gd name="connsiteY227" fmla="*/ 5310 h 10741"/>
                <a:gd name="connsiteX228" fmla="*/ 3079 w 10000"/>
                <a:gd name="connsiteY228" fmla="*/ 5343 h 10741"/>
                <a:gd name="connsiteX229" fmla="*/ 2913 w 10000"/>
                <a:gd name="connsiteY229" fmla="*/ 5369 h 10741"/>
                <a:gd name="connsiteX230" fmla="*/ 2750 w 10000"/>
                <a:gd name="connsiteY230" fmla="*/ 5396 h 10741"/>
                <a:gd name="connsiteX231" fmla="*/ 2600 w 10000"/>
                <a:gd name="connsiteY231" fmla="*/ 5411 h 10741"/>
                <a:gd name="connsiteX232" fmla="*/ 2258 w 10000"/>
                <a:gd name="connsiteY232" fmla="*/ 5423 h 10741"/>
                <a:gd name="connsiteX233" fmla="*/ 1925 w 10000"/>
                <a:gd name="connsiteY233" fmla="*/ 5411 h 10741"/>
                <a:gd name="connsiteX234" fmla="*/ 1617 w 10000"/>
                <a:gd name="connsiteY234" fmla="*/ 5384 h 10741"/>
                <a:gd name="connsiteX235" fmla="*/ 1321 w 10000"/>
                <a:gd name="connsiteY235" fmla="*/ 5346 h 10741"/>
                <a:gd name="connsiteX236" fmla="*/ 1033 w 10000"/>
                <a:gd name="connsiteY236" fmla="*/ 5298 h 10741"/>
                <a:gd name="connsiteX237" fmla="*/ 758 w 10000"/>
                <a:gd name="connsiteY237" fmla="*/ 5250 h 10741"/>
                <a:gd name="connsiteX238" fmla="*/ 500 w 10000"/>
                <a:gd name="connsiteY238" fmla="*/ 5197 h 10741"/>
                <a:gd name="connsiteX239" fmla="*/ 517 w 10000"/>
                <a:gd name="connsiteY239" fmla="*/ 5137 h 10741"/>
                <a:gd name="connsiteX240" fmla="*/ 871 w 10000"/>
                <a:gd name="connsiteY240" fmla="*/ 5173 h 10741"/>
                <a:gd name="connsiteX241" fmla="*/ 1221 w 10000"/>
                <a:gd name="connsiteY241" fmla="*/ 5197 h 10741"/>
                <a:gd name="connsiteX242" fmla="*/ 1563 w 10000"/>
                <a:gd name="connsiteY242" fmla="*/ 5206 h 10741"/>
                <a:gd name="connsiteX243" fmla="*/ 1896 w 10000"/>
                <a:gd name="connsiteY243" fmla="*/ 5197 h 10741"/>
                <a:gd name="connsiteX244" fmla="*/ 2221 w 10000"/>
                <a:gd name="connsiteY244" fmla="*/ 5164 h 10741"/>
                <a:gd name="connsiteX245" fmla="*/ 2538 w 10000"/>
                <a:gd name="connsiteY245" fmla="*/ 5113 h 10741"/>
                <a:gd name="connsiteX246" fmla="*/ 2842 w 10000"/>
                <a:gd name="connsiteY246" fmla="*/ 5045 h 10741"/>
                <a:gd name="connsiteX247" fmla="*/ 3129 w 10000"/>
                <a:gd name="connsiteY247" fmla="*/ 4946 h 10741"/>
                <a:gd name="connsiteX248" fmla="*/ 3500 w 10000"/>
                <a:gd name="connsiteY248" fmla="*/ 4815 h 10741"/>
                <a:gd name="connsiteX249" fmla="*/ 2821 w 10000"/>
                <a:gd name="connsiteY249" fmla="*/ 4389 h 10741"/>
                <a:gd name="connsiteX250" fmla="*/ 2213 w 10000"/>
                <a:gd name="connsiteY250" fmla="*/ 3912 h 10741"/>
                <a:gd name="connsiteX251" fmla="*/ 1879 w 10000"/>
                <a:gd name="connsiteY251" fmla="*/ 3939 h 10741"/>
                <a:gd name="connsiteX252" fmla="*/ 1554 w 10000"/>
                <a:gd name="connsiteY252" fmla="*/ 3939 h 10741"/>
                <a:gd name="connsiteX253" fmla="*/ 1258 w 10000"/>
                <a:gd name="connsiteY253" fmla="*/ 3912 h 10741"/>
                <a:gd name="connsiteX254" fmla="*/ 979 w 10000"/>
                <a:gd name="connsiteY254" fmla="*/ 3856 h 10741"/>
                <a:gd name="connsiteX255" fmla="*/ 721 w 10000"/>
                <a:gd name="connsiteY255" fmla="*/ 3775 h 10741"/>
                <a:gd name="connsiteX256" fmla="*/ 496 w 10000"/>
                <a:gd name="connsiteY256" fmla="*/ 3674 h 10741"/>
                <a:gd name="connsiteX257" fmla="*/ 296 w 10000"/>
                <a:gd name="connsiteY257" fmla="*/ 3549 h 10741"/>
                <a:gd name="connsiteX258" fmla="*/ 129 w 10000"/>
                <a:gd name="connsiteY258" fmla="*/ 3403 h 10741"/>
                <a:gd name="connsiteX259" fmla="*/ 0 w 10000"/>
                <a:gd name="connsiteY259" fmla="*/ 3245 h 10741"/>
                <a:gd name="connsiteX260" fmla="*/ 17 w 10000"/>
                <a:gd name="connsiteY260" fmla="*/ 3218 h 10741"/>
                <a:gd name="connsiteX261" fmla="*/ 71 w 10000"/>
                <a:gd name="connsiteY261" fmla="*/ 3245 h 10741"/>
                <a:gd name="connsiteX262" fmla="*/ 138 w 10000"/>
                <a:gd name="connsiteY262" fmla="*/ 3349 h 10741"/>
                <a:gd name="connsiteX263" fmla="*/ 246 w 10000"/>
                <a:gd name="connsiteY263" fmla="*/ 3439 h 10741"/>
                <a:gd name="connsiteX264" fmla="*/ 379 w 10000"/>
                <a:gd name="connsiteY264" fmla="*/ 3528 h 10741"/>
                <a:gd name="connsiteX265" fmla="*/ 538 w 10000"/>
                <a:gd name="connsiteY265" fmla="*/ 3597 h 10741"/>
                <a:gd name="connsiteX266" fmla="*/ 721 w 10000"/>
                <a:gd name="connsiteY266" fmla="*/ 3656 h 10741"/>
                <a:gd name="connsiteX267" fmla="*/ 913 w 10000"/>
                <a:gd name="connsiteY267" fmla="*/ 3701 h 10741"/>
                <a:gd name="connsiteX268" fmla="*/ 1117 w 10000"/>
                <a:gd name="connsiteY268" fmla="*/ 3728 h 10741"/>
                <a:gd name="connsiteX269" fmla="*/ 1329 w 10000"/>
                <a:gd name="connsiteY269" fmla="*/ 3737 h 10741"/>
                <a:gd name="connsiteX270" fmla="*/ 1533 w 10000"/>
                <a:gd name="connsiteY270" fmla="*/ 3734 h 10741"/>
                <a:gd name="connsiteX271" fmla="*/ 1646 w 10000"/>
                <a:gd name="connsiteY271" fmla="*/ 3722 h 10741"/>
                <a:gd name="connsiteX272" fmla="*/ 1746 w 10000"/>
                <a:gd name="connsiteY272" fmla="*/ 3722 h 10741"/>
                <a:gd name="connsiteX273" fmla="*/ 1833 w 10000"/>
                <a:gd name="connsiteY273" fmla="*/ 3710 h 10741"/>
                <a:gd name="connsiteX274" fmla="*/ 1917 w 10000"/>
                <a:gd name="connsiteY274" fmla="*/ 3695 h 10741"/>
                <a:gd name="connsiteX275" fmla="*/ 1988 w 10000"/>
                <a:gd name="connsiteY275" fmla="*/ 3662 h 10741"/>
                <a:gd name="connsiteX276" fmla="*/ 1788 w 10000"/>
                <a:gd name="connsiteY276" fmla="*/ 3391 h 10741"/>
                <a:gd name="connsiteX277" fmla="*/ 1617 w 10000"/>
                <a:gd name="connsiteY277" fmla="*/ 3126 h 10741"/>
                <a:gd name="connsiteX278" fmla="*/ 1454 w 10000"/>
                <a:gd name="connsiteY278" fmla="*/ 2849 h 10741"/>
                <a:gd name="connsiteX279" fmla="*/ 1313 w 10000"/>
                <a:gd name="connsiteY279" fmla="*/ 2563 h 10741"/>
                <a:gd name="connsiteX280" fmla="*/ 1175 w 10000"/>
                <a:gd name="connsiteY280" fmla="*/ 2253 h 10741"/>
                <a:gd name="connsiteX281" fmla="*/ 1046 w 10000"/>
                <a:gd name="connsiteY281" fmla="*/ 1919 h 10741"/>
                <a:gd name="connsiteX282" fmla="*/ 1033 w 10000"/>
                <a:gd name="connsiteY282" fmla="*/ 1859 h 10741"/>
                <a:gd name="connsiteX283" fmla="*/ 1000 w 10000"/>
                <a:gd name="connsiteY283" fmla="*/ 1776 h 10741"/>
                <a:gd name="connsiteX284" fmla="*/ 979 w 10000"/>
                <a:gd name="connsiteY284" fmla="*/ 1684 h 10741"/>
                <a:gd name="connsiteX285" fmla="*/ 950 w 10000"/>
                <a:gd name="connsiteY285" fmla="*/ 1591 h 10741"/>
                <a:gd name="connsiteX286" fmla="*/ 925 w 10000"/>
                <a:gd name="connsiteY286" fmla="*/ 1490 h 10741"/>
                <a:gd name="connsiteX287" fmla="*/ 917 w 10000"/>
                <a:gd name="connsiteY287" fmla="*/ 1397 h 10741"/>
                <a:gd name="connsiteX288" fmla="*/ 917 w 10000"/>
                <a:gd name="connsiteY288" fmla="*/ 1311 h 10741"/>
                <a:gd name="connsiteX289" fmla="*/ 933 w 10000"/>
                <a:gd name="connsiteY289" fmla="*/ 1234 h 10741"/>
                <a:gd name="connsiteX290" fmla="*/ 963 w 10000"/>
                <a:gd name="connsiteY290" fmla="*/ 1180 h 10741"/>
                <a:gd name="connsiteX291" fmla="*/ 1000 w 10000"/>
                <a:gd name="connsiteY291" fmla="*/ 1192 h 10741"/>
                <a:gd name="connsiteX292" fmla="*/ 1033 w 10000"/>
                <a:gd name="connsiteY292" fmla="*/ 1496 h 10741"/>
                <a:gd name="connsiteX293" fmla="*/ 1108 w 10000"/>
                <a:gd name="connsiteY293" fmla="*/ 1800 h 10741"/>
                <a:gd name="connsiteX294" fmla="*/ 1221 w 10000"/>
                <a:gd name="connsiteY294" fmla="*/ 2098 h 10741"/>
                <a:gd name="connsiteX295" fmla="*/ 1358 w 10000"/>
                <a:gd name="connsiteY295" fmla="*/ 2372 h 10741"/>
                <a:gd name="connsiteX296" fmla="*/ 1508 w 10000"/>
                <a:gd name="connsiteY296" fmla="*/ 2628 h 10741"/>
                <a:gd name="connsiteX297" fmla="*/ 1646 w 10000"/>
                <a:gd name="connsiteY297" fmla="*/ 2795 h 10741"/>
                <a:gd name="connsiteX298" fmla="*/ 1629 w 10000"/>
                <a:gd name="connsiteY298" fmla="*/ 2801 h 10741"/>
                <a:gd name="connsiteX299" fmla="*/ 1629 w 10000"/>
                <a:gd name="connsiteY299" fmla="*/ 2807 h 10741"/>
                <a:gd name="connsiteX300" fmla="*/ 1638 w 10000"/>
                <a:gd name="connsiteY300" fmla="*/ 2813 h 10741"/>
                <a:gd name="connsiteX301" fmla="*/ 1646 w 10000"/>
                <a:gd name="connsiteY301" fmla="*/ 2816 h 10741"/>
                <a:gd name="connsiteX302" fmla="*/ 1663 w 10000"/>
                <a:gd name="connsiteY302" fmla="*/ 2822 h 10741"/>
                <a:gd name="connsiteX303" fmla="*/ 1667 w 10000"/>
                <a:gd name="connsiteY303" fmla="*/ 2834 h 10741"/>
                <a:gd name="connsiteX304" fmla="*/ 1675 w 10000"/>
                <a:gd name="connsiteY304" fmla="*/ 2840 h 10741"/>
                <a:gd name="connsiteX305" fmla="*/ 1683 w 10000"/>
                <a:gd name="connsiteY305" fmla="*/ 2849 h 10741"/>
                <a:gd name="connsiteX306" fmla="*/ 1683 w 10000"/>
                <a:gd name="connsiteY306" fmla="*/ 2843 h 10741"/>
                <a:gd name="connsiteX307" fmla="*/ 1675 w 10000"/>
                <a:gd name="connsiteY307" fmla="*/ 2840 h 10741"/>
                <a:gd name="connsiteX308" fmla="*/ 1675 w 10000"/>
                <a:gd name="connsiteY308" fmla="*/ 2840 h 10741"/>
                <a:gd name="connsiteX309" fmla="*/ 1646 w 10000"/>
                <a:gd name="connsiteY309" fmla="*/ 2795 h 10741"/>
                <a:gd name="connsiteX310" fmla="*/ 1746 w 10000"/>
                <a:gd name="connsiteY310" fmla="*/ 2741 h 10741"/>
                <a:gd name="connsiteX311" fmla="*/ 1842 w 10000"/>
                <a:gd name="connsiteY311" fmla="*/ 2649 h 10741"/>
                <a:gd name="connsiteX312" fmla="*/ 1933 w 10000"/>
                <a:gd name="connsiteY312" fmla="*/ 2542 h 10741"/>
                <a:gd name="connsiteX313" fmla="*/ 2017 w 10000"/>
                <a:gd name="connsiteY313" fmla="*/ 2411 h 10741"/>
                <a:gd name="connsiteX314" fmla="*/ 2092 w 10000"/>
                <a:gd name="connsiteY314" fmla="*/ 2265 h 10741"/>
                <a:gd name="connsiteX315" fmla="*/ 2163 w 10000"/>
                <a:gd name="connsiteY315" fmla="*/ 2113 h 10741"/>
                <a:gd name="connsiteX316" fmla="*/ 2221 w 10000"/>
                <a:gd name="connsiteY316" fmla="*/ 1955 h 10741"/>
                <a:gd name="connsiteX317" fmla="*/ 2275 w 10000"/>
                <a:gd name="connsiteY317" fmla="*/ 1803 h 10741"/>
                <a:gd name="connsiteX318" fmla="*/ 2321 w 10000"/>
                <a:gd name="connsiteY318" fmla="*/ 1657 h 10741"/>
                <a:gd name="connsiteX319" fmla="*/ 2329 w 10000"/>
                <a:gd name="connsiteY319" fmla="*/ 1853 h 10741"/>
                <a:gd name="connsiteX320" fmla="*/ 2321 w 10000"/>
                <a:gd name="connsiteY320" fmla="*/ 2032 h 10741"/>
                <a:gd name="connsiteX321" fmla="*/ 2283 w 10000"/>
                <a:gd name="connsiteY321" fmla="*/ 2199 h 10741"/>
                <a:gd name="connsiteX322" fmla="*/ 2229 w 10000"/>
                <a:gd name="connsiteY322" fmla="*/ 2366 h 10741"/>
                <a:gd name="connsiteX323" fmla="*/ 2154 w 10000"/>
                <a:gd name="connsiteY323" fmla="*/ 2524 h 10741"/>
                <a:gd name="connsiteX324" fmla="*/ 2046 w 10000"/>
                <a:gd name="connsiteY324" fmla="*/ 2682 h 10741"/>
                <a:gd name="connsiteX325" fmla="*/ 1796 w 10000"/>
                <a:gd name="connsiteY325" fmla="*/ 3027 h 10741"/>
                <a:gd name="connsiteX326" fmla="*/ 2054 w 10000"/>
                <a:gd name="connsiteY326" fmla="*/ 3305 h 10741"/>
                <a:gd name="connsiteX327" fmla="*/ 2333 w 10000"/>
                <a:gd name="connsiteY327" fmla="*/ 3564 h 10741"/>
                <a:gd name="connsiteX328" fmla="*/ 2638 w 10000"/>
                <a:gd name="connsiteY328" fmla="*/ 3808 h 10741"/>
                <a:gd name="connsiteX329" fmla="*/ 2963 w 10000"/>
                <a:gd name="connsiteY329" fmla="*/ 4032 h 10741"/>
                <a:gd name="connsiteX330" fmla="*/ 4129 w 10000"/>
                <a:gd name="connsiteY330" fmla="*/ 4610 h 10741"/>
                <a:gd name="connsiteX331" fmla="*/ 4167 w 10000"/>
                <a:gd name="connsiteY331" fmla="*/ 4589 h 10741"/>
                <a:gd name="connsiteX332" fmla="*/ 4071 w 10000"/>
                <a:gd name="connsiteY332" fmla="*/ 4333 h 10741"/>
                <a:gd name="connsiteX333" fmla="*/ 3996 w 10000"/>
                <a:gd name="connsiteY333" fmla="*/ 4058 h 10741"/>
                <a:gd name="connsiteX334" fmla="*/ 3933 w 10000"/>
                <a:gd name="connsiteY334" fmla="*/ 3760 h 10741"/>
                <a:gd name="connsiteX335" fmla="*/ 3904 w 10000"/>
                <a:gd name="connsiteY335" fmla="*/ 3456 h 10741"/>
                <a:gd name="connsiteX336" fmla="*/ 3879 w 10000"/>
                <a:gd name="connsiteY336" fmla="*/ 3138 h 10741"/>
                <a:gd name="connsiteX337" fmla="*/ 3879 w 10000"/>
                <a:gd name="connsiteY337" fmla="*/ 2813 h 10741"/>
                <a:gd name="connsiteX338" fmla="*/ 3896 w 10000"/>
                <a:gd name="connsiteY338" fmla="*/ 2485 h 10741"/>
                <a:gd name="connsiteX339" fmla="*/ 3933 w 10000"/>
                <a:gd name="connsiteY339" fmla="*/ 2160 h 10741"/>
                <a:gd name="connsiteX340" fmla="*/ 3988 w 10000"/>
                <a:gd name="connsiteY340" fmla="*/ 1836 h 10741"/>
                <a:gd name="connsiteX341" fmla="*/ 4046 w 10000"/>
                <a:gd name="connsiteY341" fmla="*/ 1523 h 10741"/>
                <a:gd name="connsiteX342" fmla="*/ 4129 w 10000"/>
                <a:gd name="connsiteY342" fmla="*/ 1219 h 10741"/>
                <a:gd name="connsiteX343" fmla="*/ 4229 w 10000"/>
                <a:gd name="connsiteY343" fmla="*/ 933 h 10741"/>
                <a:gd name="connsiteX344" fmla="*/ 4333 w 10000"/>
                <a:gd name="connsiteY344" fmla="*/ 662 h 10741"/>
                <a:gd name="connsiteX345" fmla="*/ 4454 w 10000"/>
                <a:gd name="connsiteY345" fmla="*/ 417 h 10741"/>
                <a:gd name="connsiteX346" fmla="*/ 4583 w 10000"/>
                <a:gd name="connsiteY346" fmla="*/ 194 h 10741"/>
                <a:gd name="connsiteX347" fmla="*/ 4738 w 10000"/>
                <a:gd name="connsiteY347" fmla="*/ 0 h 10741"/>
                <a:gd name="connsiteX0" fmla="*/ 4738 w 10000"/>
                <a:gd name="connsiteY0" fmla="*/ 0 h 10686"/>
                <a:gd name="connsiteX1" fmla="*/ 4721 w 10000"/>
                <a:gd name="connsiteY1" fmla="*/ 48 h 10686"/>
                <a:gd name="connsiteX2" fmla="*/ 4713 w 10000"/>
                <a:gd name="connsiteY2" fmla="*/ 80 h 10686"/>
                <a:gd name="connsiteX3" fmla="*/ 4704 w 10000"/>
                <a:gd name="connsiteY3" fmla="*/ 101 h 10686"/>
                <a:gd name="connsiteX4" fmla="*/ 4704 w 10000"/>
                <a:gd name="connsiteY4" fmla="*/ 113 h 10686"/>
                <a:gd name="connsiteX5" fmla="*/ 4713 w 10000"/>
                <a:gd name="connsiteY5" fmla="*/ 119 h 10686"/>
                <a:gd name="connsiteX6" fmla="*/ 4713 w 10000"/>
                <a:gd name="connsiteY6" fmla="*/ 125 h 10686"/>
                <a:gd name="connsiteX7" fmla="*/ 4721 w 10000"/>
                <a:gd name="connsiteY7" fmla="*/ 125 h 10686"/>
                <a:gd name="connsiteX8" fmla="*/ 4721 w 10000"/>
                <a:gd name="connsiteY8" fmla="*/ 125 h 10686"/>
                <a:gd name="connsiteX9" fmla="*/ 4721 w 10000"/>
                <a:gd name="connsiteY9" fmla="*/ 134 h 10686"/>
                <a:gd name="connsiteX10" fmla="*/ 4713 w 10000"/>
                <a:gd name="connsiteY10" fmla="*/ 152 h 10686"/>
                <a:gd name="connsiteX11" fmla="*/ 4704 w 10000"/>
                <a:gd name="connsiteY11" fmla="*/ 179 h 10686"/>
                <a:gd name="connsiteX12" fmla="*/ 4692 w 10000"/>
                <a:gd name="connsiteY12" fmla="*/ 221 h 10686"/>
                <a:gd name="connsiteX13" fmla="*/ 4667 w 10000"/>
                <a:gd name="connsiteY13" fmla="*/ 280 h 10686"/>
                <a:gd name="connsiteX14" fmla="*/ 4629 w 10000"/>
                <a:gd name="connsiteY14" fmla="*/ 364 h 10686"/>
                <a:gd name="connsiteX15" fmla="*/ 4592 w 10000"/>
                <a:gd name="connsiteY15" fmla="*/ 465 h 10686"/>
                <a:gd name="connsiteX16" fmla="*/ 4533 w 10000"/>
                <a:gd name="connsiteY16" fmla="*/ 596 h 10686"/>
                <a:gd name="connsiteX17" fmla="*/ 4463 w 10000"/>
                <a:gd name="connsiteY17" fmla="*/ 754 h 10686"/>
                <a:gd name="connsiteX18" fmla="*/ 4379 w 10000"/>
                <a:gd name="connsiteY18" fmla="*/ 1001 h 10686"/>
                <a:gd name="connsiteX19" fmla="*/ 4321 w 10000"/>
                <a:gd name="connsiteY19" fmla="*/ 1266 h 10686"/>
                <a:gd name="connsiteX20" fmla="*/ 4275 w 10000"/>
                <a:gd name="connsiteY20" fmla="*/ 1538 h 10686"/>
                <a:gd name="connsiteX21" fmla="*/ 4213 w 10000"/>
                <a:gd name="connsiteY21" fmla="*/ 1827 h 10686"/>
                <a:gd name="connsiteX22" fmla="*/ 4204 w 10000"/>
                <a:gd name="connsiteY22" fmla="*/ 1889 h 10686"/>
                <a:gd name="connsiteX23" fmla="*/ 4192 w 10000"/>
                <a:gd name="connsiteY23" fmla="*/ 1982 h 10686"/>
                <a:gd name="connsiteX24" fmla="*/ 4183 w 10000"/>
                <a:gd name="connsiteY24" fmla="*/ 2080 h 10686"/>
                <a:gd name="connsiteX25" fmla="*/ 4175 w 10000"/>
                <a:gd name="connsiteY25" fmla="*/ 2187 h 10686"/>
                <a:gd name="connsiteX26" fmla="*/ 4175 w 10000"/>
                <a:gd name="connsiteY26" fmla="*/ 2297 h 10686"/>
                <a:gd name="connsiteX27" fmla="*/ 4192 w 10000"/>
                <a:gd name="connsiteY27" fmla="*/ 2396 h 10686"/>
                <a:gd name="connsiteX28" fmla="*/ 4213 w 10000"/>
                <a:gd name="connsiteY28" fmla="*/ 2482 h 10686"/>
                <a:gd name="connsiteX29" fmla="*/ 4250 w 10000"/>
                <a:gd name="connsiteY29" fmla="*/ 2542 h 10686"/>
                <a:gd name="connsiteX30" fmla="*/ 4450 w 10000"/>
                <a:gd name="connsiteY30" fmla="*/ 2530 h 10686"/>
                <a:gd name="connsiteX31" fmla="*/ 4646 w 10000"/>
                <a:gd name="connsiteY31" fmla="*/ 2482 h 10686"/>
                <a:gd name="connsiteX32" fmla="*/ 4833 w 10000"/>
                <a:gd name="connsiteY32" fmla="*/ 2405 h 10686"/>
                <a:gd name="connsiteX33" fmla="*/ 5025 w 10000"/>
                <a:gd name="connsiteY33" fmla="*/ 2297 h 10686"/>
                <a:gd name="connsiteX34" fmla="*/ 5200 w 10000"/>
                <a:gd name="connsiteY34" fmla="*/ 2172 h 10686"/>
                <a:gd name="connsiteX35" fmla="*/ 5371 w 10000"/>
                <a:gd name="connsiteY35" fmla="*/ 2020 h 10686"/>
                <a:gd name="connsiteX36" fmla="*/ 5533 w 10000"/>
                <a:gd name="connsiteY36" fmla="*/ 1859 h 10686"/>
                <a:gd name="connsiteX37" fmla="*/ 5683 w 10000"/>
                <a:gd name="connsiteY37" fmla="*/ 1690 h 10686"/>
                <a:gd name="connsiteX38" fmla="*/ 5829 w 10000"/>
                <a:gd name="connsiteY38" fmla="*/ 1511 h 10686"/>
                <a:gd name="connsiteX39" fmla="*/ 5954 w 10000"/>
                <a:gd name="connsiteY39" fmla="*/ 1326 h 10686"/>
                <a:gd name="connsiteX40" fmla="*/ 6071 w 10000"/>
                <a:gd name="connsiteY40" fmla="*/ 1147 h 10686"/>
                <a:gd name="connsiteX41" fmla="*/ 6167 w 10000"/>
                <a:gd name="connsiteY41" fmla="*/ 974 h 10686"/>
                <a:gd name="connsiteX42" fmla="*/ 6213 w 10000"/>
                <a:gd name="connsiteY42" fmla="*/ 974 h 10686"/>
                <a:gd name="connsiteX43" fmla="*/ 6213 w 10000"/>
                <a:gd name="connsiteY43" fmla="*/ 992 h 10686"/>
                <a:gd name="connsiteX44" fmla="*/ 6138 w 10000"/>
                <a:gd name="connsiteY44" fmla="*/ 1165 h 10686"/>
                <a:gd name="connsiteX45" fmla="*/ 6054 w 10000"/>
                <a:gd name="connsiteY45" fmla="*/ 1344 h 10686"/>
                <a:gd name="connsiteX46" fmla="*/ 5963 w 10000"/>
                <a:gd name="connsiteY46" fmla="*/ 1517 h 10686"/>
                <a:gd name="connsiteX47" fmla="*/ 5871 w 10000"/>
                <a:gd name="connsiteY47" fmla="*/ 1684 h 10686"/>
                <a:gd name="connsiteX48" fmla="*/ 5775 w 10000"/>
                <a:gd name="connsiteY48" fmla="*/ 1847 h 10686"/>
                <a:gd name="connsiteX49" fmla="*/ 5667 w 10000"/>
                <a:gd name="connsiteY49" fmla="*/ 1999 h 10686"/>
                <a:gd name="connsiteX50" fmla="*/ 5554 w 10000"/>
                <a:gd name="connsiteY50" fmla="*/ 2145 h 10686"/>
                <a:gd name="connsiteX51" fmla="*/ 5417 w 10000"/>
                <a:gd name="connsiteY51" fmla="*/ 2279 h 10686"/>
                <a:gd name="connsiteX52" fmla="*/ 5275 w 10000"/>
                <a:gd name="connsiteY52" fmla="*/ 2411 h 10686"/>
                <a:gd name="connsiteX53" fmla="*/ 5108 w 10000"/>
                <a:gd name="connsiteY53" fmla="*/ 2518 h 10686"/>
                <a:gd name="connsiteX54" fmla="*/ 4917 w 10000"/>
                <a:gd name="connsiteY54" fmla="*/ 2616 h 10686"/>
                <a:gd name="connsiteX55" fmla="*/ 4704 w 10000"/>
                <a:gd name="connsiteY55" fmla="*/ 2703 h 10686"/>
                <a:gd name="connsiteX56" fmla="*/ 4479 w 10000"/>
                <a:gd name="connsiteY56" fmla="*/ 2768 h 10686"/>
                <a:gd name="connsiteX57" fmla="*/ 4213 w 10000"/>
                <a:gd name="connsiteY57" fmla="*/ 2813 h 10686"/>
                <a:gd name="connsiteX58" fmla="*/ 4221 w 10000"/>
                <a:gd name="connsiteY58" fmla="*/ 3126 h 10686"/>
                <a:gd name="connsiteX59" fmla="*/ 4258 w 10000"/>
                <a:gd name="connsiteY59" fmla="*/ 3424 h 10686"/>
                <a:gd name="connsiteX60" fmla="*/ 4321 w 10000"/>
                <a:gd name="connsiteY60" fmla="*/ 3707 h 10686"/>
                <a:gd name="connsiteX61" fmla="*/ 4404 w 10000"/>
                <a:gd name="connsiteY61" fmla="*/ 3975 h 10686"/>
                <a:gd name="connsiteX62" fmla="*/ 4508 w 10000"/>
                <a:gd name="connsiteY62" fmla="*/ 4231 h 10686"/>
                <a:gd name="connsiteX63" fmla="*/ 4621 w 10000"/>
                <a:gd name="connsiteY63" fmla="*/ 4476 h 10686"/>
                <a:gd name="connsiteX64" fmla="*/ 4750 w 10000"/>
                <a:gd name="connsiteY64" fmla="*/ 4708 h 10686"/>
                <a:gd name="connsiteX65" fmla="*/ 4879 w 10000"/>
                <a:gd name="connsiteY65" fmla="*/ 4934 h 10686"/>
                <a:gd name="connsiteX66" fmla="*/ 4917 w 10000"/>
                <a:gd name="connsiteY66" fmla="*/ 4988 h 10686"/>
                <a:gd name="connsiteX67" fmla="*/ 4950 w 10000"/>
                <a:gd name="connsiteY67" fmla="*/ 5054 h 10686"/>
                <a:gd name="connsiteX68" fmla="*/ 4996 w 10000"/>
                <a:gd name="connsiteY68" fmla="*/ 5125 h 10686"/>
                <a:gd name="connsiteX69" fmla="*/ 5038 w 10000"/>
                <a:gd name="connsiteY69" fmla="*/ 5200 h 10686"/>
                <a:gd name="connsiteX70" fmla="*/ 5092 w 10000"/>
                <a:gd name="connsiteY70" fmla="*/ 5271 h 10686"/>
                <a:gd name="connsiteX71" fmla="*/ 5154 w 10000"/>
                <a:gd name="connsiteY71" fmla="*/ 5331 h 10686"/>
                <a:gd name="connsiteX72" fmla="*/ 5229 w 10000"/>
                <a:gd name="connsiteY72" fmla="*/ 5384 h 10686"/>
                <a:gd name="connsiteX73" fmla="*/ 5313 w 10000"/>
                <a:gd name="connsiteY73" fmla="*/ 5423 h 10686"/>
                <a:gd name="connsiteX74" fmla="*/ 5413 w 10000"/>
                <a:gd name="connsiteY74" fmla="*/ 5438 h 10686"/>
                <a:gd name="connsiteX75" fmla="*/ 5517 w 10000"/>
                <a:gd name="connsiteY75" fmla="*/ 5435 h 10686"/>
                <a:gd name="connsiteX76" fmla="*/ 5704 w 10000"/>
                <a:gd name="connsiteY76" fmla="*/ 5390 h 10686"/>
                <a:gd name="connsiteX77" fmla="*/ 5871 w 10000"/>
                <a:gd name="connsiteY77" fmla="*/ 5316 h 10686"/>
                <a:gd name="connsiteX78" fmla="*/ 6033 w 10000"/>
                <a:gd name="connsiteY78" fmla="*/ 5223 h 10686"/>
                <a:gd name="connsiteX79" fmla="*/ 6167 w 10000"/>
                <a:gd name="connsiteY79" fmla="*/ 5113 h 10686"/>
                <a:gd name="connsiteX80" fmla="*/ 6296 w 10000"/>
                <a:gd name="connsiteY80" fmla="*/ 4994 h 10686"/>
                <a:gd name="connsiteX81" fmla="*/ 6417 w 10000"/>
                <a:gd name="connsiteY81" fmla="*/ 4869 h 10686"/>
                <a:gd name="connsiteX82" fmla="*/ 6525 w 10000"/>
                <a:gd name="connsiteY82" fmla="*/ 4750 h 10686"/>
                <a:gd name="connsiteX83" fmla="*/ 6617 w 10000"/>
                <a:gd name="connsiteY83" fmla="*/ 4636 h 10686"/>
                <a:gd name="connsiteX84" fmla="*/ 6821 w 10000"/>
                <a:gd name="connsiteY84" fmla="*/ 4377 h 10686"/>
                <a:gd name="connsiteX85" fmla="*/ 7017 w 10000"/>
                <a:gd name="connsiteY85" fmla="*/ 4085 h 10686"/>
                <a:gd name="connsiteX86" fmla="*/ 7213 w 10000"/>
                <a:gd name="connsiteY86" fmla="*/ 3766 h 10686"/>
                <a:gd name="connsiteX87" fmla="*/ 7396 w 10000"/>
                <a:gd name="connsiteY87" fmla="*/ 3418 h 10686"/>
                <a:gd name="connsiteX88" fmla="*/ 7563 w 10000"/>
                <a:gd name="connsiteY88" fmla="*/ 3051 h 10686"/>
                <a:gd name="connsiteX89" fmla="*/ 7713 w 10000"/>
                <a:gd name="connsiteY89" fmla="*/ 2661 h 10686"/>
                <a:gd name="connsiteX90" fmla="*/ 7850 w 10000"/>
                <a:gd name="connsiteY90" fmla="*/ 2253 h 10686"/>
                <a:gd name="connsiteX91" fmla="*/ 7950 w 10000"/>
                <a:gd name="connsiteY91" fmla="*/ 1830 h 10686"/>
                <a:gd name="connsiteX92" fmla="*/ 8025 w 10000"/>
                <a:gd name="connsiteY92" fmla="*/ 1397 h 10686"/>
                <a:gd name="connsiteX93" fmla="*/ 8071 w 10000"/>
                <a:gd name="connsiteY93" fmla="*/ 954 h 10686"/>
                <a:gd name="connsiteX94" fmla="*/ 8108 w 10000"/>
                <a:gd name="connsiteY94" fmla="*/ 974 h 10686"/>
                <a:gd name="connsiteX95" fmla="*/ 8138 w 10000"/>
                <a:gd name="connsiteY95" fmla="*/ 1025 h 10686"/>
                <a:gd name="connsiteX96" fmla="*/ 8163 w 10000"/>
                <a:gd name="connsiteY96" fmla="*/ 1100 h 10686"/>
                <a:gd name="connsiteX97" fmla="*/ 8175 w 10000"/>
                <a:gd name="connsiteY97" fmla="*/ 1198 h 10686"/>
                <a:gd name="connsiteX98" fmla="*/ 8183 w 10000"/>
                <a:gd name="connsiteY98" fmla="*/ 1311 h 10686"/>
                <a:gd name="connsiteX99" fmla="*/ 8183 w 10000"/>
                <a:gd name="connsiteY99" fmla="*/ 1442 h 10686"/>
                <a:gd name="connsiteX100" fmla="*/ 8183 w 10000"/>
                <a:gd name="connsiteY100" fmla="*/ 1582 h 10686"/>
                <a:gd name="connsiteX101" fmla="*/ 8175 w 10000"/>
                <a:gd name="connsiteY101" fmla="*/ 1734 h 10686"/>
                <a:gd name="connsiteX102" fmla="*/ 8163 w 10000"/>
                <a:gd name="connsiteY102" fmla="*/ 1889 h 10686"/>
                <a:gd name="connsiteX103" fmla="*/ 8146 w 10000"/>
                <a:gd name="connsiteY103" fmla="*/ 2047 h 10686"/>
                <a:gd name="connsiteX104" fmla="*/ 8121 w 10000"/>
                <a:gd name="connsiteY104" fmla="*/ 2205 h 10686"/>
                <a:gd name="connsiteX105" fmla="*/ 8108 w 10000"/>
                <a:gd name="connsiteY105" fmla="*/ 2357 h 10686"/>
                <a:gd name="connsiteX106" fmla="*/ 8083 w 10000"/>
                <a:gd name="connsiteY106" fmla="*/ 2497 h 10686"/>
                <a:gd name="connsiteX107" fmla="*/ 8063 w 10000"/>
                <a:gd name="connsiteY107" fmla="*/ 2628 h 10686"/>
                <a:gd name="connsiteX108" fmla="*/ 8038 w 10000"/>
                <a:gd name="connsiteY108" fmla="*/ 2741 h 10686"/>
                <a:gd name="connsiteX109" fmla="*/ 8017 w 10000"/>
                <a:gd name="connsiteY109" fmla="*/ 2834 h 10686"/>
                <a:gd name="connsiteX110" fmla="*/ 8000 w 10000"/>
                <a:gd name="connsiteY110" fmla="*/ 2908 h 10686"/>
                <a:gd name="connsiteX111" fmla="*/ 7700 w 10000"/>
                <a:gd name="connsiteY111" fmla="*/ 3754 h 10686"/>
                <a:gd name="connsiteX112" fmla="*/ 7942 w 10000"/>
                <a:gd name="connsiteY112" fmla="*/ 3737 h 10686"/>
                <a:gd name="connsiteX113" fmla="*/ 8167 w 10000"/>
                <a:gd name="connsiteY113" fmla="*/ 3695 h 10686"/>
                <a:gd name="connsiteX114" fmla="*/ 8379 w 10000"/>
                <a:gd name="connsiteY114" fmla="*/ 3635 h 10686"/>
                <a:gd name="connsiteX115" fmla="*/ 8583 w 10000"/>
                <a:gd name="connsiteY115" fmla="*/ 3558 h 10686"/>
                <a:gd name="connsiteX116" fmla="*/ 8767 w 10000"/>
                <a:gd name="connsiteY116" fmla="*/ 3471 h 10686"/>
                <a:gd name="connsiteX117" fmla="*/ 8933 w 10000"/>
                <a:gd name="connsiteY117" fmla="*/ 3376 h 10686"/>
                <a:gd name="connsiteX118" fmla="*/ 9092 w 10000"/>
                <a:gd name="connsiteY118" fmla="*/ 3278 h 10686"/>
                <a:gd name="connsiteX119" fmla="*/ 9238 w 10000"/>
                <a:gd name="connsiteY119" fmla="*/ 3185 h 10686"/>
                <a:gd name="connsiteX120" fmla="*/ 9250 w 10000"/>
                <a:gd name="connsiteY120" fmla="*/ 3230 h 10686"/>
                <a:gd name="connsiteX121" fmla="*/ 9117 w 10000"/>
                <a:gd name="connsiteY121" fmla="*/ 3376 h 10686"/>
                <a:gd name="connsiteX122" fmla="*/ 8954 w 10000"/>
                <a:gd name="connsiteY122" fmla="*/ 3516 h 10686"/>
                <a:gd name="connsiteX123" fmla="*/ 8758 w 10000"/>
                <a:gd name="connsiteY123" fmla="*/ 3641 h 10686"/>
                <a:gd name="connsiteX124" fmla="*/ 8538 w 10000"/>
                <a:gd name="connsiteY124" fmla="*/ 3754 h 10686"/>
                <a:gd name="connsiteX125" fmla="*/ 8304 w 10000"/>
                <a:gd name="connsiteY125" fmla="*/ 3856 h 10686"/>
                <a:gd name="connsiteX126" fmla="*/ 8054 w 10000"/>
                <a:gd name="connsiteY126" fmla="*/ 3945 h 10686"/>
                <a:gd name="connsiteX127" fmla="*/ 7796 w 10000"/>
                <a:gd name="connsiteY127" fmla="*/ 4014 h 10686"/>
                <a:gd name="connsiteX128" fmla="*/ 7533 w 10000"/>
                <a:gd name="connsiteY128" fmla="*/ 4064 h 10686"/>
                <a:gd name="connsiteX129" fmla="*/ 7479 w 10000"/>
                <a:gd name="connsiteY129" fmla="*/ 4184 h 10686"/>
                <a:gd name="connsiteX130" fmla="*/ 7404 w 10000"/>
                <a:gd name="connsiteY130" fmla="*/ 4324 h 10686"/>
                <a:gd name="connsiteX131" fmla="*/ 7321 w 10000"/>
                <a:gd name="connsiteY131" fmla="*/ 4470 h 10686"/>
                <a:gd name="connsiteX132" fmla="*/ 7213 w 10000"/>
                <a:gd name="connsiteY132" fmla="*/ 4628 h 10686"/>
                <a:gd name="connsiteX133" fmla="*/ 7100 w 10000"/>
                <a:gd name="connsiteY133" fmla="*/ 4794 h 10686"/>
                <a:gd name="connsiteX134" fmla="*/ 6979 w 10000"/>
                <a:gd name="connsiteY134" fmla="*/ 4958 h 10686"/>
                <a:gd name="connsiteX135" fmla="*/ 6850 w 10000"/>
                <a:gd name="connsiteY135" fmla="*/ 5113 h 10686"/>
                <a:gd name="connsiteX136" fmla="*/ 6721 w 10000"/>
                <a:gd name="connsiteY136" fmla="*/ 5265 h 10686"/>
                <a:gd name="connsiteX137" fmla="*/ 6600 w 10000"/>
                <a:gd name="connsiteY137" fmla="*/ 5405 h 10686"/>
                <a:gd name="connsiteX138" fmla="*/ 6471 w 10000"/>
                <a:gd name="connsiteY138" fmla="*/ 5530 h 10686"/>
                <a:gd name="connsiteX139" fmla="*/ 6358 w 10000"/>
                <a:gd name="connsiteY139" fmla="*/ 5641 h 10686"/>
                <a:gd name="connsiteX140" fmla="*/ 6250 w 10000"/>
                <a:gd name="connsiteY140" fmla="*/ 5721 h 10686"/>
                <a:gd name="connsiteX141" fmla="*/ 6267 w 10000"/>
                <a:gd name="connsiteY141" fmla="*/ 5781 h 10686"/>
                <a:gd name="connsiteX142" fmla="*/ 6296 w 10000"/>
                <a:gd name="connsiteY142" fmla="*/ 5793 h 10686"/>
                <a:gd name="connsiteX143" fmla="*/ 6479 w 10000"/>
                <a:gd name="connsiteY143" fmla="*/ 5754 h 10686"/>
                <a:gd name="connsiteX144" fmla="*/ 6663 w 10000"/>
                <a:gd name="connsiteY144" fmla="*/ 5736 h 10686"/>
                <a:gd name="connsiteX145" fmla="*/ 6858 w 10000"/>
                <a:gd name="connsiteY145" fmla="*/ 5736 h 10686"/>
                <a:gd name="connsiteX146" fmla="*/ 7046 w 10000"/>
                <a:gd name="connsiteY146" fmla="*/ 5742 h 10686"/>
                <a:gd name="connsiteX147" fmla="*/ 7246 w 10000"/>
                <a:gd name="connsiteY147" fmla="*/ 5748 h 10686"/>
                <a:gd name="connsiteX148" fmla="*/ 7425 w 10000"/>
                <a:gd name="connsiteY148" fmla="*/ 5748 h 10686"/>
                <a:gd name="connsiteX149" fmla="*/ 7600 w 10000"/>
                <a:gd name="connsiteY149" fmla="*/ 5733 h 10686"/>
                <a:gd name="connsiteX150" fmla="*/ 7950 w 10000"/>
                <a:gd name="connsiteY150" fmla="*/ 5673 h 10686"/>
                <a:gd name="connsiteX151" fmla="*/ 8275 w 10000"/>
                <a:gd name="connsiteY151" fmla="*/ 5596 h 10686"/>
                <a:gd name="connsiteX152" fmla="*/ 8579 w 10000"/>
                <a:gd name="connsiteY152" fmla="*/ 5504 h 10686"/>
                <a:gd name="connsiteX153" fmla="*/ 8858 w 10000"/>
                <a:gd name="connsiteY153" fmla="*/ 5390 h 10686"/>
                <a:gd name="connsiteX154" fmla="*/ 9117 w 10000"/>
                <a:gd name="connsiteY154" fmla="*/ 5265 h 10686"/>
                <a:gd name="connsiteX155" fmla="*/ 9350 w 10000"/>
                <a:gd name="connsiteY155" fmla="*/ 5119 h 10686"/>
                <a:gd name="connsiteX156" fmla="*/ 9563 w 10000"/>
                <a:gd name="connsiteY156" fmla="*/ 4967 h 10686"/>
                <a:gd name="connsiteX157" fmla="*/ 9758 w 10000"/>
                <a:gd name="connsiteY157" fmla="*/ 4794 h 10686"/>
                <a:gd name="connsiteX158" fmla="*/ 9933 w 10000"/>
                <a:gd name="connsiteY158" fmla="*/ 4610 h 10686"/>
                <a:gd name="connsiteX159" fmla="*/ 10000 w 10000"/>
                <a:gd name="connsiteY159" fmla="*/ 4648 h 10686"/>
                <a:gd name="connsiteX160" fmla="*/ 10000 w 10000"/>
                <a:gd name="connsiteY160" fmla="*/ 4660 h 10686"/>
                <a:gd name="connsiteX161" fmla="*/ 9904 w 10000"/>
                <a:gd name="connsiteY161" fmla="*/ 4827 h 10686"/>
                <a:gd name="connsiteX162" fmla="*/ 9767 w 10000"/>
                <a:gd name="connsiteY162" fmla="*/ 5000 h 10686"/>
                <a:gd name="connsiteX163" fmla="*/ 9600 w 10000"/>
                <a:gd name="connsiteY163" fmla="*/ 5173 h 10686"/>
                <a:gd name="connsiteX164" fmla="*/ 9404 w 10000"/>
                <a:gd name="connsiteY164" fmla="*/ 5343 h 10686"/>
                <a:gd name="connsiteX165" fmla="*/ 9183 w 10000"/>
                <a:gd name="connsiteY165" fmla="*/ 5504 h 10686"/>
                <a:gd name="connsiteX166" fmla="*/ 8950 w 10000"/>
                <a:gd name="connsiteY166" fmla="*/ 5662 h 10686"/>
                <a:gd name="connsiteX167" fmla="*/ 8704 w 10000"/>
                <a:gd name="connsiteY167" fmla="*/ 5802 h 10686"/>
                <a:gd name="connsiteX168" fmla="*/ 8463 w 10000"/>
                <a:gd name="connsiteY168" fmla="*/ 5927 h 10686"/>
                <a:gd name="connsiteX169" fmla="*/ 8229 w 10000"/>
                <a:gd name="connsiteY169" fmla="*/ 6025 h 10686"/>
                <a:gd name="connsiteX170" fmla="*/ 8000 w 10000"/>
                <a:gd name="connsiteY170" fmla="*/ 6105 h 10686"/>
                <a:gd name="connsiteX171" fmla="*/ 7879 w 10000"/>
                <a:gd name="connsiteY171" fmla="*/ 6132 h 10686"/>
                <a:gd name="connsiteX172" fmla="*/ 7729 w 10000"/>
                <a:gd name="connsiteY172" fmla="*/ 6153 h 10686"/>
                <a:gd name="connsiteX173" fmla="*/ 7563 w 10000"/>
                <a:gd name="connsiteY173" fmla="*/ 6177 h 10686"/>
                <a:gd name="connsiteX174" fmla="*/ 7388 w 10000"/>
                <a:gd name="connsiteY174" fmla="*/ 6198 h 10686"/>
                <a:gd name="connsiteX175" fmla="*/ 7204 w 10000"/>
                <a:gd name="connsiteY175" fmla="*/ 6219 h 10686"/>
                <a:gd name="connsiteX176" fmla="*/ 7017 w 10000"/>
                <a:gd name="connsiteY176" fmla="*/ 6240 h 10686"/>
                <a:gd name="connsiteX177" fmla="*/ 6842 w 10000"/>
                <a:gd name="connsiteY177" fmla="*/ 6263 h 10686"/>
                <a:gd name="connsiteX178" fmla="*/ 6675 w 10000"/>
                <a:gd name="connsiteY178" fmla="*/ 6290 h 10686"/>
                <a:gd name="connsiteX179" fmla="*/ 6517 w 10000"/>
                <a:gd name="connsiteY179" fmla="*/ 6329 h 10686"/>
                <a:gd name="connsiteX180" fmla="*/ 6388 w 10000"/>
                <a:gd name="connsiteY180" fmla="*/ 6365 h 10686"/>
                <a:gd name="connsiteX181" fmla="*/ 6288 w 10000"/>
                <a:gd name="connsiteY181" fmla="*/ 6415 h 10686"/>
                <a:gd name="connsiteX182" fmla="*/ 6213 w 10000"/>
                <a:gd name="connsiteY182" fmla="*/ 6475 h 10686"/>
                <a:gd name="connsiteX183" fmla="*/ 6092 w 10000"/>
                <a:gd name="connsiteY183" fmla="*/ 6648 h 10686"/>
                <a:gd name="connsiteX184" fmla="*/ 6008 w 10000"/>
                <a:gd name="connsiteY184" fmla="*/ 6836 h 10686"/>
                <a:gd name="connsiteX185" fmla="*/ 5942 w 10000"/>
                <a:gd name="connsiteY185" fmla="*/ 7032 h 10686"/>
                <a:gd name="connsiteX186" fmla="*/ 5904 w 10000"/>
                <a:gd name="connsiteY186" fmla="*/ 7232 h 10686"/>
                <a:gd name="connsiteX187" fmla="*/ 5888 w 10000"/>
                <a:gd name="connsiteY187" fmla="*/ 7443 h 10686"/>
                <a:gd name="connsiteX188" fmla="*/ 5879 w 10000"/>
                <a:gd name="connsiteY188" fmla="*/ 7655 h 10686"/>
                <a:gd name="connsiteX189" fmla="*/ 5888 w 10000"/>
                <a:gd name="connsiteY189" fmla="*/ 7867 h 10686"/>
                <a:gd name="connsiteX190" fmla="*/ 5904 w 10000"/>
                <a:gd name="connsiteY190" fmla="*/ 8084 h 10686"/>
                <a:gd name="connsiteX191" fmla="*/ 5925 w 10000"/>
                <a:gd name="connsiteY191" fmla="*/ 8299 h 10686"/>
                <a:gd name="connsiteX192" fmla="*/ 5950 w 10000"/>
                <a:gd name="connsiteY192" fmla="*/ 8510 h 10686"/>
                <a:gd name="connsiteX193" fmla="*/ 5954 w 10000"/>
                <a:gd name="connsiteY193" fmla="*/ 8820 h 10686"/>
                <a:gd name="connsiteX194" fmla="*/ 5933 w 10000"/>
                <a:gd name="connsiteY194" fmla="*/ 9130 h 10686"/>
                <a:gd name="connsiteX195" fmla="*/ 5896 w 10000"/>
                <a:gd name="connsiteY195" fmla="*/ 9428 h 10686"/>
                <a:gd name="connsiteX196" fmla="*/ 5850 w 10000"/>
                <a:gd name="connsiteY196" fmla="*/ 9720 h 10686"/>
                <a:gd name="connsiteX197" fmla="*/ 5794 w 10000"/>
                <a:gd name="connsiteY197" fmla="*/ 10686 h 10686"/>
                <a:gd name="connsiteX198" fmla="*/ 4117 w 10000"/>
                <a:gd name="connsiteY198" fmla="*/ 10686 h 10686"/>
                <a:gd name="connsiteX199" fmla="*/ 4309 w 10000"/>
                <a:gd name="connsiteY199" fmla="*/ 10293 h 10686"/>
                <a:gd name="connsiteX200" fmla="*/ 4546 w 10000"/>
                <a:gd name="connsiteY200" fmla="*/ 9848 h 10686"/>
                <a:gd name="connsiteX201" fmla="*/ 4629 w 10000"/>
                <a:gd name="connsiteY201" fmla="*/ 9687 h 10686"/>
                <a:gd name="connsiteX202" fmla="*/ 4700 w 10000"/>
                <a:gd name="connsiteY202" fmla="*/ 9508 h 10686"/>
                <a:gd name="connsiteX203" fmla="*/ 4767 w 10000"/>
                <a:gd name="connsiteY203" fmla="*/ 9309 h 10686"/>
                <a:gd name="connsiteX204" fmla="*/ 4829 w 10000"/>
                <a:gd name="connsiteY204" fmla="*/ 9097 h 10686"/>
                <a:gd name="connsiteX205" fmla="*/ 4879 w 10000"/>
                <a:gd name="connsiteY205" fmla="*/ 8868 h 10686"/>
                <a:gd name="connsiteX206" fmla="*/ 4917 w 10000"/>
                <a:gd name="connsiteY206" fmla="*/ 8635 h 10686"/>
                <a:gd name="connsiteX207" fmla="*/ 4954 w 10000"/>
                <a:gd name="connsiteY207" fmla="*/ 8391 h 10686"/>
                <a:gd name="connsiteX208" fmla="*/ 4979 w 10000"/>
                <a:gd name="connsiteY208" fmla="*/ 8144 h 10686"/>
                <a:gd name="connsiteX209" fmla="*/ 5000 w 10000"/>
                <a:gd name="connsiteY209" fmla="*/ 7887 h 10686"/>
                <a:gd name="connsiteX210" fmla="*/ 5000 w 10000"/>
                <a:gd name="connsiteY210" fmla="*/ 7634 h 10686"/>
                <a:gd name="connsiteX211" fmla="*/ 5000 w 10000"/>
                <a:gd name="connsiteY211" fmla="*/ 7384 h 10686"/>
                <a:gd name="connsiteX212" fmla="*/ 4979 w 10000"/>
                <a:gd name="connsiteY212" fmla="*/ 7133 h 10686"/>
                <a:gd name="connsiteX213" fmla="*/ 4950 w 10000"/>
                <a:gd name="connsiteY213" fmla="*/ 6892 h 10686"/>
                <a:gd name="connsiteX214" fmla="*/ 4913 w 10000"/>
                <a:gd name="connsiteY214" fmla="*/ 6657 h 10686"/>
                <a:gd name="connsiteX215" fmla="*/ 4858 w 10000"/>
                <a:gd name="connsiteY215" fmla="*/ 6430 h 10686"/>
                <a:gd name="connsiteX216" fmla="*/ 4783 w 10000"/>
                <a:gd name="connsiteY216" fmla="*/ 6219 h 10686"/>
                <a:gd name="connsiteX217" fmla="*/ 4700 w 10000"/>
                <a:gd name="connsiteY217" fmla="*/ 6019 h 10686"/>
                <a:gd name="connsiteX218" fmla="*/ 4600 w 10000"/>
                <a:gd name="connsiteY218" fmla="*/ 5840 h 10686"/>
                <a:gd name="connsiteX219" fmla="*/ 4488 w 10000"/>
                <a:gd name="connsiteY219" fmla="*/ 5682 h 10686"/>
                <a:gd name="connsiteX220" fmla="*/ 4358 w 10000"/>
                <a:gd name="connsiteY220" fmla="*/ 5542 h 10686"/>
                <a:gd name="connsiteX221" fmla="*/ 4213 w 10000"/>
                <a:gd name="connsiteY221" fmla="*/ 5429 h 10686"/>
                <a:gd name="connsiteX222" fmla="*/ 4046 w 10000"/>
                <a:gd name="connsiteY222" fmla="*/ 5343 h 10686"/>
                <a:gd name="connsiteX223" fmla="*/ 3904 w 10000"/>
                <a:gd name="connsiteY223" fmla="*/ 5292 h 10686"/>
                <a:gd name="connsiteX224" fmla="*/ 3746 w 10000"/>
                <a:gd name="connsiteY224" fmla="*/ 5271 h 10686"/>
                <a:gd name="connsiteX225" fmla="*/ 3583 w 10000"/>
                <a:gd name="connsiteY225" fmla="*/ 5271 h 10686"/>
                <a:gd name="connsiteX226" fmla="*/ 3413 w 10000"/>
                <a:gd name="connsiteY226" fmla="*/ 5286 h 10686"/>
                <a:gd name="connsiteX227" fmla="*/ 3246 w 10000"/>
                <a:gd name="connsiteY227" fmla="*/ 5310 h 10686"/>
                <a:gd name="connsiteX228" fmla="*/ 3079 w 10000"/>
                <a:gd name="connsiteY228" fmla="*/ 5343 h 10686"/>
                <a:gd name="connsiteX229" fmla="*/ 2913 w 10000"/>
                <a:gd name="connsiteY229" fmla="*/ 5369 h 10686"/>
                <a:gd name="connsiteX230" fmla="*/ 2750 w 10000"/>
                <a:gd name="connsiteY230" fmla="*/ 5396 h 10686"/>
                <a:gd name="connsiteX231" fmla="*/ 2600 w 10000"/>
                <a:gd name="connsiteY231" fmla="*/ 5411 h 10686"/>
                <a:gd name="connsiteX232" fmla="*/ 2258 w 10000"/>
                <a:gd name="connsiteY232" fmla="*/ 5423 h 10686"/>
                <a:gd name="connsiteX233" fmla="*/ 1925 w 10000"/>
                <a:gd name="connsiteY233" fmla="*/ 5411 h 10686"/>
                <a:gd name="connsiteX234" fmla="*/ 1617 w 10000"/>
                <a:gd name="connsiteY234" fmla="*/ 5384 h 10686"/>
                <a:gd name="connsiteX235" fmla="*/ 1321 w 10000"/>
                <a:gd name="connsiteY235" fmla="*/ 5346 h 10686"/>
                <a:gd name="connsiteX236" fmla="*/ 1033 w 10000"/>
                <a:gd name="connsiteY236" fmla="*/ 5298 h 10686"/>
                <a:gd name="connsiteX237" fmla="*/ 758 w 10000"/>
                <a:gd name="connsiteY237" fmla="*/ 5250 h 10686"/>
                <a:gd name="connsiteX238" fmla="*/ 500 w 10000"/>
                <a:gd name="connsiteY238" fmla="*/ 5197 h 10686"/>
                <a:gd name="connsiteX239" fmla="*/ 517 w 10000"/>
                <a:gd name="connsiteY239" fmla="*/ 5137 h 10686"/>
                <a:gd name="connsiteX240" fmla="*/ 871 w 10000"/>
                <a:gd name="connsiteY240" fmla="*/ 5173 h 10686"/>
                <a:gd name="connsiteX241" fmla="*/ 1221 w 10000"/>
                <a:gd name="connsiteY241" fmla="*/ 5197 h 10686"/>
                <a:gd name="connsiteX242" fmla="*/ 1563 w 10000"/>
                <a:gd name="connsiteY242" fmla="*/ 5206 h 10686"/>
                <a:gd name="connsiteX243" fmla="*/ 1896 w 10000"/>
                <a:gd name="connsiteY243" fmla="*/ 5197 h 10686"/>
                <a:gd name="connsiteX244" fmla="*/ 2221 w 10000"/>
                <a:gd name="connsiteY244" fmla="*/ 5164 h 10686"/>
                <a:gd name="connsiteX245" fmla="*/ 2538 w 10000"/>
                <a:gd name="connsiteY245" fmla="*/ 5113 h 10686"/>
                <a:gd name="connsiteX246" fmla="*/ 2842 w 10000"/>
                <a:gd name="connsiteY246" fmla="*/ 5045 h 10686"/>
                <a:gd name="connsiteX247" fmla="*/ 3129 w 10000"/>
                <a:gd name="connsiteY247" fmla="*/ 4946 h 10686"/>
                <a:gd name="connsiteX248" fmla="*/ 3500 w 10000"/>
                <a:gd name="connsiteY248" fmla="*/ 4815 h 10686"/>
                <a:gd name="connsiteX249" fmla="*/ 2821 w 10000"/>
                <a:gd name="connsiteY249" fmla="*/ 4389 h 10686"/>
                <a:gd name="connsiteX250" fmla="*/ 2213 w 10000"/>
                <a:gd name="connsiteY250" fmla="*/ 3912 h 10686"/>
                <a:gd name="connsiteX251" fmla="*/ 1879 w 10000"/>
                <a:gd name="connsiteY251" fmla="*/ 3939 h 10686"/>
                <a:gd name="connsiteX252" fmla="*/ 1554 w 10000"/>
                <a:gd name="connsiteY252" fmla="*/ 3939 h 10686"/>
                <a:gd name="connsiteX253" fmla="*/ 1258 w 10000"/>
                <a:gd name="connsiteY253" fmla="*/ 3912 h 10686"/>
                <a:gd name="connsiteX254" fmla="*/ 979 w 10000"/>
                <a:gd name="connsiteY254" fmla="*/ 3856 h 10686"/>
                <a:gd name="connsiteX255" fmla="*/ 721 w 10000"/>
                <a:gd name="connsiteY255" fmla="*/ 3775 h 10686"/>
                <a:gd name="connsiteX256" fmla="*/ 496 w 10000"/>
                <a:gd name="connsiteY256" fmla="*/ 3674 h 10686"/>
                <a:gd name="connsiteX257" fmla="*/ 296 w 10000"/>
                <a:gd name="connsiteY257" fmla="*/ 3549 h 10686"/>
                <a:gd name="connsiteX258" fmla="*/ 129 w 10000"/>
                <a:gd name="connsiteY258" fmla="*/ 3403 h 10686"/>
                <a:gd name="connsiteX259" fmla="*/ 0 w 10000"/>
                <a:gd name="connsiteY259" fmla="*/ 3245 h 10686"/>
                <a:gd name="connsiteX260" fmla="*/ 17 w 10000"/>
                <a:gd name="connsiteY260" fmla="*/ 3218 h 10686"/>
                <a:gd name="connsiteX261" fmla="*/ 71 w 10000"/>
                <a:gd name="connsiteY261" fmla="*/ 3245 h 10686"/>
                <a:gd name="connsiteX262" fmla="*/ 138 w 10000"/>
                <a:gd name="connsiteY262" fmla="*/ 3349 h 10686"/>
                <a:gd name="connsiteX263" fmla="*/ 246 w 10000"/>
                <a:gd name="connsiteY263" fmla="*/ 3439 h 10686"/>
                <a:gd name="connsiteX264" fmla="*/ 379 w 10000"/>
                <a:gd name="connsiteY264" fmla="*/ 3528 h 10686"/>
                <a:gd name="connsiteX265" fmla="*/ 538 w 10000"/>
                <a:gd name="connsiteY265" fmla="*/ 3597 h 10686"/>
                <a:gd name="connsiteX266" fmla="*/ 721 w 10000"/>
                <a:gd name="connsiteY266" fmla="*/ 3656 h 10686"/>
                <a:gd name="connsiteX267" fmla="*/ 913 w 10000"/>
                <a:gd name="connsiteY267" fmla="*/ 3701 h 10686"/>
                <a:gd name="connsiteX268" fmla="*/ 1117 w 10000"/>
                <a:gd name="connsiteY268" fmla="*/ 3728 h 10686"/>
                <a:gd name="connsiteX269" fmla="*/ 1329 w 10000"/>
                <a:gd name="connsiteY269" fmla="*/ 3737 h 10686"/>
                <a:gd name="connsiteX270" fmla="*/ 1533 w 10000"/>
                <a:gd name="connsiteY270" fmla="*/ 3734 h 10686"/>
                <a:gd name="connsiteX271" fmla="*/ 1646 w 10000"/>
                <a:gd name="connsiteY271" fmla="*/ 3722 h 10686"/>
                <a:gd name="connsiteX272" fmla="*/ 1746 w 10000"/>
                <a:gd name="connsiteY272" fmla="*/ 3722 h 10686"/>
                <a:gd name="connsiteX273" fmla="*/ 1833 w 10000"/>
                <a:gd name="connsiteY273" fmla="*/ 3710 h 10686"/>
                <a:gd name="connsiteX274" fmla="*/ 1917 w 10000"/>
                <a:gd name="connsiteY274" fmla="*/ 3695 h 10686"/>
                <a:gd name="connsiteX275" fmla="*/ 1988 w 10000"/>
                <a:gd name="connsiteY275" fmla="*/ 3662 h 10686"/>
                <a:gd name="connsiteX276" fmla="*/ 1788 w 10000"/>
                <a:gd name="connsiteY276" fmla="*/ 3391 h 10686"/>
                <a:gd name="connsiteX277" fmla="*/ 1617 w 10000"/>
                <a:gd name="connsiteY277" fmla="*/ 3126 h 10686"/>
                <a:gd name="connsiteX278" fmla="*/ 1454 w 10000"/>
                <a:gd name="connsiteY278" fmla="*/ 2849 h 10686"/>
                <a:gd name="connsiteX279" fmla="*/ 1313 w 10000"/>
                <a:gd name="connsiteY279" fmla="*/ 2563 h 10686"/>
                <a:gd name="connsiteX280" fmla="*/ 1175 w 10000"/>
                <a:gd name="connsiteY280" fmla="*/ 2253 h 10686"/>
                <a:gd name="connsiteX281" fmla="*/ 1046 w 10000"/>
                <a:gd name="connsiteY281" fmla="*/ 1919 h 10686"/>
                <a:gd name="connsiteX282" fmla="*/ 1033 w 10000"/>
                <a:gd name="connsiteY282" fmla="*/ 1859 h 10686"/>
                <a:gd name="connsiteX283" fmla="*/ 1000 w 10000"/>
                <a:gd name="connsiteY283" fmla="*/ 1776 h 10686"/>
                <a:gd name="connsiteX284" fmla="*/ 979 w 10000"/>
                <a:gd name="connsiteY284" fmla="*/ 1684 h 10686"/>
                <a:gd name="connsiteX285" fmla="*/ 950 w 10000"/>
                <a:gd name="connsiteY285" fmla="*/ 1591 h 10686"/>
                <a:gd name="connsiteX286" fmla="*/ 925 w 10000"/>
                <a:gd name="connsiteY286" fmla="*/ 1490 h 10686"/>
                <a:gd name="connsiteX287" fmla="*/ 917 w 10000"/>
                <a:gd name="connsiteY287" fmla="*/ 1397 h 10686"/>
                <a:gd name="connsiteX288" fmla="*/ 917 w 10000"/>
                <a:gd name="connsiteY288" fmla="*/ 1311 h 10686"/>
                <a:gd name="connsiteX289" fmla="*/ 933 w 10000"/>
                <a:gd name="connsiteY289" fmla="*/ 1234 h 10686"/>
                <a:gd name="connsiteX290" fmla="*/ 963 w 10000"/>
                <a:gd name="connsiteY290" fmla="*/ 1180 h 10686"/>
                <a:gd name="connsiteX291" fmla="*/ 1000 w 10000"/>
                <a:gd name="connsiteY291" fmla="*/ 1192 h 10686"/>
                <a:gd name="connsiteX292" fmla="*/ 1033 w 10000"/>
                <a:gd name="connsiteY292" fmla="*/ 1496 h 10686"/>
                <a:gd name="connsiteX293" fmla="*/ 1108 w 10000"/>
                <a:gd name="connsiteY293" fmla="*/ 1800 h 10686"/>
                <a:gd name="connsiteX294" fmla="*/ 1221 w 10000"/>
                <a:gd name="connsiteY294" fmla="*/ 2098 h 10686"/>
                <a:gd name="connsiteX295" fmla="*/ 1358 w 10000"/>
                <a:gd name="connsiteY295" fmla="*/ 2372 h 10686"/>
                <a:gd name="connsiteX296" fmla="*/ 1508 w 10000"/>
                <a:gd name="connsiteY296" fmla="*/ 2628 h 10686"/>
                <a:gd name="connsiteX297" fmla="*/ 1646 w 10000"/>
                <a:gd name="connsiteY297" fmla="*/ 2795 h 10686"/>
                <a:gd name="connsiteX298" fmla="*/ 1629 w 10000"/>
                <a:gd name="connsiteY298" fmla="*/ 2801 h 10686"/>
                <a:gd name="connsiteX299" fmla="*/ 1629 w 10000"/>
                <a:gd name="connsiteY299" fmla="*/ 2807 h 10686"/>
                <a:gd name="connsiteX300" fmla="*/ 1638 w 10000"/>
                <a:gd name="connsiteY300" fmla="*/ 2813 h 10686"/>
                <a:gd name="connsiteX301" fmla="*/ 1646 w 10000"/>
                <a:gd name="connsiteY301" fmla="*/ 2816 h 10686"/>
                <a:gd name="connsiteX302" fmla="*/ 1663 w 10000"/>
                <a:gd name="connsiteY302" fmla="*/ 2822 h 10686"/>
                <a:gd name="connsiteX303" fmla="*/ 1667 w 10000"/>
                <a:gd name="connsiteY303" fmla="*/ 2834 h 10686"/>
                <a:gd name="connsiteX304" fmla="*/ 1675 w 10000"/>
                <a:gd name="connsiteY304" fmla="*/ 2840 h 10686"/>
                <a:gd name="connsiteX305" fmla="*/ 1683 w 10000"/>
                <a:gd name="connsiteY305" fmla="*/ 2849 h 10686"/>
                <a:gd name="connsiteX306" fmla="*/ 1683 w 10000"/>
                <a:gd name="connsiteY306" fmla="*/ 2843 h 10686"/>
                <a:gd name="connsiteX307" fmla="*/ 1675 w 10000"/>
                <a:gd name="connsiteY307" fmla="*/ 2840 h 10686"/>
                <a:gd name="connsiteX308" fmla="*/ 1675 w 10000"/>
                <a:gd name="connsiteY308" fmla="*/ 2840 h 10686"/>
                <a:gd name="connsiteX309" fmla="*/ 1646 w 10000"/>
                <a:gd name="connsiteY309" fmla="*/ 2795 h 10686"/>
                <a:gd name="connsiteX310" fmla="*/ 1746 w 10000"/>
                <a:gd name="connsiteY310" fmla="*/ 2741 h 10686"/>
                <a:gd name="connsiteX311" fmla="*/ 1842 w 10000"/>
                <a:gd name="connsiteY311" fmla="*/ 2649 h 10686"/>
                <a:gd name="connsiteX312" fmla="*/ 1933 w 10000"/>
                <a:gd name="connsiteY312" fmla="*/ 2542 h 10686"/>
                <a:gd name="connsiteX313" fmla="*/ 2017 w 10000"/>
                <a:gd name="connsiteY313" fmla="*/ 2411 h 10686"/>
                <a:gd name="connsiteX314" fmla="*/ 2092 w 10000"/>
                <a:gd name="connsiteY314" fmla="*/ 2265 h 10686"/>
                <a:gd name="connsiteX315" fmla="*/ 2163 w 10000"/>
                <a:gd name="connsiteY315" fmla="*/ 2113 h 10686"/>
                <a:gd name="connsiteX316" fmla="*/ 2221 w 10000"/>
                <a:gd name="connsiteY316" fmla="*/ 1955 h 10686"/>
                <a:gd name="connsiteX317" fmla="*/ 2275 w 10000"/>
                <a:gd name="connsiteY317" fmla="*/ 1803 h 10686"/>
                <a:gd name="connsiteX318" fmla="*/ 2321 w 10000"/>
                <a:gd name="connsiteY318" fmla="*/ 1657 h 10686"/>
                <a:gd name="connsiteX319" fmla="*/ 2329 w 10000"/>
                <a:gd name="connsiteY319" fmla="*/ 1853 h 10686"/>
                <a:gd name="connsiteX320" fmla="*/ 2321 w 10000"/>
                <a:gd name="connsiteY320" fmla="*/ 2032 h 10686"/>
                <a:gd name="connsiteX321" fmla="*/ 2283 w 10000"/>
                <a:gd name="connsiteY321" fmla="*/ 2199 h 10686"/>
                <a:gd name="connsiteX322" fmla="*/ 2229 w 10000"/>
                <a:gd name="connsiteY322" fmla="*/ 2366 h 10686"/>
                <a:gd name="connsiteX323" fmla="*/ 2154 w 10000"/>
                <a:gd name="connsiteY323" fmla="*/ 2524 h 10686"/>
                <a:gd name="connsiteX324" fmla="*/ 2046 w 10000"/>
                <a:gd name="connsiteY324" fmla="*/ 2682 h 10686"/>
                <a:gd name="connsiteX325" fmla="*/ 1796 w 10000"/>
                <a:gd name="connsiteY325" fmla="*/ 3027 h 10686"/>
                <a:gd name="connsiteX326" fmla="*/ 2054 w 10000"/>
                <a:gd name="connsiteY326" fmla="*/ 3305 h 10686"/>
                <a:gd name="connsiteX327" fmla="*/ 2333 w 10000"/>
                <a:gd name="connsiteY327" fmla="*/ 3564 h 10686"/>
                <a:gd name="connsiteX328" fmla="*/ 2638 w 10000"/>
                <a:gd name="connsiteY328" fmla="*/ 3808 h 10686"/>
                <a:gd name="connsiteX329" fmla="*/ 2963 w 10000"/>
                <a:gd name="connsiteY329" fmla="*/ 4032 h 10686"/>
                <a:gd name="connsiteX330" fmla="*/ 4129 w 10000"/>
                <a:gd name="connsiteY330" fmla="*/ 4610 h 10686"/>
                <a:gd name="connsiteX331" fmla="*/ 4167 w 10000"/>
                <a:gd name="connsiteY331" fmla="*/ 4589 h 10686"/>
                <a:gd name="connsiteX332" fmla="*/ 4071 w 10000"/>
                <a:gd name="connsiteY332" fmla="*/ 4333 h 10686"/>
                <a:gd name="connsiteX333" fmla="*/ 3996 w 10000"/>
                <a:gd name="connsiteY333" fmla="*/ 4058 h 10686"/>
                <a:gd name="connsiteX334" fmla="*/ 3933 w 10000"/>
                <a:gd name="connsiteY334" fmla="*/ 3760 h 10686"/>
                <a:gd name="connsiteX335" fmla="*/ 3904 w 10000"/>
                <a:gd name="connsiteY335" fmla="*/ 3456 h 10686"/>
                <a:gd name="connsiteX336" fmla="*/ 3879 w 10000"/>
                <a:gd name="connsiteY336" fmla="*/ 3138 h 10686"/>
                <a:gd name="connsiteX337" fmla="*/ 3879 w 10000"/>
                <a:gd name="connsiteY337" fmla="*/ 2813 h 10686"/>
                <a:gd name="connsiteX338" fmla="*/ 3896 w 10000"/>
                <a:gd name="connsiteY338" fmla="*/ 2485 h 10686"/>
                <a:gd name="connsiteX339" fmla="*/ 3933 w 10000"/>
                <a:gd name="connsiteY339" fmla="*/ 2160 h 10686"/>
                <a:gd name="connsiteX340" fmla="*/ 3988 w 10000"/>
                <a:gd name="connsiteY340" fmla="*/ 1836 h 10686"/>
                <a:gd name="connsiteX341" fmla="*/ 4046 w 10000"/>
                <a:gd name="connsiteY341" fmla="*/ 1523 h 10686"/>
                <a:gd name="connsiteX342" fmla="*/ 4129 w 10000"/>
                <a:gd name="connsiteY342" fmla="*/ 1219 h 10686"/>
                <a:gd name="connsiteX343" fmla="*/ 4229 w 10000"/>
                <a:gd name="connsiteY343" fmla="*/ 933 h 10686"/>
                <a:gd name="connsiteX344" fmla="*/ 4333 w 10000"/>
                <a:gd name="connsiteY344" fmla="*/ 662 h 10686"/>
                <a:gd name="connsiteX345" fmla="*/ 4454 w 10000"/>
                <a:gd name="connsiteY345" fmla="*/ 417 h 10686"/>
                <a:gd name="connsiteX346" fmla="*/ 4583 w 10000"/>
                <a:gd name="connsiteY346" fmla="*/ 194 h 10686"/>
                <a:gd name="connsiteX347" fmla="*/ 4738 w 10000"/>
                <a:gd name="connsiteY347" fmla="*/ 0 h 1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Lst>
              <a:rect l="l" t="t" r="r" b="b"/>
              <a:pathLst>
                <a:path w="10000" h="10686">
                  <a:moveTo>
                    <a:pt x="4738" y="0"/>
                  </a:moveTo>
                  <a:cubicBezTo>
                    <a:pt x="4732" y="16"/>
                    <a:pt x="4727" y="32"/>
                    <a:pt x="4721" y="48"/>
                  </a:cubicBezTo>
                  <a:cubicBezTo>
                    <a:pt x="4718" y="59"/>
                    <a:pt x="4716" y="69"/>
                    <a:pt x="4713" y="80"/>
                  </a:cubicBezTo>
                  <a:lnTo>
                    <a:pt x="4704" y="101"/>
                  </a:lnTo>
                  <a:lnTo>
                    <a:pt x="4704" y="113"/>
                  </a:lnTo>
                  <a:lnTo>
                    <a:pt x="4713" y="119"/>
                  </a:lnTo>
                  <a:lnTo>
                    <a:pt x="4713" y="125"/>
                  </a:lnTo>
                  <a:lnTo>
                    <a:pt x="4721" y="125"/>
                  </a:lnTo>
                  <a:lnTo>
                    <a:pt x="4721" y="125"/>
                  </a:lnTo>
                  <a:lnTo>
                    <a:pt x="4721" y="134"/>
                  </a:lnTo>
                  <a:cubicBezTo>
                    <a:pt x="4718" y="140"/>
                    <a:pt x="4716" y="146"/>
                    <a:pt x="4713" y="152"/>
                  </a:cubicBezTo>
                  <a:lnTo>
                    <a:pt x="4704" y="179"/>
                  </a:lnTo>
                  <a:lnTo>
                    <a:pt x="4692" y="221"/>
                  </a:lnTo>
                  <a:cubicBezTo>
                    <a:pt x="4684" y="241"/>
                    <a:pt x="4675" y="260"/>
                    <a:pt x="4667" y="280"/>
                  </a:cubicBezTo>
                  <a:cubicBezTo>
                    <a:pt x="4654" y="308"/>
                    <a:pt x="4642" y="336"/>
                    <a:pt x="4629" y="364"/>
                  </a:cubicBezTo>
                  <a:cubicBezTo>
                    <a:pt x="4617" y="398"/>
                    <a:pt x="4604" y="431"/>
                    <a:pt x="4592" y="465"/>
                  </a:cubicBezTo>
                  <a:cubicBezTo>
                    <a:pt x="4572" y="509"/>
                    <a:pt x="4553" y="552"/>
                    <a:pt x="4533" y="596"/>
                  </a:cubicBezTo>
                  <a:cubicBezTo>
                    <a:pt x="4510" y="649"/>
                    <a:pt x="4486" y="701"/>
                    <a:pt x="4463" y="754"/>
                  </a:cubicBezTo>
                  <a:cubicBezTo>
                    <a:pt x="4435" y="836"/>
                    <a:pt x="4407" y="919"/>
                    <a:pt x="4379" y="1001"/>
                  </a:cubicBezTo>
                  <a:cubicBezTo>
                    <a:pt x="4360" y="1089"/>
                    <a:pt x="4340" y="1178"/>
                    <a:pt x="4321" y="1266"/>
                  </a:cubicBezTo>
                  <a:cubicBezTo>
                    <a:pt x="4306" y="1357"/>
                    <a:pt x="4290" y="1447"/>
                    <a:pt x="4275" y="1538"/>
                  </a:cubicBezTo>
                  <a:cubicBezTo>
                    <a:pt x="4254" y="1634"/>
                    <a:pt x="4234" y="1731"/>
                    <a:pt x="4213" y="1827"/>
                  </a:cubicBezTo>
                  <a:cubicBezTo>
                    <a:pt x="4210" y="1848"/>
                    <a:pt x="4207" y="1868"/>
                    <a:pt x="4204" y="1889"/>
                  </a:cubicBezTo>
                  <a:lnTo>
                    <a:pt x="4192" y="1982"/>
                  </a:lnTo>
                  <a:cubicBezTo>
                    <a:pt x="4189" y="2015"/>
                    <a:pt x="4186" y="2047"/>
                    <a:pt x="4183" y="2080"/>
                  </a:cubicBezTo>
                  <a:cubicBezTo>
                    <a:pt x="4180" y="2116"/>
                    <a:pt x="4178" y="2151"/>
                    <a:pt x="4175" y="2187"/>
                  </a:cubicBezTo>
                  <a:lnTo>
                    <a:pt x="4175" y="2297"/>
                  </a:lnTo>
                  <a:cubicBezTo>
                    <a:pt x="4181" y="2330"/>
                    <a:pt x="4186" y="2363"/>
                    <a:pt x="4192" y="2396"/>
                  </a:cubicBezTo>
                  <a:cubicBezTo>
                    <a:pt x="4199" y="2425"/>
                    <a:pt x="4206" y="2453"/>
                    <a:pt x="4213" y="2482"/>
                  </a:cubicBezTo>
                  <a:cubicBezTo>
                    <a:pt x="4225" y="2502"/>
                    <a:pt x="4238" y="2522"/>
                    <a:pt x="4250" y="2542"/>
                  </a:cubicBezTo>
                  <a:lnTo>
                    <a:pt x="4450" y="2530"/>
                  </a:lnTo>
                  <a:lnTo>
                    <a:pt x="4646" y="2482"/>
                  </a:lnTo>
                  <a:lnTo>
                    <a:pt x="4833" y="2405"/>
                  </a:lnTo>
                  <a:lnTo>
                    <a:pt x="5025" y="2297"/>
                  </a:lnTo>
                  <a:lnTo>
                    <a:pt x="5200" y="2172"/>
                  </a:lnTo>
                  <a:lnTo>
                    <a:pt x="5371" y="2020"/>
                  </a:lnTo>
                  <a:lnTo>
                    <a:pt x="5533" y="1859"/>
                  </a:lnTo>
                  <a:lnTo>
                    <a:pt x="5683" y="1690"/>
                  </a:lnTo>
                  <a:lnTo>
                    <a:pt x="5829" y="1511"/>
                  </a:lnTo>
                  <a:lnTo>
                    <a:pt x="5954" y="1326"/>
                  </a:lnTo>
                  <a:lnTo>
                    <a:pt x="6071" y="1147"/>
                  </a:lnTo>
                  <a:cubicBezTo>
                    <a:pt x="6103" y="1089"/>
                    <a:pt x="6135" y="1032"/>
                    <a:pt x="6167" y="974"/>
                  </a:cubicBezTo>
                  <a:lnTo>
                    <a:pt x="6213" y="974"/>
                  </a:lnTo>
                  <a:lnTo>
                    <a:pt x="6213" y="992"/>
                  </a:lnTo>
                  <a:cubicBezTo>
                    <a:pt x="6188" y="1050"/>
                    <a:pt x="6163" y="1107"/>
                    <a:pt x="6138" y="1165"/>
                  </a:cubicBezTo>
                  <a:cubicBezTo>
                    <a:pt x="6110" y="1225"/>
                    <a:pt x="6082" y="1284"/>
                    <a:pt x="6054" y="1344"/>
                  </a:cubicBezTo>
                  <a:cubicBezTo>
                    <a:pt x="6024" y="1402"/>
                    <a:pt x="5993" y="1459"/>
                    <a:pt x="5963" y="1517"/>
                  </a:cubicBezTo>
                  <a:lnTo>
                    <a:pt x="5871" y="1684"/>
                  </a:lnTo>
                  <a:cubicBezTo>
                    <a:pt x="5839" y="1738"/>
                    <a:pt x="5807" y="1793"/>
                    <a:pt x="5775" y="1847"/>
                  </a:cubicBezTo>
                  <a:lnTo>
                    <a:pt x="5667" y="1999"/>
                  </a:lnTo>
                  <a:lnTo>
                    <a:pt x="5554" y="2145"/>
                  </a:lnTo>
                  <a:lnTo>
                    <a:pt x="5417" y="2279"/>
                  </a:lnTo>
                  <a:lnTo>
                    <a:pt x="5275" y="2411"/>
                  </a:lnTo>
                  <a:lnTo>
                    <a:pt x="5108" y="2518"/>
                  </a:lnTo>
                  <a:lnTo>
                    <a:pt x="4917" y="2616"/>
                  </a:lnTo>
                  <a:lnTo>
                    <a:pt x="4704" y="2703"/>
                  </a:lnTo>
                  <a:lnTo>
                    <a:pt x="4479" y="2768"/>
                  </a:lnTo>
                  <a:lnTo>
                    <a:pt x="4213" y="2813"/>
                  </a:lnTo>
                  <a:cubicBezTo>
                    <a:pt x="4216" y="2917"/>
                    <a:pt x="4218" y="3022"/>
                    <a:pt x="4221" y="3126"/>
                  </a:cubicBezTo>
                  <a:cubicBezTo>
                    <a:pt x="4233" y="3225"/>
                    <a:pt x="4246" y="3325"/>
                    <a:pt x="4258" y="3424"/>
                  </a:cubicBezTo>
                  <a:cubicBezTo>
                    <a:pt x="4279" y="3518"/>
                    <a:pt x="4300" y="3613"/>
                    <a:pt x="4321" y="3707"/>
                  </a:cubicBezTo>
                  <a:cubicBezTo>
                    <a:pt x="4349" y="3796"/>
                    <a:pt x="4376" y="3886"/>
                    <a:pt x="4404" y="3975"/>
                  </a:cubicBezTo>
                  <a:cubicBezTo>
                    <a:pt x="4439" y="4060"/>
                    <a:pt x="4473" y="4146"/>
                    <a:pt x="4508" y="4231"/>
                  </a:cubicBezTo>
                  <a:cubicBezTo>
                    <a:pt x="4546" y="4313"/>
                    <a:pt x="4583" y="4394"/>
                    <a:pt x="4621" y="4476"/>
                  </a:cubicBezTo>
                  <a:lnTo>
                    <a:pt x="4750" y="4708"/>
                  </a:lnTo>
                  <a:lnTo>
                    <a:pt x="4879" y="4934"/>
                  </a:lnTo>
                  <a:cubicBezTo>
                    <a:pt x="4892" y="4952"/>
                    <a:pt x="4904" y="4970"/>
                    <a:pt x="4917" y="4988"/>
                  </a:cubicBezTo>
                  <a:lnTo>
                    <a:pt x="4950" y="5054"/>
                  </a:lnTo>
                  <a:cubicBezTo>
                    <a:pt x="4965" y="5078"/>
                    <a:pt x="4981" y="5101"/>
                    <a:pt x="4996" y="5125"/>
                  </a:cubicBezTo>
                  <a:lnTo>
                    <a:pt x="5038" y="5200"/>
                  </a:lnTo>
                  <a:cubicBezTo>
                    <a:pt x="5056" y="5224"/>
                    <a:pt x="5074" y="5247"/>
                    <a:pt x="5092" y="5271"/>
                  </a:cubicBezTo>
                  <a:cubicBezTo>
                    <a:pt x="5113" y="5291"/>
                    <a:pt x="5133" y="5311"/>
                    <a:pt x="5154" y="5331"/>
                  </a:cubicBezTo>
                  <a:cubicBezTo>
                    <a:pt x="5179" y="5349"/>
                    <a:pt x="5204" y="5366"/>
                    <a:pt x="5229" y="5384"/>
                  </a:cubicBezTo>
                  <a:lnTo>
                    <a:pt x="5313" y="5423"/>
                  </a:lnTo>
                  <a:lnTo>
                    <a:pt x="5413" y="5438"/>
                  </a:lnTo>
                  <a:lnTo>
                    <a:pt x="5517" y="5435"/>
                  </a:lnTo>
                  <a:lnTo>
                    <a:pt x="5704" y="5390"/>
                  </a:lnTo>
                  <a:lnTo>
                    <a:pt x="5871" y="5316"/>
                  </a:lnTo>
                  <a:lnTo>
                    <a:pt x="6033" y="5223"/>
                  </a:lnTo>
                  <a:lnTo>
                    <a:pt x="6167" y="5113"/>
                  </a:lnTo>
                  <a:lnTo>
                    <a:pt x="6296" y="4994"/>
                  </a:lnTo>
                  <a:cubicBezTo>
                    <a:pt x="6336" y="4952"/>
                    <a:pt x="6377" y="4911"/>
                    <a:pt x="6417" y="4869"/>
                  </a:cubicBezTo>
                  <a:lnTo>
                    <a:pt x="6525" y="4750"/>
                  </a:lnTo>
                  <a:cubicBezTo>
                    <a:pt x="6556" y="4712"/>
                    <a:pt x="6586" y="4674"/>
                    <a:pt x="6617" y="4636"/>
                  </a:cubicBezTo>
                  <a:lnTo>
                    <a:pt x="6821" y="4377"/>
                  </a:lnTo>
                  <a:lnTo>
                    <a:pt x="7017" y="4085"/>
                  </a:lnTo>
                  <a:lnTo>
                    <a:pt x="7213" y="3766"/>
                  </a:lnTo>
                  <a:lnTo>
                    <a:pt x="7396" y="3418"/>
                  </a:lnTo>
                  <a:cubicBezTo>
                    <a:pt x="7452" y="3296"/>
                    <a:pt x="7507" y="3173"/>
                    <a:pt x="7563" y="3051"/>
                  </a:cubicBezTo>
                  <a:lnTo>
                    <a:pt x="7713" y="2661"/>
                  </a:lnTo>
                  <a:cubicBezTo>
                    <a:pt x="7759" y="2525"/>
                    <a:pt x="7804" y="2389"/>
                    <a:pt x="7850" y="2253"/>
                  </a:cubicBezTo>
                  <a:cubicBezTo>
                    <a:pt x="7883" y="2112"/>
                    <a:pt x="7917" y="1971"/>
                    <a:pt x="7950" y="1830"/>
                  </a:cubicBezTo>
                  <a:cubicBezTo>
                    <a:pt x="7975" y="1686"/>
                    <a:pt x="8000" y="1541"/>
                    <a:pt x="8025" y="1397"/>
                  </a:cubicBezTo>
                  <a:cubicBezTo>
                    <a:pt x="8040" y="1249"/>
                    <a:pt x="8056" y="1102"/>
                    <a:pt x="8071" y="954"/>
                  </a:cubicBezTo>
                  <a:cubicBezTo>
                    <a:pt x="8083" y="961"/>
                    <a:pt x="8096" y="967"/>
                    <a:pt x="8108" y="974"/>
                  </a:cubicBezTo>
                  <a:lnTo>
                    <a:pt x="8138" y="1025"/>
                  </a:lnTo>
                  <a:cubicBezTo>
                    <a:pt x="8146" y="1050"/>
                    <a:pt x="8155" y="1075"/>
                    <a:pt x="8163" y="1100"/>
                  </a:cubicBezTo>
                  <a:cubicBezTo>
                    <a:pt x="8167" y="1133"/>
                    <a:pt x="8171" y="1165"/>
                    <a:pt x="8175" y="1198"/>
                  </a:cubicBezTo>
                  <a:cubicBezTo>
                    <a:pt x="8178" y="1236"/>
                    <a:pt x="8180" y="1273"/>
                    <a:pt x="8183" y="1311"/>
                  </a:cubicBezTo>
                  <a:lnTo>
                    <a:pt x="8183" y="1442"/>
                  </a:lnTo>
                  <a:lnTo>
                    <a:pt x="8183" y="1582"/>
                  </a:lnTo>
                  <a:cubicBezTo>
                    <a:pt x="8180" y="1633"/>
                    <a:pt x="8178" y="1683"/>
                    <a:pt x="8175" y="1734"/>
                  </a:cubicBezTo>
                  <a:cubicBezTo>
                    <a:pt x="8171" y="1786"/>
                    <a:pt x="8167" y="1837"/>
                    <a:pt x="8163" y="1889"/>
                  </a:cubicBezTo>
                  <a:cubicBezTo>
                    <a:pt x="8157" y="1942"/>
                    <a:pt x="8152" y="1994"/>
                    <a:pt x="8146" y="2047"/>
                  </a:cubicBezTo>
                  <a:cubicBezTo>
                    <a:pt x="8138" y="2100"/>
                    <a:pt x="8129" y="2152"/>
                    <a:pt x="8121" y="2205"/>
                  </a:cubicBezTo>
                  <a:cubicBezTo>
                    <a:pt x="8117" y="2256"/>
                    <a:pt x="8112" y="2306"/>
                    <a:pt x="8108" y="2357"/>
                  </a:cubicBezTo>
                  <a:cubicBezTo>
                    <a:pt x="8100" y="2404"/>
                    <a:pt x="8091" y="2450"/>
                    <a:pt x="8083" y="2497"/>
                  </a:cubicBezTo>
                  <a:cubicBezTo>
                    <a:pt x="8076" y="2541"/>
                    <a:pt x="8070" y="2584"/>
                    <a:pt x="8063" y="2628"/>
                  </a:cubicBezTo>
                  <a:cubicBezTo>
                    <a:pt x="8055" y="2666"/>
                    <a:pt x="8046" y="2703"/>
                    <a:pt x="8038" y="2741"/>
                  </a:cubicBezTo>
                  <a:lnTo>
                    <a:pt x="8017" y="2834"/>
                  </a:lnTo>
                  <a:cubicBezTo>
                    <a:pt x="8011" y="2859"/>
                    <a:pt x="8006" y="2883"/>
                    <a:pt x="8000" y="2908"/>
                  </a:cubicBezTo>
                  <a:lnTo>
                    <a:pt x="7700" y="3754"/>
                  </a:lnTo>
                  <a:lnTo>
                    <a:pt x="7942" y="3737"/>
                  </a:lnTo>
                  <a:lnTo>
                    <a:pt x="8167" y="3695"/>
                  </a:lnTo>
                  <a:lnTo>
                    <a:pt x="8379" y="3635"/>
                  </a:lnTo>
                  <a:lnTo>
                    <a:pt x="8583" y="3558"/>
                  </a:lnTo>
                  <a:lnTo>
                    <a:pt x="8767" y="3471"/>
                  </a:lnTo>
                  <a:lnTo>
                    <a:pt x="8933" y="3376"/>
                  </a:lnTo>
                  <a:lnTo>
                    <a:pt x="9092" y="3278"/>
                  </a:lnTo>
                  <a:lnTo>
                    <a:pt x="9238" y="3185"/>
                  </a:lnTo>
                  <a:lnTo>
                    <a:pt x="9250" y="3230"/>
                  </a:lnTo>
                  <a:cubicBezTo>
                    <a:pt x="9206" y="3279"/>
                    <a:pt x="9161" y="3327"/>
                    <a:pt x="9117" y="3376"/>
                  </a:cubicBezTo>
                  <a:cubicBezTo>
                    <a:pt x="9063" y="3423"/>
                    <a:pt x="9008" y="3469"/>
                    <a:pt x="8954" y="3516"/>
                  </a:cubicBezTo>
                  <a:lnTo>
                    <a:pt x="8758" y="3641"/>
                  </a:lnTo>
                  <a:lnTo>
                    <a:pt x="8538" y="3754"/>
                  </a:lnTo>
                  <a:lnTo>
                    <a:pt x="8304" y="3856"/>
                  </a:lnTo>
                  <a:lnTo>
                    <a:pt x="8054" y="3945"/>
                  </a:lnTo>
                  <a:lnTo>
                    <a:pt x="7796" y="4014"/>
                  </a:lnTo>
                  <a:lnTo>
                    <a:pt x="7533" y="4064"/>
                  </a:lnTo>
                  <a:lnTo>
                    <a:pt x="7479" y="4184"/>
                  </a:lnTo>
                  <a:cubicBezTo>
                    <a:pt x="7454" y="4231"/>
                    <a:pt x="7429" y="4277"/>
                    <a:pt x="7404" y="4324"/>
                  </a:cubicBezTo>
                  <a:lnTo>
                    <a:pt x="7321" y="4470"/>
                  </a:lnTo>
                  <a:lnTo>
                    <a:pt x="7213" y="4628"/>
                  </a:lnTo>
                  <a:cubicBezTo>
                    <a:pt x="7175" y="4683"/>
                    <a:pt x="7138" y="4739"/>
                    <a:pt x="7100" y="4794"/>
                  </a:cubicBezTo>
                  <a:cubicBezTo>
                    <a:pt x="7060" y="4849"/>
                    <a:pt x="7019" y="4903"/>
                    <a:pt x="6979" y="4958"/>
                  </a:cubicBezTo>
                  <a:lnTo>
                    <a:pt x="6850" y="5113"/>
                  </a:lnTo>
                  <a:lnTo>
                    <a:pt x="6721" y="5265"/>
                  </a:lnTo>
                  <a:cubicBezTo>
                    <a:pt x="6681" y="5312"/>
                    <a:pt x="6640" y="5358"/>
                    <a:pt x="6600" y="5405"/>
                  </a:cubicBezTo>
                  <a:lnTo>
                    <a:pt x="6471" y="5530"/>
                  </a:lnTo>
                  <a:lnTo>
                    <a:pt x="6358" y="5641"/>
                  </a:lnTo>
                  <a:lnTo>
                    <a:pt x="6250" y="5721"/>
                  </a:lnTo>
                  <a:cubicBezTo>
                    <a:pt x="6256" y="5741"/>
                    <a:pt x="6261" y="5761"/>
                    <a:pt x="6267" y="5781"/>
                  </a:cubicBezTo>
                  <a:cubicBezTo>
                    <a:pt x="6277" y="5785"/>
                    <a:pt x="6286" y="5789"/>
                    <a:pt x="6296" y="5793"/>
                  </a:cubicBezTo>
                  <a:lnTo>
                    <a:pt x="6479" y="5754"/>
                  </a:lnTo>
                  <a:lnTo>
                    <a:pt x="6663" y="5736"/>
                  </a:lnTo>
                  <a:lnTo>
                    <a:pt x="6858" y="5736"/>
                  </a:lnTo>
                  <a:lnTo>
                    <a:pt x="7046" y="5742"/>
                  </a:lnTo>
                  <a:lnTo>
                    <a:pt x="7246" y="5748"/>
                  </a:lnTo>
                  <a:lnTo>
                    <a:pt x="7425" y="5748"/>
                  </a:lnTo>
                  <a:lnTo>
                    <a:pt x="7600" y="5733"/>
                  </a:lnTo>
                  <a:lnTo>
                    <a:pt x="7950" y="5673"/>
                  </a:lnTo>
                  <a:lnTo>
                    <a:pt x="8275" y="5596"/>
                  </a:lnTo>
                  <a:lnTo>
                    <a:pt x="8579" y="5504"/>
                  </a:lnTo>
                  <a:lnTo>
                    <a:pt x="8858" y="5390"/>
                  </a:lnTo>
                  <a:lnTo>
                    <a:pt x="9117" y="5265"/>
                  </a:lnTo>
                  <a:lnTo>
                    <a:pt x="9350" y="5119"/>
                  </a:lnTo>
                  <a:lnTo>
                    <a:pt x="9563" y="4967"/>
                  </a:lnTo>
                  <a:lnTo>
                    <a:pt x="9758" y="4794"/>
                  </a:lnTo>
                  <a:lnTo>
                    <a:pt x="9933" y="4610"/>
                  </a:lnTo>
                  <a:cubicBezTo>
                    <a:pt x="9955" y="4623"/>
                    <a:pt x="9978" y="4635"/>
                    <a:pt x="10000" y="4648"/>
                  </a:cubicBezTo>
                  <a:lnTo>
                    <a:pt x="10000" y="4660"/>
                  </a:lnTo>
                  <a:cubicBezTo>
                    <a:pt x="9968" y="4716"/>
                    <a:pt x="9936" y="4771"/>
                    <a:pt x="9904" y="4827"/>
                  </a:cubicBezTo>
                  <a:lnTo>
                    <a:pt x="9767" y="5000"/>
                  </a:lnTo>
                  <a:lnTo>
                    <a:pt x="9600" y="5173"/>
                  </a:lnTo>
                  <a:lnTo>
                    <a:pt x="9404" y="5343"/>
                  </a:lnTo>
                  <a:lnTo>
                    <a:pt x="9183" y="5504"/>
                  </a:lnTo>
                  <a:lnTo>
                    <a:pt x="8950" y="5662"/>
                  </a:lnTo>
                  <a:lnTo>
                    <a:pt x="8704" y="5802"/>
                  </a:lnTo>
                  <a:lnTo>
                    <a:pt x="8463" y="5927"/>
                  </a:lnTo>
                  <a:lnTo>
                    <a:pt x="8229" y="6025"/>
                  </a:lnTo>
                  <a:lnTo>
                    <a:pt x="8000" y="6105"/>
                  </a:lnTo>
                  <a:lnTo>
                    <a:pt x="7879" y="6132"/>
                  </a:lnTo>
                  <a:lnTo>
                    <a:pt x="7729" y="6153"/>
                  </a:lnTo>
                  <a:lnTo>
                    <a:pt x="7563" y="6177"/>
                  </a:lnTo>
                  <a:lnTo>
                    <a:pt x="7388" y="6198"/>
                  </a:lnTo>
                  <a:lnTo>
                    <a:pt x="7204" y="6219"/>
                  </a:lnTo>
                  <a:lnTo>
                    <a:pt x="7017" y="6240"/>
                  </a:lnTo>
                  <a:lnTo>
                    <a:pt x="6842" y="6263"/>
                  </a:lnTo>
                  <a:lnTo>
                    <a:pt x="6675" y="6290"/>
                  </a:lnTo>
                  <a:lnTo>
                    <a:pt x="6517" y="6329"/>
                  </a:lnTo>
                  <a:lnTo>
                    <a:pt x="6388" y="6365"/>
                  </a:lnTo>
                  <a:cubicBezTo>
                    <a:pt x="6355" y="6382"/>
                    <a:pt x="6321" y="6398"/>
                    <a:pt x="6288" y="6415"/>
                  </a:cubicBezTo>
                  <a:lnTo>
                    <a:pt x="6213" y="6475"/>
                  </a:lnTo>
                  <a:cubicBezTo>
                    <a:pt x="6173" y="6533"/>
                    <a:pt x="6132" y="6590"/>
                    <a:pt x="6092" y="6648"/>
                  </a:cubicBezTo>
                  <a:cubicBezTo>
                    <a:pt x="6064" y="6711"/>
                    <a:pt x="6036" y="6773"/>
                    <a:pt x="6008" y="6836"/>
                  </a:cubicBezTo>
                  <a:cubicBezTo>
                    <a:pt x="5986" y="6901"/>
                    <a:pt x="5964" y="6967"/>
                    <a:pt x="5942" y="7032"/>
                  </a:cubicBezTo>
                  <a:cubicBezTo>
                    <a:pt x="5929" y="7099"/>
                    <a:pt x="5917" y="7165"/>
                    <a:pt x="5904" y="7232"/>
                  </a:cubicBezTo>
                  <a:cubicBezTo>
                    <a:pt x="5899" y="7302"/>
                    <a:pt x="5893" y="7373"/>
                    <a:pt x="5888" y="7443"/>
                  </a:cubicBezTo>
                  <a:cubicBezTo>
                    <a:pt x="5885" y="7514"/>
                    <a:pt x="5882" y="7584"/>
                    <a:pt x="5879" y="7655"/>
                  </a:cubicBezTo>
                  <a:cubicBezTo>
                    <a:pt x="5882" y="7726"/>
                    <a:pt x="5885" y="7796"/>
                    <a:pt x="5888" y="7867"/>
                  </a:cubicBezTo>
                  <a:cubicBezTo>
                    <a:pt x="5893" y="7939"/>
                    <a:pt x="5899" y="8012"/>
                    <a:pt x="5904" y="8084"/>
                  </a:cubicBezTo>
                  <a:cubicBezTo>
                    <a:pt x="5911" y="8156"/>
                    <a:pt x="5918" y="8227"/>
                    <a:pt x="5925" y="8299"/>
                  </a:cubicBezTo>
                  <a:cubicBezTo>
                    <a:pt x="5933" y="8369"/>
                    <a:pt x="5942" y="8440"/>
                    <a:pt x="5950" y="8510"/>
                  </a:cubicBezTo>
                  <a:cubicBezTo>
                    <a:pt x="5951" y="8613"/>
                    <a:pt x="5953" y="8717"/>
                    <a:pt x="5954" y="8820"/>
                  </a:cubicBezTo>
                  <a:cubicBezTo>
                    <a:pt x="5947" y="8923"/>
                    <a:pt x="5940" y="9027"/>
                    <a:pt x="5933" y="9130"/>
                  </a:cubicBezTo>
                  <a:cubicBezTo>
                    <a:pt x="5921" y="9229"/>
                    <a:pt x="5908" y="9329"/>
                    <a:pt x="5896" y="9428"/>
                  </a:cubicBezTo>
                  <a:cubicBezTo>
                    <a:pt x="5881" y="9525"/>
                    <a:pt x="5865" y="9623"/>
                    <a:pt x="5850" y="9720"/>
                  </a:cubicBezTo>
                  <a:cubicBezTo>
                    <a:pt x="5819" y="10051"/>
                    <a:pt x="5825" y="10355"/>
                    <a:pt x="5794" y="10686"/>
                  </a:cubicBezTo>
                  <a:lnTo>
                    <a:pt x="4117" y="10686"/>
                  </a:lnTo>
                  <a:lnTo>
                    <a:pt x="4309" y="10293"/>
                  </a:lnTo>
                  <a:lnTo>
                    <a:pt x="4546" y="9848"/>
                  </a:lnTo>
                  <a:cubicBezTo>
                    <a:pt x="4574" y="9794"/>
                    <a:pt x="4601" y="9741"/>
                    <a:pt x="4629" y="9687"/>
                  </a:cubicBezTo>
                  <a:cubicBezTo>
                    <a:pt x="4653" y="9627"/>
                    <a:pt x="4676" y="9568"/>
                    <a:pt x="4700" y="9508"/>
                  </a:cubicBezTo>
                  <a:cubicBezTo>
                    <a:pt x="4722" y="9442"/>
                    <a:pt x="4745" y="9375"/>
                    <a:pt x="4767" y="9309"/>
                  </a:cubicBezTo>
                  <a:cubicBezTo>
                    <a:pt x="4788" y="9238"/>
                    <a:pt x="4808" y="9168"/>
                    <a:pt x="4829" y="9097"/>
                  </a:cubicBezTo>
                  <a:cubicBezTo>
                    <a:pt x="4846" y="9021"/>
                    <a:pt x="4862" y="8944"/>
                    <a:pt x="4879" y="8868"/>
                  </a:cubicBezTo>
                  <a:cubicBezTo>
                    <a:pt x="4892" y="8790"/>
                    <a:pt x="4904" y="8713"/>
                    <a:pt x="4917" y="8635"/>
                  </a:cubicBezTo>
                  <a:cubicBezTo>
                    <a:pt x="4929" y="8554"/>
                    <a:pt x="4942" y="8472"/>
                    <a:pt x="4954" y="8391"/>
                  </a:cubicBezTo>
                  <a:cubicBezTo>
                    <a:pt x="4962" y="8309"/>
                    <a:pt x="4971" y="8226"/>
                    <a:pt x="4979" y="8144"/>
                  </a:cubicBezTo>
                  <a:cubicBezTo>
                    <a:pt x="4986" y="8058"/>
                    <a:pt x="4993" y="7973"/>
                    <a:pt x="5000" y="7887"/>
                  </a:cubicBezTo>
                  <a:lnTo>
                    <a:pt x="5000" y="7634"/>
                  </a:lnTo>
                  <a:lnTo>
                    <a:pt x="5000" y="7384"/>
                  </a:lnTo>
                  <a:cubicBezTo>
                    <a:pt x="4993" y="7300"/>
                    <a:pt x="4986" y="7217"/>
                    <a:pt x="4979" y="7133"/>
                  </a:cubicBezTo>
                  <a:cubicBezTo>
                    <a:pt x="4969" y="7053"/>
                    <a:pt x="4960" y="6972"/>
                    <a:pt x="4950" y="6892"/>
                  </a:cubicBezTo>
                  <a:cubicBezTo>
                    <a:pt x="4938" y="6814"/>
                    <a:pt x="4925" y="6735"/>
                    <a:pt x="4913" y="6657"/>
                  </a:cubicBezTo>
                  <a:cubicBezTo>
                    <a:pt x="4895" y="6581"/>
                    <a:pt x="4876" y="6506"/>
                    <a:pt x="4858" y="6430"/>
                  </a:cubicBezTo>
                  <a:cubicBezTo>
                    <a:pt x="4833" y="6360"/>
                    <a:pt x="4808" y="6289"/>
                    <a:pt x="4783" y="6219"/>
                  </a:cubicBezTo>
                  <a:cubicBezTo>
                    <a:pt x="4755" y="6152"/>
                    <a:pt x="4728" y="6086"/>
                    <a:pt x="4700" y="6019"/>
                  </a:cubicBezTo>
                  <a:cubicBezTo>
                    <a:pt x="4667" y="5959"/>
                    <a:pt x="4633" y="5900"/>
                    <a:pt x="4600" y="5840"/>
                  </a:cubicBezTo>
                  <a:cubicBezTo>
                    <a:pt x="4563" y="5787"/>
                    <a:pt x="4525" y="5735"/>
                    <a:pt x="4488" y="5682"/>
                  </a:cubicBezTo>
                  <a:cubicBezTo>
                    <a:pt x="4445" y="5635"/>
                    <a:pt x="4401" y="5589"/>
                    <a:pt x="4358" y="5542"/>
                  </a:cubicBezTo>
                  <a:cubicBezTo>
                    <a:pt x="4310" y="5504"/>
                    <a:pt x="4261" y="5467"/>
                    <a:pt x="4213" y="5429"/>
                  </a:cubicBezTo>
                  <a:lnTo>
                    <a:pt x="4046" y="5343"/>
                  </a:lnTo>
                  <a:lnTo>
                    <a:pt x="3904" y="5292"/>
                  </a:lnTo>
                  <a:lnTo>
                    <a:pt x="3746" y="5271"/>
                  </a:lnTo>
                  <a:lnTo>
                    <a:pt x="3583" y="5271"/>
                  </a:lnTo>
                  <a:lnTo>
                    <a:pt x="3413" y="5286"/>
                  </a:lnTo>
                  <a:lnTo>
                    <a:pt x="3246" y="5310"/>
                  </a:lnTo>
                  <a:lnTo>
                    <a:pt x="3079" y="5343"/>
                  </a:lnTo>
                  <a:lnTo>
                    <a:pt x="2913" y="5369"/>
                  </a:lnTo>
                  <a:lnTo>
                    <a:pt x="2750" y="5396"/>
                  </a:lnTo>
                  <a:lnTo>
                    <a:pt x="2600" y="5411"/>
                  </a:lnTo>
                  <a:lnTo>
                    <a:pt x="2258" y="5423"/>
                  </a:lnTo>
                  <a:lnTo>
                    <a:pt x="1925" y="5411"/>
                  </a:lnTo>
                  <a:lnTo>
                    <a:pt x="1617" y="5384"/>
                  </a:lnTo>
                  <a:lnTo>
                    <a:pt x="1321" y="5346"/>
                  </a:lnTo>
                  <a:lnTo>
                    <a:pt x="1033" y="5298"/>
                  </a:lnTo>
                  <a:lnTo>
                    <a:pt x="758" y="5250"/>
                  </a:lnTo>
                  <a:lnTo>
                    <a:pt x="500" y="5197"/>
                  </a:lnTo>
                  <a:cubicBezTo>
                    <a:pt x="506" y="5177"/>
                    <a:pt x="511" y="5157"/>
                    <a:pt x="517" y="5137"/>
                  </a:cubicBezTo>
                  <a:lnTo>
                    <a:pt x="871" y="5173"/>
                  </a:lnTo>
                  <a:lnTo>
                    <a:pt x="1221" y="5197"/>
                  </a:lnTo>
                  <a:lnTo>
                    <a:pt x="1563" y="5206"/>
                  </a:lnTo>
                  <a:lnTo>
                    <a:pt x="1896" y="5197"/>
                  </a:lnTo>
                  <a:lnTo>
                    <a:pt x="2221" y="5164"/>
                  </a:lnTo>
                  <a:lnTo>
                    <a:pt x="2538" y="5113"/>
                  </a:lnTo>
                  <a:lnTo>
                    <a:pt x="2842" y="5045"/>
                  </a:lnTo>
                  <a:lnTo>
                    <a:pt x="3129" y="4946"/>
                  </a:lnTo>
                  <a:lnTo>
                    <a:pt x="3500" y="4815"/>
                  </a:lnTo>
                  <a:lnTo>
                    <a:pt x="2821" y="4389"/>
                  </a:lnTo>
                  <a:lnTo>
                    <a:pt x="2213" y="3912"/>
                  </a:lnTo>
                  <a:lnTo>
                    <a:pt x="1879" y="3939"/>
                  </a:lnTo>
                  <a:lnTo>
                    <a:pt x="1554" y="3939"/>
                  </a:lnTo>
                  <a:lnTo>
                    <a:pt x="1258" y="3912"/>
                  </a:lnTo>
                  <a:lnTo>
                    <a:pt x="979" y="3856"/>
                  </a:lnTo>
                  <a:lnTo>
                    <a:pt x="721" y="3775"/>
                  </a:lnTo>
                  <a:lnTo>
                    <a:pt x="496" y="3674"/>
                  </a:lnTo>
                  <a:lnTo>
                    <a:pt x="296" y="3549"/>
                  </a:lnTo>
                  <a:lnTo>
                    <a:pt x="129" y="3403"/>
                  </a:lnTo>
                  <a:lnTo>
                    <a:pt x="0" y="3245"/>
                  </a:lnTo>
                  <a:cubicBezTo>
                    <a:pt x="6" y="3236"/>
                    <a:pt x="11" y="3227"/>
                    <a:pt x="17" y="3218"/>
                  </a:cubicBezTo>
                  <a:lnTo>
                    <a:pt x="71" y="3245"/>
                  </a:lnTo>
                  <a:cubicBezTo>
                    <a:pt x="93" y="3280"/>
                    <a:pt x="116" y="3314"/>
                    <a:pt x="138" y="3349"/>
                  </a:cubicBezTo>
                  <a:lnTo>
                    <a:pt x="246" y="3439"/>
                  </a:lnTo>
                  <a:cubicBezTo>
                    <a:pt x="290" y="3469"/>
                    <a:pt x="335" y="3498"/>
                    <a:pt x="379" y="3528"/>
                  </a:cubicBezTo>
                  <a:lnTo>
                    <a:pt x="538" y="3597"/>
                  </a:lnTo>
                  <a:lnTo>
                    <a:pt x="721" y="3656"/>
                  </a:lnTo>
                  <a:lnTo>
                    <a:pt x="913" y="3701"/>
                  </a:lnTo>
                  <a:lnTo>
                    <a:pt x="1117" y="3728"/>
                  </a:lnTo>
                  <a:lnTo>
                    <a:pt x="1329" y="3737"/>
                  </a:lnTo>
                  <a:lnTo>
                    <a:pt x="1533" y="3734"/>
                  </a:lnTo>
                  <a:lnTo>
                    <a:pt x="1646" y="3722"/>
                  </a:lnTo>
                  <a:lnTo>
                    <a:pt x="1746" y="3722"/>
                  </a:lnTo>
                  <a:lnTo>
                    <a:pt x="1833" y="3710"/>
                  </a:lnTo>
                  <a:lnTo>
                    <a:pt x="1917" y="3695"/>
                  </a:lnTo>
                  <a:lnTo>
                    <a:pt x="1988" y="3662"/>
                  </a:lnTo>
                  <a:cubicBezTo>
                    <a:pt x="1921" y="3572"/>
                    <a:pt x="1855" y="3481"/>
                    <a:pt x="1788" y="3391"/>
                  </a:cubicBezTo>
                  <a:lnTo>
                    <a:pt x="1617" y="3126"/>
                  </a:lnTo>
                  <a:lnTo>
                    <a:pt x="1454" y="2849"/>
                  </a:lnTo>
                  <a:lnTo>
                    <a:pt x="1313" y="2563"/>
                  </a:lnTo>
                  <a:lnTo>
                    <a:pt x="1175" y="2253"/>
                  </a:lnTo>
                  <a:lnTo>
                    <a:pt x="1046" y="1919"/>
                  </a:lnTo>
                  <a:cubicBezTo>
                    <a:pt x="1042" y="1899"/>
                    <a:pt x="1037" y="1879"/>
                    <a:pt x="1033" y="1859"/>
                  </a:cubicBezTo>
                  <a:cubicBezTo>
                    <a:pt x="1022" y="1831"/>
                    <a:pt x="1011" y="1804"/>
                    <a:pt x="1000" y="1776"/>
                  </a:cubicBezTo>
                  <a:cubicBezTo>
                    <a:pt x="993" y="1745"/>
                    <a:pt x="986" y="1715"/>
                    <a:pt x="979" y="1684"/>
                  </a:cubicBezTo>
                  <a:cubicBezTo>
                    <a:pt x="969" y="1653"/>
                    <a:pt x="960" y="1622"/>
                    <a:pt x="950" y="1591"/>
                  </a:cubicBezTo>
                  <a:cubicBezTo>
                    <a:pt x="942" y="1557"/>
                    <a:pt x="933" y="1524"/>
                    <a:pt x="925" y="1490"/>
                  </a:cubicBezTo>
                  <a:cubicBezTo>
                    <a:pt x="922" y="1459"/>
                    <a:pt x="920" y="1428"/>
                    <a:pt x="917" y="1397"/>
                  </a:cubicBezTo>
                  <a:lnTo>
                    <a:pt x="917" y="1311"/>
                  </a:lnTo>
                  <a:cubicBezTo>
                    <a:pt x="922" y="1285"/>
                    <a:pt x="928" y="1260"/>
                    <a:pt x="933" y="1234"/>
                  </a:cubicBezTo>
                  <a:lnTo>
                    <a:pt x="963" y="1180"/>
                  </a:lnTo>
                  <a:lnTo>
                    <a:pt x="1000" y="1192"/>
                  </a:lnTo>
                  <a:cubicBezTo>
                    <a:pt x="1011" y="1293"/>
                    <a:pt x="1022" y="1395"/>
                    <a:pt x="1033" y="1496"/>
                  </a:cubicBezTo>
                  <a:cubicBezTo>
                    <a:pt x="1058" y="1597"/>
                    <a:pt x="1083" y="1699"/>
                    <a:pt x="1108" y="1800"/>
                  </a:cubicBezTo>
                  <a:cubicBezTo>
                    <a:pt x="1146" y="1899"/>
                    <a:pt x="1183" y="1999"/>
                    <a:pt x="1221" y="2098"/>
                  </a:cubicBezTo>
                  <a:cubicBezTo>
                    <a:pt x="1267" y="2189"/>
                    <a:pt x="1312" y="2281"/>
                    <a:pt x="1358" y="2372"/>
                  </a:cubicBezTo>
                  <a:lnTo>
                    <a:pt x="1508" y="2628"/>
                  </a:lnTo>
                  <a:lnTo>
                    <a:pt x="1646" y="2795"/>
                  </a:lnTo>
                  <a:cubicBezTo>
                    <a:pt x="1640" y="2797"/>
                    <a:pt x="1635" y="2799"/>
                    <a:pt x="1629" y="2801"/>
                  </a:cubicBezTo>
                  <a:lnTo>
                    <a:pt x="1629" y="2807"/>
                  </a:lnTo>
                  <a:lnTo>
                    <a:pt x="1638" y="2813"/>
                  </a:lnTo>
                  <a:cubicBezTo>
                    <a:pt x="1641" y="2814"/>
                    <a:pt x="1643" y="2815"/>
                    <a:pt x="1646" y="2816"/>
                  </a:cubicBezTo>
                  <a:cubicBezTo>
                    <a:pt x="1652" y="2818"/>
                    <a:pt x="1657" y="2820"/>
                    <a:pt x="1663" y="2822"/>
                  </a:cubicBezTo>
                  <a:cubicBezTo>
                    <a:pt x="1664" y="2826"/>
                    <a:pt x="1666" y="2830"/>
                    <a:pt x="1667" y="2834"/>
                  </a:cubicBezTo>
                  <a:cubicBezTo>
                    <a:pt x="1670" y="2836"/>
                    <a:pt x="1672" y="2838"/>
                    <a:pt x="1675" y="2840"/>
                  </a:cubicBezTo>
                  <a:cubicBezTo>
                    <a:pt x="1678" y="2843"/>
                    <a:pt x="1680" y="2846"/>
                    <a:pt x="1683" y="2849"/>
                  </a:cubicBezTo>
                  <a:lnTo>
                    <a:pt x="1683" y="2843"/>
                  </a:lnTo>
                  <a:cubicBezTo>
                    <a:pt x="1680" y="2842"/>
                    <a:pt x="1678" y="2841"/>
                    <a:pt x="1675" y="2840"/>
                  </a:cubicBezTo>
                  <a:lnTo>
                    <a:pt x="1675" y="2840"/>
                  </a:lnTo>
                  <a:cubicBezTo>
                    <a:pt x="1665" y="2825"/>
                    <a:pt x="1656" y="2810"/>
                    <a:pt x="1646" y="2795"/>
                  </a:cubicBezTo>
                  <a:lnTo>
                    <a:pt x="1746" y="2741"/>
                  </a:lnTo>
                  <a:cubicBezTo>
                    <a:pt x="1778" y="2710"/>
                    <a:pt x="1810" y="2680"/>
                    <a:pt x="1842" y="2649"/>
                  </a:cubicBezTo>
                  <a:cubicBezTo>
                    <a:pt x="1872" y="2613"/>
                    <a:pt x="1903" y="2578"/>
                    <a:pt x="1933" y="2542"/>
                  </a:cubicBezTo>
                  <a:cubicBezTo>
                    <a:pt x="1961" y="2498"/>
                    <a:pt x="1989" y="2455"/>
                    <a:pt x="2017" y="2411"/>
                  </a:cubicBezTo>
                  <a:cubicBezTo>
                    <a:pt x="2042" y="2362"/>
                    <a:pt x="2067" y="2314"/>
                    <a:pt x="2092" y="2265"/>
                  </a:cubicBezTo>
                  <a:cubicBezTo>
                    <a:pt x="2116" y="2214"/>
                    <a:pt x="2139" y="2164"/>
                    <a:pt x="2163" y="2113"/>
                  </a:cubicBezTo>
                  <a:cubicBezTo>
                    <a:pt x="2182" y="2060"/>
                    <a:pt x="2202" y="2008"/>
                    <a:pt x="2221" y="1955"/>
                  </a:cubicBezTo>
                  <a:cubicBezTo>
                    <a:pt x="2239" y="1904"/>
                    <a:pt x="2257" y="1854"/>
                    <a:pt x="2275" y="1803"/>
                  </a:cubicBezTo>
                  <a:cubicBezTo>
                    <a:pt x="2290" y="1754"/>
                    <a:pt x="2306" y="1706"/>
                    <a:pt x="2321" y="1657"/>
                  </a:cubicBezTo>
                  <a:cubicBezTo>
                    <a:pt x="2324" y="1722"/>
                    <a:pt x="2326" y="1788"/>
                    <a:pt x="2329" y="1853"/>
                  </a:cubicBezTo>
                  <a:cubicBezTo>
                    <a:pt x="2326" y="1913"/>
                    <a:pt x="2324" y="1972"/>
                    <a:pt x="2321" y="2032"/>
                  </a:cubicBezTo>
                  <a:cubicBezTo>
                    <a:pt x="2308" y="2088"/>
                    <a:pt x="2296" y="2143"/>
                    <a:pt x="2283" y="2199"/>
                  </a:cubicBezTo>
                  <a:cubicBezTo>
                    <a:pt x="2265" y="2255"/>
                    <a:pt x="2247" y="2310"/>
                    <a:pt x="2229" y="2366"/>
                  </a:cubicBezTo>
                  <a:cubicBezTo>
                    <a:pt x="2204" y="2419"/>
                    <a:pt x="2179" y="2471"/>
                    <a:pt x="2154" y="2524"/>
                  </a:cubicBezTo>
                  <a:lnTo>
                    <a:pt x="2046" y="2682"/>
                  </a:lnTo>
                  <a:lnTo>
                    <a:pt x="1796" y="3027"/>
                  </a:lnTo>
                  <a:lnTo>
                    <a:pt x="2054" y="3305"/>
                  </a:lnTo>
                  <a:lnTo>
                    <a:pt x="2333" y="3564"/>
                  </a:lnTo>
                  <a:lnTo>
                    <a:pt x="2638" y="3808"/>
                  </a:lnTo>
                  <a:lnTo>
                    <a:pt x="2963" y="4032"/>
                  </a:lnTo>
                  <a:lnTo>
                    <a:pt x="4129" y="4610"/>
                  </a:lnTo>
                  <a:cubicBezTo>
                    <a:pt x="4142" y="4603"/>
                    <a:pt x="4154" y="4596"/>
                    <a:pt x="4167" y="4589"/>
                  </a:cubicBezTo>
                  <a:cubicBezTo>
                    <a:pt x="4135" y="4504"/>
                    <a:pt x="4103" y="4418"/>
                    <a:pt x="4071" y="4333"/>
                  </a:cubicBezTo>
                  <a:cubicBezTo>
                    <a:pt x="4046" y="4241"/>
                    <a:pt x="4021" y="4150"/>
                    <a:pt x="3996" y="4058"/>
                  </a:cubicBezTo>
                  <a:cubicBezTo>
                    <a:pt x="3975" y="3959"/>
                    <a:pt x="3954" y="3859"/>
                    <a:pt x="3933" y="3760"/>
                  </a:cubicBezTo>
                  <a:cubicBezTo>
                    <a:pt x="3923" y="3659"/>
                    <a:pt x="3914" y="3557"/>
                    <a:pt x="3904" y="3456"/>
                  </a:cubicBezTo>
                  <a:cubicBezTo>
                    <a:pt x="3896" y="3350"/>
                    <a:pt x="3887" y="3244"/>
                    <a:pt x="3879" y="3138"/>
                  </a:cubicBezTo>
                  <a:lnTo>
                    <a:pt x="3879" y="2813"/>
                  </a:lnTo>
                  <a:cubicBezTo>
                    <a:pt x="3885" y="2704"/>
                    <a:pt x="3890" y="2594"/>
                    <a:pt x="3896" y="2485"/>
                  </a:cubicBezTo>
                  <a:cubicBezTo>
                    <a:pt x="3908" y="2377"/>
                    <a:pt x="3921" y="2268"/>
                    <a:pt x="3933" y="2160"/>
                  </a:cubicBezTo>
                  <a:cubicBezTo>
                    <a:pt x="3951" y="2052"/>
                    <a:pt x="3970" y="1944"/>
                    <a:pt x="3988" y="1836"/>
                  </a:cubicBezTo>
                  <a:cubicBezTo>
                    <a:pt x="4007" y="1732"/>
                    <a:pt x="4027" y="1627"/>
                    <a:pt x="4046" y="1523"/>
                  </a:cubicBezTo>
                  <a:cubicBezTo>
                    <a:pt x="4074" y="1422"/>
                    <a:pt x="4101" y="1320"/>
                    <a:pt x="4129" y="1219"/>
                  </a:cubicBezTo>
                  <a:cubicBezTo>
                    <a:pt x="4162" y="1124"/>
                    <a:pt x="4196" y="1028"/>
                    <a:pt x="4229" y="933"/>
                  </a:cubicBezTo>
                  <a:cubicBezTo>
                    <a:pt x="4264" y="843"/>
                    <a:pt x="4298" y="752"/>
                    <a:pt x="4333" y="662"/>
                  </a:cubicBezTo>
                  <a:cubicBezTo>
                    <a:pt x="4373" y="580"/>
                    <a:pt x="4414" y="499"/>
                    <a:pt x="4454" y="417"/>
                  </a:cubicBezTo>
                  <a:lnTo>
                    <a:pt x="4583" y="194"/>
                  </a:lnTo>
                  <a:lnTo>
                    <a:pt x="4738" y="0"/>
                  </a:lnTo>
                  <a:close/>
                </a:path>
              </a:pathLst>
            </a:custGeom>
            <a:solidFill>
              <a:srgbClr val="D4D3A9"/>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srgbClr val="000000"/>
                </a:solidFill>
                <a:effectLst/>
                <a:uLnTx/>
                <a:uFillTx/>
                <a:latin typeface="Arial"/>
                <a:cs typeface="+mn-cs"/>
              </a:endParaRPr>
            </a:p>
          </p:txBody>
        </p:sp>
        <p:sp>
          <p:nvSpPr>
            <p:cNvPr id="23" name="Rectangle 22"/>
            <p:cNvSpPr/>
            <p:nvPr/>
          </p:nvSpPr>
          <p:spPr>
            <a:xfrm>
              <a:off x="2504512" y="3514889"/>
              <a:ext cx="4572000" cy="507831"/>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P</a:t>
              </a:r>
              <a:r>
                <a:rPr kumimoji="0" lang="en-US" sz="900" b="1" i="0" u="none" strike="noStrike" kern="1200" cap="none" spc="0" normalizeH="0" baseline="0" noProof="0" dirty="0" smtClean="0">
                  <a:ln>
                    <a:noFill/>
                  </a:ln>
                  <a:solidFill>
                    <a:srgbClr val="000000"/>
                  </a:solidFill>
                  <a:effectLst/>
                  <a:uLnTx/>
                  <a:uFillTx/>
                  <a:latin typeface="Arial" panose="020B0604020202020204"/>
                  <a:ea typeface="+mn-ea"/>
                  <a:cs typeface="+mn-cs"/>
                </a:rPr>
                <a:t>roviding its most </a:t>
              </a: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productive distributors with focused product, sales and technology support through </a:t>
              </a:r>
              <a:r>
                <a:rPr kumimoji="0" lang="en-US" sz="900" b="1" i="0" u="none" strike="noStrike" kern="1200" cap="none" spc="0" normalizeH="0" baseline="0" noProof="0" dirty="0" smtClean="0">
                  <a:ln>
                    <a:noFill/>
                  </a:ln>
                  <a:solidFill>
                    <a:srgbClr val="000000"/>
                  </a:solidFill>
                  <a:effectLst/>
                  <a:uLnTx/>
                  <a:uFillTx/>
                  <a:latin typeface="Arial" panose="020B0604020202020204"/>
                  <a:ea typeface="+mn-ea"/>
                  <a:cs typeface="+mn-cs"/>
                </a:rPr>
                <a:t>its approximately 20 </a:t>
              </a: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strategic relationship managers (“SRMs”) and in excess of 200 internal and external wholesalers</a:t>
              </a:r>
            </a:p>
          </p:txBody>
        </p:sp>
        <p:sp>
          <p:nvSpPr>
            <p:cNvPr id="24" name="Rectangle 23"/>
            <p:cNvSpPr/>
            <p:nvPr/>
          </p:nvSpPr>
          <p:spPr>
            <a:xfrm>
              <a:off x="3778472" y="4187096"/>
              <a:ext cx="1418440" cy="396419"/>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FFFFFF"/>
                  </a:solidFill>
                  <a:effectLst/>
                  <a:uLnTx/>
                  <a:uFillTx/>
                  <a:latin typeface="Arial" panose="020B0604020202020204"/>
                  <a:ea typeface="+mn-ea"/>
                  <a:cs typeface="+mn-cs"/>
                </a:rPr>
                <a:t>Positioning</a:t>
              </a: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8970175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188" y="218481"/>
            <a:ext cx="8417052" cy="621030"/>
          </a:xfrm>
        </p:spPr>
        <p:txBody>
          <a:bodyPr/>
          <a:lstStyle/>
          <a:p>
            <a:r>
              <a:rPr lang="en-US" dirty="0" err="1"/>
              <a:t>Brighthouse</a:t>
            </a:r>
            <a:r>
              <a:rPr lang="en-US" dirty="0"/>
              <a:t> Financial Organization Structure</a:t>
            </a:r>
          </a:p>
        </p:txBody>
      </p:sp>
      <p:sp>
        <p:nvSpPr>
          <p:cNvPr id="4" name="Footer Placeholder 3"/>
          <p:cNvSpPr>
            <a:spLocks noGrp="1"/>
          </p:cNvSpPr>
          <p:nvPr>
            <p:ph type="ftr" sz="quarter" idx="3"/>
          </p:nvPr>
        </p:nvSpPr>
        <p:spPr/>
        <p:txBody>
          <a:bodyPr/>
          <a:lstStyle/>
          <a:p>
            <a:r>
              <a:rPr lang="en-US" smtClean="0"/>
              <a:t>© 2020 Cognizant</a:t>
            </a:r>
            <a:endParaRPr lang="en-US" dirty="0"/>
          </a:p>
        </p:txBody>
      </p:sp>
      <p:sp>
        <p:nvSpPr>
          <p:cNvPr id="5" name="Slide Number Placeholder 4"/>
          <p:cNvSpPr>
            <a:spLocks noGrp="1"/>
          </p:cNvSpPr>
          <p:nvPr>
            <p:ph type="sldNum" sz="quarter" idx="4"/>
          </p:nvPr>
        </p:nvSpPr>
        <p:spPr/>
        <p:txBody>
          <a:bodyPr/>
          <a:lstStyle/>
          <a:p>
            <a:fld id="{2EFEF571-C9B4-4D92-A7F7-315B894862A8}" type="slidenum">
              <a:rPr lang="en-US" smtClean="0"/>
              <a:pPr/>
              <a:t>8</a:t>
            </a:fld>
            <a:endParaRPr lang="en-US" dirty="0"/>
          </a:p>
        </p:txBody>
      </p:sp>
      <p:pic>
        <p:nvPicPr>
          <p:cNvPr id="6" name="Picture 9" descr="https://media.licdn.com/dms/image/C5603AQHG4nU6uun-TA/profile-displayphoto-shrink_200_200/0?e=1581552000&amp;v=beta&amp;t=swyxi9av5FmTi_shg2phioFzlzKrqJSfEjGs-Kn33Ok"/>
          <p:cNvPicPr>
            <a:picLocks noChangeAspect="1" noChangeArrowheads="1"/>
          </p:cNvPicPr>
          <p:nvPr/>
        </p:nvPicPr>
        <p:blipFill rotWithShape="1">
          <a:blip r:embed="rId2">
            <a:extLst>
              <a:ext uri="{28A0092B-C50C-407E-A947-70E740481C1C}">
                <a14:useLocalDpi xmlns:a14="http://schemas.microsoft.com/office/drawing/2010/main" val="0"/>
              </a:ext>
            </a:extLst>
          </a:blip>
          <a:srcRect b="8290"/>
          <a:stretch/>
        </p:blipFill>
        <p:spPr bwMode="auto">
          <a:xfrm>
            <a:off x="3212282" y="2713887"/>
            <a:ext cx="624486" cy="57270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7" descr="https://media.licdn.com/dms/image/C4E03AQFovwC4oE8V2Q/profile-displayphoto-shrink_200_200/0?e=1581552000&amp;v=beta&amp;t=BbhW89-7PvNFauoJBrj1BOGSw_GLEPyBfaPwSNd5PbU"/>
          <p:cNvPicPr>
            <a:picLocks noChangeAspect="1" noChangeArrowheads="1"/>
          </p:cNvPicPr>
          <p:nvPr/>
        </p:nvPicPr>
        <p:blipFill rotWithShape="1">
          <a:blip r:embed="rId3">
            <a:extLst>
              <a:ext uri="{28A0092B-C50C-407E-A947-70E740481C1C}">
                <a14:useLocalDpi xmlns:a14="http://schemas.microsoft.com/office/drawing/2010/main" val="0"/>
              </a:ext>
            </a:extLst>
          </a:blip>
          <a:srcRect l="11190" t="3896" r="13556" b="18423"/>
          <a:stretch/>
        </p:blipFill>
        <p:spPr bwMode="auto">
          <a:xfrm>
            <a:off x="1036450" y="2713887"/>
            <a:ext cx="555686" cy="57360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4"/>
          <a:stretch>
            <a:fillRect/>
          </a:stretch>
        </p:blipFill>
        <p:spPr>
          <a:xfrm>
            <a:off x="2421852" y="1942305"/>
            <a:ext cx="585175" cy="567620"/>
          </a:xfrm>
          <a:prstGeom prst="rect">
            <a:avLst/>
          </a:prstGeom>
        </p:spPr>
      </p:pic>
      <p:pic>
        <p:nvPicPr>
          <p:cNvPr id="9" name="Picture 8"/>
          <p:cNvPicPr>
            <a:picLocks noChangeAspect="1"/>
          </p:cNvPicPr>
          <p:nvPr/>
        </p:nvPicPr>
        <p:blipFill>
          <a:blip r:embed="rId5"/>
          <a:stretch>
            <a:fillRect/>
          </a:stretch>
        </p:blipFill>
        <p:spPr>
          <a:xfrm>
            <a:off x="247871" y="1954227"/>
            <a:ext cx="599084" cy="579011"/>
          </a:xfrm>
          <a:prstGeom prst="rect">
            <a:avLst/>
          </a:prstGeom>
        </p:spPr>
      </p:pic>
      <p:pic>
        <p:nvPicPr>
          <p:cNvPr id="10" name="Picture 2" descr="https://media.licdn.com/dms/image/C4E03AQE4rUxjpTeccQ/profile-displayphoto-shrink_200_200/0?e=1581552000&amp;v=beta&amp;t=da8atejtsiwm-1s202MGV3Tz09oDKMBkwRXauvhTaN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49038" y="1958641"/>
            <a:ext cx="574598" cy="57459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7340324" y="1958448"/>
            <a:ext cx="1354321" cy="551477"/>
          </a:xfrm>
          <a:prstGeom prst="rect">
            <a:avLst/>
          </a:prstGeom>
          <a:solidFill>
            <a:srgbClr val="FFFFFF">
              <a:lumMod val="95000"/>
            </a:srgbClr>
          </a:solidFill>
          <a:ln w="6350" cap="flat" cmpd="sng" algn="ctr">
            <a:solidFill>
              <a:srgbClr val="FFFFFF">
                <a:lumMod val="85000"/>
              </a:srgbClr>
            </a:solidFill>
            <a:prstDash val="solid"/>
          </a:ln>
          <a:effectLst/>
        </p:spPr>
        <p:txBody>
          <a:bodyPr spcFirstLastPara="0" vert="horz" wrap="square" lIns="6350" tIns="6350" rIns="6350" bIns="6350" numCol="1" spcCol="1270" anchor="ctr" anchorCtr="0">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141414"/>
                </a:solidFill>
                <a:effectLst/>
                <a:uLnTx/>
                <a:uFillTx/>
                <a:latin typeface="Calibri"/>
                <a:ea typeface="+mn-ea"/>
                <a:cs typeface="+mn-cs"/>
              </a:rPr>
              <a:t>CTO</a:t>
            </a:r>
            <a:endParaRPr kumimoji="0" lang="en-US" sz="1100" b="1" i="0" u="none" strike="noStrike" kern="0" cap="none" spc="0" normalizeH="0" baseline="0" noProof="0" dirty="0">
              <a:ln>
                <a:noFill/>
              </a:ln>
              <a:solidFill>
                <a:srgbClr val="141414"/>
              </a:solidFill>
              <a:effectLst/>
              <a:uLnTx/>
              <a:uFillTx/>
              <a:latin typeface="Calibri"/>
              <a:ea typeface="+mn-ea"/>
              <a:cs typeface="+mn-cs"/>
            </a:endParaRP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141414"/>
                </a:solidFill>
                <a:effectLst/>
                <a:uLnTx/>
                <a:uFillTx/>
                <a:latin typeface="Calibri"/>
                <a:ea typeface="+mn-ea"/>
                <a:cs typeface="+mn-cs"/>
              </a:rPr>
              <a:t>Jeff Hughes</a:t>
            </a:r>
            <a:endParaRPr kumimoji="0" lang="en-US" sz="1100" b="0" i="0" u="none" strike="noStrike" kern="0" cap="none" spc="0" normalizeH="0" baseline="0" noProof="0" dirty="0">
              <a:ln>
                <a:noFill/>
              </a:ln>
              <a:solidFill>
                <a:srgbClr val="141414"/>
              </a:solidFill>
              <a:effectLst/>
              <a:uLnTx/>
              <a:uFillTx/>
              <a:latin typeface="Calibri"/>
              <a:ea typeface="+mn-ea"/>
              <a:cs typeface="+mn-cs"/>
            </a:endParaRPr>
          </a:p>
        </p:txBody>
      </p:sp>
      <p:sp>
        <p:nvSpPr>
          <p:cNvPr id="12" name="Rectangle 11"/>
          <p:cNvSpPr/>
          <p:nvPr/>
        </p:nvSpPr>
        <p:spPr>
          <a:xfrm>
            <a:off x="5247398" y="1948019"/>
            <a:ext cx="1313010" cy="563887"/>
          </a:xfrm>
          <a:prstGeom prst="rect">
            <a:avLst/>
          </a:prstGeom>
          <a:solidFill>
            <a:srgbClr val="FFFFFF">
              <a:lumMod val="95000"/>
            </a:srgbClr>
          </a:solidFill>
          <a:ln w="6350" cap="flat" cmpd="sng" algn="ctr">
            <a:solidFill>
              <a:srgbClr val="FFFFFF">
                <a:lumMod val="85000"/>
              </a:srgbClr>
            </a:solidFill>
            <a:prstDash val="solid"/>
          </a:ln>
          <a:effectLst/>
        </p:spPr>
        <p:txBody>
          <a:bodyPr spcFirstLastPara="0" vert="horz" wrap="square" lIns="6350" tIns="6350" rIns="6350" bIns="6350" numCol="1" spcCol="1270" anchor="ctr" anchorCtr="0">
            <a:noAutofit/>
          </a:bodyPr>
          <a:lstStyle/>
          <a:p>
            <a:pPr marL="112713" marR="0" lvl="0" indent="0" algn="ctr" defTabSz="457178"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141414"/>
                </a:solidFill>
                <a:effectLst/>
                <a:uLnTx/>
                <a:uFillTx/>
                <a:latin typeface="Calibri"/>
                <a:ea typeface="+mn-ea"/>
                <a:cs typeface="+mn-cs"/>
              </a:rPr>
              <a:t>Chief Investment Officer</a:t>
            </a:r>
            <a:endParaRPr kumimoji="0" lang="en-US" sz="1100" b="1" i="0" u="none" strike="noStrike" kern="0" cap="none" spc="0" normalizeH="0" baseline="0" noProof="0" dirty="0">
              <a:ln>
                <a:noFill/>
              </a:ln>
              <a:solidFill>
                <a:srgbClr val="141414"/>
              </a:solidFill>
              <a:effectLst/>
              <a:uLnTx/>
              <a:uFillTx/>
              <a:latin typeface="Calibri"/>
              <a:ea typeface="+mn-ea"/>
              <a:cs typeface="+mn-cs"/>
            </a:endParaRPr>
          </a:p>
          <a:p>
            <a:pPr marL="112713" marR="0" lvl="0" indent="0" algn="ctr" defTabSz="457178"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141414"/>
                </a:solidFill>
                <a:effectLst/>
                <a:uLnTx/>
                <a:uFillTx/>
                <a:latin typeface="Calibri"/>
                <a:ea typeface="+mn-ea"/>
                <a:cs typeface="+mn-cs"/>
              </a:rPr>
              <a:t>John Rosenthal</a:t>
            </a:r>
          </a:p>
        </p:txBody>
      </p:sp>
      <p:sp>
        <p:nvSpPr>
          <p:cNvPr id="13" name="Rectangle 12"/>
          <p:cNvSpPr/>
          <p:nvPr/>
        </p:nvSpPr>
        <p:spPr>
          <a:xfrm>
            <a:off x="3024171" y="1954227"/>
            <a:ext cx="1335075" cy="563887"/>
          </a:xfrm>
          <a:prstGeom prst="rect">
            <a:avLst/>
          </a:prstGeom>
          <a:solidFill>
            <a:srgbClr val="FFFFFF">
              <a:lumMod val="95000"/>
            </a:srgbClr>
          </a:solidFill>
          <a:ln w="6350" cap="flat" cmpd="sng" algn="ctr">
            <a:solidFill>
              <a:srgbClr val="FFFFFF">
                <a:lumMod val="85000"/>
              </a:srgbClr>
            </a:solidFill>
            <a:prstDash val="solid"/>
          </a:ln>
          <a:effectLst/>
        </p:spPr>
        <p:txBody>
          <a:bodyPr spcFirstLastPara="0" vert="horz" wrap="square" lIns="6350" tIns="6350" rIns="6350" bIns="6350" numCol="1" spcCol="1270" anchor="ctr" anchorCtr="0">
            <a:noAutofit/>
          </a:bodyPr>
          <a:lstStyle/>
          <a:p>
            <a:pPr marL="112713" marR="0" lvl="0" indent="0" algn="ctr" defTabSz="457178"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141414"/>
                </a:solidFill>
                <a:effectLst/>
                <a:uLnTx/>
                <a:uFillTx/>
                <a:latin typeface="Calibri"/>
                <a:ea typeface="+mn-ea"/>
                <a:cs typeface="+mn-cs"/>
              </a:rPr>
              <a:t>COO</a:t>
            </a:r>
            <a:endParaRPr kumimoji="0" lang="en-US" sz="1100" b="1" i="0" u="none" strike="noStrike" kern="0" cap="none" spc="0" normalizeH="0" baseline="0" noProof="0" dirty="0">
              <a:ln>
                <a:noFill/>
              </a:ln>
              <a:solidFill>
                <a:srgbClr val="141414"/>
              </a:solidFill>
              <a:effectLst/>
              <a:uLnTx/>
              <a:uFillTx/>
              <a:latin typeface="Calibri"/>
              <a:ea typeface="+mn-ea"/>
              <a:cs typeface="+mn-cs"/>
            </a:endParaRPr>
          </a:p>
          <a:p>
            <a:pPr marL="112713" marR="0" lvl="0" indent="0" algn="ctr" defTabSz="457178"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141414"/>
                </a:solidFill>
                <a:effectLst/>
                <a:uLnTx/>
                <a:uFillTx/>
                <a:latin typeface="Calibri"/>
                <a:ea typeface="+mn-ea"/>
                <a:cs typeface="+mn-cs"/>
              </a:rPr>
              <a:t>Conor Murphy</a:t>
            </a:r>
            <a:endParaRPr kumimoji="0" lang="en-US" sz="1100" b="0" i="0" u="none" strike="noStrike" kern="0" cap="none" spc="0" normalizeH="0" baseline="0" noProof="0" dirty="0">
              <a:ln>
                <a:noFill/>
              </a:ln>
              <a:solidFill>
                <a:srgbClr val="141414"/>
              </a:solidFill>
              <a:effectLst/>
              <a:uLnTx/>
              <a:uFillTx/>
              <a:latin typeface="Calibri"/>
              <a:ea typeface="+mn-ea"/>
              <a:cs typeface="+mn-cs"/>
            </a:endParaRPr>
          </a:p>
        </p:txBody>
      </p:sp>
      <p:sp>
        <p:nvSpPr>
          <p:cNvPr id="14" name="Rectangle 13"/>
          <p:cNvSpPr/>
          <p:nvPr/>
        </p:nvSpPr>
        <p:spPr>
          <a:xfrm>
            <a:off x="879955" y="1946038"/>
            <a:ext cx="1313010" cy="563887"/>
          </a:xfrm>
          <a:prstGeom prst="rect">
            <a:avLst/>
          </a:prstGeom>
          <a:solidFill>
            <a:srgbClr val="FFFFFF">
              <a:lumMod val="95000"/>
            </a:srgbClr>
          </a:solidFill>
          <a:ln w="6350" cap="flat" cmpd="sng" algn="ctr">
            <a:solidFill>
              <a:srgbClr val="FFFFFF">
                <a:lumMod val="85000"/>
              </a:srgbClr>
            </a:solidFill>
            <a:prstDash val="solid"/>
          </a:ln>
          <a:effectLst/>
        </p:spPr>
        <p:txBody>
          <a:bodyPr spcFirstLastPara="0" vert="horz" wrap="square" lIns="6350" tIns="6350" rIns="6350" bIns="6350" numCol="1" spcCol="1270" anchor="ctr" anchorCtr="0">
            <a:noAutofit/>
          </a:bodyPr>
          <a:lstStyle/>
          <a:p>
            <a:pPr marL="112713" marR="0" lvl="0" indent="0" algn="ctr" defTabSz="457178"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141414"/>
                </a:solidFill>
                <a:effectLst/>
                <a:uLnTx/>
                <a:uFillTx/>
                <a:latin typeface="Calibri"/>
                <a:ea typeface="+mn-ea"/>
                <a:cs typeface="+mn-cs"/>
              </a:rPr>
              <a:t>CFO</a:t>
            </a:r>
            <a:endParaRPr kumimoji="0" lang="en-US" sz="1100" b="1" i="0" u="none" strike="noStrike" kern="0" cap="none" spc="0" normalizeH="0" baseline="0" noProof="0" dirty="0">
              <a:ln>
                <a:noFill/>
              </a:ln>
              <a:solidFill>
                <a:srgbClr val="141414"/>
              </a:solidFill>
              <a:effectLst/>
              <a:uLnTx/>
              <a:uFillTx/>
              <a:latin typeface="Calibri"/>
              <a:ea typeface="+mn-ea"/>
              <a:cs typeface="+mn-cs"/>
            </a:endParaRPr>
          </a:p>
          <a:p>
            <a:pPr marL="112713" marR="0" lvl="0" indent="0" algn="ctr" defTabSz="457178"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141414"/>
                </a:solidFill>
                <a:effectLst/>
                <a:uLnTx/>
                <a:uFillTx/>
                <a:latin typeface="Calibri"/>
                <a:ea typeface="+mn-ea"/>
                <a:cs typeface="+mn-cs"/>
              </a:rPr>
              <a:t>Edward Spehar </a:t>
            </a:r>
          </a:p>
        </p:txBody>
      </p:sp>
      <p:sp>
        <p:nvSpPr>
          <p:cNvPr id="15" name="Rectangle 14"/>
          <p:cNvSpPr/>
          <p:nvPr/>
        </p:nvSpPr>
        <p:spPr>
          <a:xfrm>
            <a:off x="3928047" y="872680"/>
            <a:ext cx="1444311" cy="563887"/>
          </a:xfrm>
          <a:prstGeom prst="rect">
            <a:avLst/>
          </a:prstGeom>
          <a:solidFill>
            <a:schemeClr val="accent4">
              <a:lumMod val="20000"/>
              <a:lumOff val="80000"/>
            </a:schemeClr>
          </a:solidFill>
          <a:ln w="6350" cap="flat" cmpd="sng" algn="ctr">
            <a:solidFill>
              <a:srgbClr val="FFFFFF">
                <a:lumMod val="85000"/>
              </a:srgbClr>
            </a:solidFill>
            <a:prstDash val="solid"/>
          </a:ln>
          <a:effectLst/>
        </p:spPr>
        <p:txBody>
          <a:bodyPr spcFirstLastPara="0" vert="horz" wrap="square" lIns="6350" tIns="6350" rIns="6350" bIns="6350" numCol="1" spcCol="1270" anchor="ctr" anchorCtr="0">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141414"/>
                </a:solidFill>
                <a:effectLst/>
                <a:uLnTx/>
                <a:uFillTx/>
                <a:latin typeface="Calibri"/>
                <a:ea typeface="+mn-ea"/>
                <a:cs typeface="+mn-cs"/>
              </a:rPr>
              <a:t>CEO</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141414"/>
                </a:solidFill>
                <a:effectLst/>
                <a:uLnTx/>
                <a:uFillTx/>
                <a:latin typeface="Calibri"/>
                <a:ea typeface="+mn-ea"/>
                <a:cs typeface="+mn-cs"/>
              </a:rPr>
              <a:t>Eric Steigerwalt</a:t>
            </a:r>
            <a:endParaRPr kumimoji="0" lang="en-US" sz="1100" b="0" i="0" u="none" strike="noStrike" kern="0" cap="none" spc="0" normalizeH="0" baseline="0" noProof="0" dirty="0">
              <a:ln>
                <a:noFill/>
              </a:ln>
              <a:solidFill>
                <a:srgbClr val="141414"/>
              </a:solidFill>
              <a:effectLst/>
              <a:uLnTx/>
              <a:uFillTx/>
              <a:latin typeface="Calibri"/>
              <a:ea typeface="+mn-ea"/>
              <a:cs typeface="+mn-cs"/>
            </a:endParaRPr>
          </a:p>
        </p:txBody>
      </p:sp>
      <p:pic>
        <p:nvPicPr>
          <p:cNvPr id="16" name="Picture 15"/>
          <p:cNvPicPr>
            <a:picLocks noChangeAspect="1"/>
          </p:cNvPicPr>
          <p:nvPr/>
        </p:nvPicPr>
        <p:blipFill rotWithShape="1">
          <a:blip r:embed="rId7"/>
          <a:srcRect b="5543"/>
          <a:stretch/>
        </p:blipFill>
        <p:spPr>
          <a:xfrm>
            <a:off x="3307928" y="872681"/>
            <a:ext cx="599491" cy="563886"/>
          </a:xfrm>
          <a:prstGeom prst="rect">
            <a:avLst/>
          </a:prstGeom>
        </p:spPr>
      </p:pic>
      <p:pic>
        <p:nvPicPr>
          <p:cNvPr id="17" name="Picture 16"/>
          <p:cNvPicPr>
            <a:picLocks noChangeAspect="1"/>
          </p:cNvPicPr>
          <p:nvPr/>
        </p:nvPicPr>
        <p:blipFill rotWithShape="1">
          <a:blip r:embed="rId8"/>
          <a:srcRect b="5104"/>
          <a:stretch/>
        </p:blipFill>
        <p:spPr>
          <a:xfrm>
            <a:off x="4656649" y="1959854"/>
            <a:ext cx="573463" cy="552052"/>
          </a:xfrm>
          <a:prstGeom prst="rect">
            <a:avLst/>
          </a:prstGeom>
        </p:spPr>
      </p:pic>
      <p:sp>
        <p:nvSpPr>
          <p:cNvPr id="18" name="Rectangle 17"/>
          <p:cNvSpPr/>
          <p:nvPr/>
        </p:nvSpPr>
        <p:spPr>
          <a:xfrm>
            <a:off x="7340324" y="3987520"/>
            <a:ext cx="1354321" cy="555698"/>
          </a:xfrm>
          <a:prstGeom prst="rect">
            <a:avLst/>
          </a:prstGeom>
          <a:solidFill>
            <a:srgbClr val="FFFFFF">
              <a:lumMod val="95000"/>
            </a:srgbClr>
          </a:solidFill>
          <a:ln w="6350" cap="flat" cmpd="sng" algn="ctr">
            <a:solidFill>
              <a:srgbClr val="FFFFFF">
                <a:lumMod val="85000"/>
              </a:srgbClr>
            </a:solidFill>
            <a:prstDash val="solid"/>
          </a:ln>
          <a:effectLst/>
        </p:spPr>
        <p:txBody>
          <a:bodyPr spcFirstLastPara="0" vert="horz" wrap="square" lIns="6350" tIns="6350" rIns="6350" bIns="6350" numCol="1" spcCol="1270" anchor="ctr" anchorCtr="0">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141414"/>
                </a:solidFill>
                <a:effectLst/>
                <a:uLnTx/>
                <a:uFillTx/>
                <a:latin typeface="Calibri"/>
                <a:ea typeface="+mn-ea"/>
                <a:cs typeface="+mn-cs"/>
              </a:rPr>
              <a:t>SVP, Future State Delivery</a:t>
            </a:r>
            <a:endParaRPr kumimoji="0" lang="en-US" sz="1100" b="1" i="0" u="none" strike="noStrike" kern="0" cap="none" spc="0" normalizeH="0" baseline="0" noProof="0" dirty="0">
              <a:ln>
                <a:noFill/>
              </a:ln>
              <a:solidFill>
                <a:srgbClr val="141414"/>
              </a:solidFill>
              <a:effectLst/>
              <a:uLnTx/>
              <a:uFillTx/>
              <a:latin typeface="Calibri"/>
              <a:ea typeface="+mn-ea"/>
              <a:cs typeface="+mn-cs"/>
            </a:endParaRP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141414"/>
                </a:solidFill>
                <a:effectLst/>
                <a:uLnTx/>
                <a:uFillTx/>
                <a:latin typeface="Calibri"/>
                <a:ea typeface="+mn-ea"/>
                <a:cs typeface="+mn-cs"/>
              </a:rPr>
              <a:t>Kimberly </a:t>
            </a:r>
            <a:r>
              <a:rPr kumimoji="0" lang="en-US" sz="1100" b="0" i="0" u="none" strike="noStrike" kern="0" cap="none" spc="0" normalizeH="0" baseline="0" noProof="0" dirty="0">
                <a:ln>
                  <a:noFill/>
                </a:ln>
                <a:solidFill>
                  <a:srgbClr val="141414"/>
                </a:solidFill>
                <a:effectLst/>
                <a:uLnTx/>
                <a:uFillTx/>
                <a:latin typeface="Calibri"/>
                <a:ea typeface="+mn-ea"/>
                <a:cs typeface="+mn-cs"/>
              </a:rPr>
              <a:t>Berwanger</a:t>
            </a:r>
          </a:p>
        </p:txBody>
      </p:sp>
      <p:sp>
        <p:nvSpPr>
          <p:cNvPr id="19" name="Rectangle 18"/>
          <p:cNvSpPr/>
          <p:nvPr/>
        </p:nvSpPr>
        <p:spPr>
          <a:xfrm>
            <a:off x="5247398" y="3981311"/>
            <a:ext cx="1313010" cy="563887"/>
          </a:xfrm>
          <a:prstGeom prst="rect">
            <a:avLst/>
          </a:prstGeom>
          <a:solidFill>
            <a:srgbClr val="FFFFFF">
              <a:lumMod val="95000"/>
            </a:srgbClr>
          </a:solidFill>
          <a:ln w="6350" cap="flat" cmpd="sng" algn="ctr">
            <a:solidFill>
              <a:srgbClr val="FFFFFF">
                <a:lumMod val="85000"/>
              </a:srgbClr>
            </a:solidFill>
            <a:prstDash val="solid"/>
          </a:ln>
          <a:effectLst/>
        </p:spPr>
        <p:txBody>
          <a:bodyPr spcFirstLastPara="0" vert="horz" wrap="square" lIns="6350" tIns="6350" rIns="6350" bIns="6350" numCol="1" spcCol="1270" anchor="ctr" anchorCtr="0">
            <a:noAutofit/>
          </a:bodyPr>
          <a:lstStyle/>
          <a:p>
            <a:pPr marL="112713" marR="0" lvl="0" indent="0" algn="ctr" defTabSz="457178"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141414"/>
                </a:solidFill>
                <a:effectLst/>
                <a:uLnTx/>
                <a:uFillTx/>
                <a:latin typeface="Calibri"/>
                <a:ea typeface="+mn-ea"/>
                <a:cs typeface="+mn-cs"/>
              </a:rPr>
              <a:t>VP, Infrastructure</a:t>
            </a:r>
            <a:endParaRPr kumimoji="0" lang="en-US" sz="1100" b="1" i="0" u="none" strike="noStrike" kern="0" cap="none" spc="0" normalizeH="0" baseline="0" noProof="0" dirty="0">
              <a:ln>
                <a:noFill/>
              </a:ln>
              <a:solidFill>
                <a:srgbClr val="141414"/>
              </a:solidFill>
              <a:effectLst/>
              <a:uLnTx/>
              <a:uFillTx/>
              <a:latin typeface="Calibri"/>
              <a:ea typeface="+mn-ea"/>
              <a:cs typeface="+mn-cs"/>
            </a:endParaRPr>
          </a:p>
          <a:p>
            <a:pPr marL="112713" marR="0" lvl="0" indent="0" algn="ctr" defTabSz="457178"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141414"/>
                </a:solidFill>
                <a:effectLst/>
                <a:uLnTx/>
                <a:uFillTx/>
                <a:latin typeface="Calibri"/>
                <a:ea typeface="+mn-ea"/>
                <a:cs typeface="+mn-cs"/>
              </a:rPr>
              <a:t>Perry </a:t>
            </a:r>
            <a:r>
              <a:rPr kumimoji="0" lang="en-US" sz="1100" b="0" i="0" u="none" strike="noStrike" kern="0" cap="none" spc="0" normalizeH="0" baseline="0" noProof="0" dirty="0">
                <a:ln>
                  <a:noFill/>
                </a:ln>
                <a:solidFill>
                  <a:srgbClr val="141414"/>
                </a:solidFill>
                <a:effectLst/>
                <a:uLnTx/>
                <a:uFillTx/>
                <a:latin typeface="Calibri"/>
                <a:ea typeface="+mn-ea"/>
                <a:cs typeface="+mn-cs"/>
              </a:rPr>
              <a:t>Pao</a:t>
            </a:r>
          </a:p>
        </p:txBody>
      </p:sp>
      <p:sp>
        <p:nvSpPr>
          <p:cNvPr id="20" name="Rectangle 19"/>
          <p:cNvSpPr/>
          <p:nvPr/>
        </p:nvSpPr>
        <p:spPr>
          <a:xfrm>
            <a:off x="3102549" y="3987519"/>
            <a:ext cx="1335075" cy="563887"/>
          </a:xfrm>
          <a:prstGeom prst="rect">
            <a:avLst/>
          </a:prstGeom>
          <a:solidFill>
            <a:srgbClr val="FFFFFF">
              <a:lumMod val="95000"/>
            </a:srgbClr>
          </a:solidFill>
          <a:ln w="6350" cap="flat" cmpd="sng" algn="ctr">
            <a:solidFill>
              <a:srgbClr val="FFFFFF">
                <a:lumMod val="85000"/>
              </a:srgbClr>
            </a:solidFill>
            <a:prstDash val="solid"/>
          </a:ln>
          <a:effectLst/>
        </p:spPr>
        <p:txBody>
          <a:bodyPr spcFirstLastPara="0" vert="horz" wrap="square" lIns="6350" tIns="6350" rIns="6350" bIns="6350" numCol="1" spcCol="1270" anchor="ctr" anchorCtr="0">
            <a:noAutofit/>
          </a:bodyPr>
          <a:lstStyle/>
          <a:p>
            <a:pPr marL="112713" marR="0" lvl="0" indent="0" algn="ctr" defTabSz="457178"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141414"/>
                </a:solidFill>
                <a:effectLst/>
                <a:uLnTx/>
                <a:uFillTx/>
                <a:latin typeface="Calibri"/>
                <a:ea typeface="+mn-ea"/>
                <a:cs typeface="+mn-cs"/>
              </a:rPr>
              <a:t>Chief Data Officer</a:t>
            </a:r>
            <a:endParaRPr kumimoji="0" lang="en-US" sz="1100" b="1" i="0" u="none" strike="noStrike" kern="0" cap="none" spc="0" normalizeH="0" baseline="0" noProof="0" dirty="0">
              <a:ln>
                <a:noFill/>
              </a:ln>
              <a:solidFill>
                <a:srgbClr val="141414"/>
              </a:solidFill>
              <a:effectLst/>
              <a:uLnTx/>
              <a:uFillTx/>
              <a:latin typeface="Calibri"/>
              <a:ea typeface="+mn-ea"/>
              <a:cs typeface="+mn-cs"/>
            </a:endParaRPr>
          </a:p>
          <a:p>
            <a:pPr marL="112713" marR="0" lvl="0" indent="0" algn="ctr" defTabSz="457178"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141414"/>
                </a:solidFill>
                <a:effectLst/>
                <a:uLnTx/>
                <a:uFillTx/>
                <a:latin typeface="Calibri"/>
                <a:ea typeface="+mn-ea"/>
                <a:cs typeface="+mn-cs"/>
              </a:rPr>
              <a:t>Hamilton </a:t>
            </a:r>
            <a:r>
              <a:rPr kumimoji="0" lang="en-US" sz="1100" b="0" i="0" u="none" strike="noStrike" kern="0" cap="none" spc="0" normalizeH="0" baseline="0" noProof="0" dirty="0">
                <a:ln>
                  <a:noFill/>
                </a:ln>
                <a:solidFill>
                  <a:srgbClr val="141414"/>
                </a:solidFill>
                <a:effectLst/>
                <a:uLnTx/>
                <a:uFillTx/>
                <a:latin typeface="Calibri"/>
                <a:ea typeface="+mn-ea"/>
                <a:cs typeface="+mn-cs"/>
              </a:rPr>
              <a:t>Faris</a:t>
            </a:r>
          </a:p>
        </p:txBody>
      </p:sp>
      <p:sp>
        <p:nvSpPr>
          <p:cNvPr id="21" name="Rectangle 20"/>
          <p:cNvSpPr/>
          <p:nvPr/>
        </p:nvSpPr>
        <p:spPr>
          <a:xfrm>
            <a:off x="1010585" y="3979330"/>
            <a:ext cx="1313010" cy="563887"/>
          </a:xfrm>
          <a:prstGeom prst="rect">
            <a:avLst/>
          </a:prstGeom>
          <a:solidFill>
            <a:srgbClr val="FFFFFF">
              <a:lumMod val="95000"/>
            </a:srgbClr>
          </a:solidFill>
          <a:ln w="6350" cap="flat" cmpd="sng" algn="ctr">
            <a:solidFill>
              <a:srgbClr val="FFFFFF">
                <a:lumMod val="85000"/>
              </a:srgbClr>
            </a:solidFill>
            <a:prstDash val="solid"/>
          </a:ln>
          <a:effectLst/>
        </p:spPr>
        <p:txBody>
          <a:bodyPr spcFirstLastPara="0" vert="horz" wrap="square" lIns="6350" tIns="6350" rIns="6350" bIns="6350" numCol="1" spcCol="1270" anchor="ctr" anchorCtr="0">
            <a:noAutofit/>
          </a:bodyPr>
          <a:lstStyle/>
          <a:p>
            <a:pPr marL="112713" marR="0" lvl="0" indent="0" algn="ctr" defTabSz="457178"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141414"/>
                </a:solidFill>
                <a:effectLst/>
                <a:uLnTx/>
                <a:uFillTx/>
                <a:latin typeface="Calibri"/>
                <a:ea typeface="+mn-ea"/>
                <a:cs typeface="+mn-cs"/>
              </a:rPr>
              <a:t>Chief Information Security Officer</a:t>
            </a:r>
            <a:endParaRPr kumimoji="0" lang="en-US" sz="1100" b="1" i="0" u="none" strike="noStrike" kern="0" cap="none" spc="0" normalizeH="0" baseline="0" noProof="0" dirty="0">
              <a:ln>
                <a:noFill/>
              </a:ln>
              <a:solidFill>
                <a:srgbClr val="141414"/>
              </a:solidFill>
              <a:effectLst/>
              <a:uLnTx/>
              <a:uFillTx/>
              <a:latin typeface="Calibri"/>
              <a:ea typeface="+mn-ea"/>
              <a:cs typeface="+mn-cs"/>
            </a:endParaRPr>
          </a:p>
          <a:p>
            <a:pPr marL="112713" marR="0" lvl="0" indent="0" algn="ctr" defTabSz="457178"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141414"/>
                </a:solidFill>
                <a:effectLst/>
                <a:uLnTx/>
                <a:uFillTx/>
                <a:latin typeface="Calibri"/>
                <a:ea typeface="+mn-ea"/>
                <a:cs typeface="+mn-cs"/>
              </a:rPr>
              <a:t>Robert </a:t>
            </a:r>
            <a:r>
              <a:rPr kumimoji="0" lang="en-US" sz="1100" b="0" i="0" u="none" strike="noStrike" kern="0" cap="none" spc="0" normalizeH="0" baseline="0" noProof="0" dirty="0">
                <a:ln>
                  <a:noFill/>
                </a:ln>
                <a:solidFill>
                  <a:srgbClr val="141414"/>
                </a:solidFill>
                <a:effectLst/>
                <a:uLnTx/>
                <a:uFillTx/>
                <a:latin typeface="Calibri"/>
                <a:ea typeface="+mn-ea"/>
                <a:cs typeface="+mn-cs"/>
              </a:rPr>
              <a:t>Allen</a:t>
            </a:r>
          </a:p>
        </p:txBody>
      </p:sp>
      <p:cxnSp>
        <p:nvCxnSpPr>
          <p:cNvPr id="22" name="Elbow Connector 21"/>
          <p:cNvCxnSpPr>
            <a:stCxn id="15" idx="2"/>
            <a:endCxn id="14" idx="0"/>
          </p:cNvCxnSpPr>
          <p:nvPr/>
        </p:nvCxnSpPr>
        <p:spPr>
          <a:xfrm rot="5400000">
            <a:off x="2903912" y="199746"/>
            <a:ext cx="509471" cy="2983113"/>
          </a:xfrm>
          <a:prstGeom prst="bentConnector3">
            <a:avLst/>
          </a:prstGeom>
          <a:ln w="31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15" idx="2"/>
            <a:endCxn id="13" idx="0"/>
          </p:cNvCxnSpPr>
          <p:nvPr/>
        </p:nvCxnSpPr>
        <p:spPr>
          <a:xfrm rot="5400000">
            <a:off x="3951315" y="1255339"/>
            <a:ext cx="517660" cy="880116"/>
          </a:xfrm>
          <a:prstGeom prst="bentConnector3">
            <a:avLst>
              <a:gd name="adj1" fmla="val 48996"/>
            </a:avLst>
          </a:prstGeom>
          <a:ln w="31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p:cNvCxnSpPr>
            <a:stCxn id="15" idx="2"/>
            <a:endCxn id="12" idx="0"/>
          </p:cNvCxnSpPr>
          <p:nvPr/>
        </p:nvCxnSpPr>
        <p:spPr>
          <a:xfrm rot="16200000" flipH="1">
            <a:off x="5021327" y="1065443"/>
            <a:ext cx="511452" cy="1253700"/>
          </a:xfrm>
          <a:prstGeom prst="bentConnector3">
            <a:avLst>
              <a:gd name="adj1" fmla="val 50000"/>
            </a:avLst>
          </a:prstGeom>
          <a:ln w="31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15" idx="2"/>
            <a:endCxn id="11" idx="0"/>
          </p:cNvCxnSpPr>
          <p:nvPr/>
        </p:nvCxnSpPr>
        <p:spPr>
          <a:xfrm rot="16200000" flipH="1">
            <a:off x="6072904" y="13866"/>
            <a:ext cx="521881" cy="3367282"/>
          </a:xfrm>
          <a:prstGeom prst="bentConnector3">
            <a:avLst>
              <a:gd name="adj1" fmla="val 48009"/>
            </a:avLst>
          </a:prstGeom>
          <a:ln w="31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26" name="Picture 2" descr="Kimberly Berwange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15223" y="3987519"/>
            <a:ext cx="598178" cy="56388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Perry Pao"/>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32688" y="3987519"/>
            <a:ext cx="598178" cy="54750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https://media.licdn.com/dms/image/C4D03AQEWC7netwojhQ/profile-displayphoto-shrink_200_200/0?e=1580947200&amp;v=beta&amp;t=Ql7nbaSgMosJHrhw8nDndX-P0lmk8GajewhtN2Nts7I"/>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489769" y="3984346"/>
            <a:ext cx="585355" cy="56245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https://media.licdn.com/dms/image/C5103AQE5ZmzTpGaZkQ/profile-displayphoto-shrink_200_200/0?e=1580947200&amp;v=beta&amp;t=AACOVNPMDTLEok2VkL8_zUYIN4tLOCoQh43nQraClr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84048" y="3987519"/>
            <a:ext cx="595523" cy="598760"/>
          </a:xfrm>
          <a:prstGeom prst="rect">
            <a:avLst/>
          </a:prstGeom>
          <a:noFill/>
          <a:extLst>
            <a:ext uri="{909E8E84-426E-40DD-AFC4-6F175D3DCCD1}">
              <a14:hiddenFill xmlns:a14="http://schemas.microsoft.com/office/drawing/2010/main">
                <a:solidFill>
                  <a:srgbClr val="FFFFFF"/>
                </a:solidFill>
              </a14:hiddenFill>
            </a:ext>
          </a:extLst>
        </p:spPr>
      </p:pic>
      <p:cxnSp>
        <p:nvCxnSpPr>
          <p:cNvPr id="30" name="Elbow Connector 29"/>
          <p:cNvCxnSpPr>
            <a:stCxn id="11" idx="2"/>
            <a:endCxn id="18" idx="0"/>
          </p:cNvCxnSpPr>
          <p:nvPr/>
        </p:nvCxnSpPr>
        <p:spPr>
          <a:xfrm rot="5400000">
            <a:off x="7278688" y="3248722"/>
            <a:ext cx="1477595" cy="12700"/>
          </a:xfrm>
          <a:prstGeom prst="bentConnector3">
            <a:avLst>
              <a:gd name="adj1" fmla="val 50000"/>
            </a:avLst>
          </a:prstGeom>
          <a:ln w="31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11" idx="2"/>
            <a:endCxn id="19" idx="0"/>
          </p:cNvCxnSpPr>
          <p:nvPr/>
        </p:nvCxnSpPr>
        <p:spPr>
          <a:xfrm rot="5400000">
            <a:off x="6225001" y="2188827"/>
            <a:ext cx="1471386" cy="2113582"/>
          </a:xfrm>
          <a:prstGeom prst="bentConnector3">
            <a:avLst>
              <a:gd name="adj1" fmla="val 73083"/>
            </a:avLst>
          </a:prstGeom>
          <a:ln w="31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Elbow Connector 31"/>
          <p:cNvCxnSpPr>
            <a:stCxn id="11" idx="2"/>
            <a:endCxn id="20" idx="0"/>
          </p:cNvCxnSpPr>
          <p:nvPr/>
        </p:nvCxnSpPr>
        <p:spPr>
          <a:xfrm rot="5400000">
            <a:off x="5154989" y="1125023"/>
            <a:ext cx="1477594" cy="4247398"/>
          </a:xfrm>
          <a:prstGeom prst="bentConnector3">
            <a:avLst>
              <a:gd name="adj1" fmla="val 72986"/>
            </a:avLst>
          </a:prstGeom>
          <a:ln w="31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11" idx="2"/>
            <a:endCxn id="21" idx="0"/>
          </p:cNvCxnSpPr>
          <p:nvPr/>
        </p:nvCxnSpPr>
        <p:spPr>
          <a:xfrm rot="5400000">
            <a:off x="4107586" y="69430"/>
            <a:ext cx="1469405" cy="6350395"/>
          </a:xfrm>
          <a:prstGeom prst="bentConnector3">
            <a:avLst>
              <a:gd name="adj1" fmla="val 73114"/>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1609669" y="2713887"/>
            <a:ext cx="1313010" cy="563887"/>
          </a:xfrm>
          <a:prstGeom prst="rect">
            <a:avLst/>
          </a:prstGeom>
          <a:solidFill>
            <a:srgbClr val="FFFFFF">
              <a:lumMod val="95000"/>
            </a:srgbClr>
          </a:solidFill>
          <a:ln w="6350" cap="flat" cmpd="sng" algn="ctr">
            <a:solidFill>
              <a:srgbClr val="FFFFFF">
                <a:lumMod val="85000"/>
              </a:srgbClr>
            </a:solidFill>
            <a:prstDash val="solid"/>
          </a:ln>
          <a:effectLst/>
        </p:spPr>
        <p:txBody>
          <a:bodyPr spcFirstLastPara="0" vert="horz" wrap="square" lIns="6350" tIns="6350" rIns="6350" bIns="6350" numCol="1" spcCol="1270" anchor="ctr" anchorCtr="0">
            <a:noAutofit/>
          </a:bodyPr>
          <a:lstStyle/>
          <a:p>
            <a:pPr marL="112713" marR="0" lvl="0" indent="0" algn="ctr" defTabSz="457178"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141414"/>
                </a:solidFill>
                <a:effectLst/>
                <a:uLnTx/>
                <a:uFillTx/>
                <a:latin typeface="Calibri"/>
                <a:ea typeface="+mn-ea"/>
                <a:cs typeface="+mn-cs"/>
              </a:rPr>
              <a:t>Chief Admin &amp; Gen Counsel</a:t>
            </a:r>
            <a:endParaRPr kumimoji="0" lang="en-US" sz="1100" b="1" i="0" u="none" strike="noStrike" kern="0" cap="none" spc="0" normalizeH="0" baseline="0" noProof="0" dirty="0">
              <a:ln>
                <a:noFill/>
              </a:ln>
              <a:solidFill>
                <a:srgbClr val="141414"/>
              </a:solidFill>
              <a:effectLst/>
              <a:uLnTx/>
              <a:uFillTx/>
              <a:latin typeface="Calibri"/>
              <a:ea typeface="+mn-ea"/>
              <a:cs typeface="+mn-cs"/>
            </a:endParaRPr>
          </a:p>
          <a:p>
            <a:pPr marL="112713" marR="0" lvl="0" indent="0" algn="ctr" defTabSz="457178"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141414"/>
                </a:solidFill>
                <a:effectLst/>
                <a:uLnTx/>
                <a:uFillTx/>
                <a:latin typeface="Calibri"/>
                <a:ea typeface="+mn-ea"/>
                <a:cs typeface="+mn-cs"/>
              </a:rPr>
              <a:t>Christine DeBiase</a:t>
            </a:r>
          </a:p>
        </p:txBody>
      </p:sp>
      <p:sp>
        <p:nvSpPr>
          <p:cNvPr id="35" name="Rectangle 34"/>
          <p:cNvSpPr/>
          <p:nvPr/>
        </p:nvSpPr>
        <p:spPr>
          <a:xfrm>
            <a:off x="3865219" y="2713887"/>
            <a:ext cx="1313010" cy="563887"/>
          </a:xfrm>
          <a:prstGeom prst="rect">
            <a:avLst/>
          </a:prstGeom>
          <a:solidFill>
            <a:srgbClr val="FFFFFF">
              <a:lumMod val="95000"/>
            </a:srgbClr>
          </a:solidFill>
          <a:ln w="6350" cap="flat" cmpd="sng" algn="ctr">
            <a:solidFill>
              <a:srgbClr val="FFFFFF">
                <a:lumMod val="85000"/>
              </a:srgbClr>
            </a:solidFill>
            <a:prstDash val="solid"/>
          </a:ln>
          <a:effectLst/>
        </p:spPr>
        <p:txBody>
          <a:bodyPr spcFirstLastPara="0" vert="horz" wrap="square" lIns="6350" tIns="6350" rIns="6350" bIns="6350" numCol="1" spcCol="1270" anchor="ctr" anchorCtr="0">
            <a:noAutofit/>
          </a:bodyPr>
          <a:lstStyle/>
          <a:p>
            <a:pPr marL="112713" marR="0" lvl="0" indent="0" algn="ctr" defTabSz="457178"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141414"/>
                </a:solidFill>
                <a:effectLst/>
                <a:uLnTx/>
                <a:uFillTx/>
                <a:latin typeface="Calibri"/>
                <a:ea typeface="+mn-ea"/>
                <a:cs typeface="+mn-cs"/>
              </a:rPr>
              <a:t>Chief Distribution &amp; Marketing</a:t>
            </a:r>
            <a:endParaRPr kumimoji="0" lang="en-US" sz="1100" b="1" i="0" u="none" strike="noStrike" kern="0" cap="none" spc="0" normalizeH="0" baseline="0" noProof="0" dirty="0">
              <a:ln>
                <a:noFill/>
              </a:ln>
              <a:solidFill>
                <a:srgbClr val="141414"/>
              </a:solidFill>
              <a:effectLst/>
              <a:uLnTx/>
              <a:uFillTx/>
              <a:latin typeface="Calibri"/>
              <a:ea typeface="+mn-ea"/>
              <a:cs typeface="+mn-cs"/>
            </a:endParaRPr>
          </a:p>
          <a:p>
            <a:pPr marL="112713" marR="0" lvl="0" indent="0" algn="ctr" defTabSz="457178"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141414"/>
                </a:solidFill>
                <a:effectLst/>
                <a:uLnTx/>
                <a:uFillTx/>
                <a:latin typeface="Calibri"/>
                <a:ea typeface="+mn-ea"/>
                <a:cs typeface="+mn-cs"/>
              </a:rPr>
              <a:t>Myles </a:t>
            </a:r>
            <a:r>
              <a:rPr kumimoji="0" lang="en-US" sz="1100" b="0" i="0" u="none" strike="noStrike" kern="0" cap="none" spc="0" normalizeH="0" baseline="0" noProof="0" dirty="0">
                <a:ln>
                  <a:noFill/>
                </a:ln>
                <a:solidFill>
                  <a:srgbClr val="141414"/>
                </a:solidFill>
                <a:effectLst/>
                <a:uLnTx/>
                <a:uFillTx/>
                <a:latin typeface="Calibri"/>
                <a:ea typeface="+mn-ea"/>
                <a:cs typeface="+mn-cs"/>
              </a:rPr>
              <a:t>J. Lambert </a:t>
            </a:r>
          </a:p>
        </p:txBody>
      </p:sp>
      <p:cxnSp>
        <p:nvCxnSpPr>
          <p:cNvPr id="36" name="Elbow Connector 35"/>
          <p:cNvCxnSpPr>
            <a:stCxn id="15" idx="2"/>
            <a:endCxn id="34" idx="0"/>
          </p:cNvCxnSpPr>
          <p:nvPr/>
        </p:nvCxnSpPr>
        <p:spPr>
          <a:xfrm rot="5400000">
            <a:off x="2819529" y="883213"/>
            <a:ext cx="1277320" cy="2384029"/>
          </a:xfrm>
          <a:prstGeom prst="bentConnector3">
            <a:avLst>
              <a:gd name="adj1" fmla="val 19901"/>
            </a:avLst>
          </a:prstGeom>
          <a:ln w="31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Elbow Connector 36"/>
          <p:cNvCxnSpPr>
            <a:stCxn id="15" idx="2"/>
            <a:endCxn id="35" idx="0"/>
          </p:cNvCxnSpPr>
          <p:nvPr/>
        </p:nvCxnSpPr>
        <p:spPr>
          <a:xfrm rot="5400000">
            <a:off x="3947304" y="2010988"/>
            <a:ext cx="1277320" cy="128479"/>
          </a:xfrm>
          <a:prstGeom prst="bentConnector3">
            <a:avLst>
              <a:gd name="adj1" fmla="val 19901"/>
            </a:avLst>
          </a:prstGeom>
          <a:ln w="31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19796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048" y="183581"/>
            <a:ext cx="8417052" cy="621030"/>
          </a:xfrm>
        </p:spPr>
        <p:txBody>
          <a:bodyPr/>
          <a:lstStyle/>
          <a:p>
            <a:r>
              <a:rPr lang="en-US" dirty="0" smtClean="0"/>
              <a:t>BHF Project Team</a:t>
            </a:r>
            <a:endParaRPr lang="en-US" dirty="0"/>
          </a:p>
        </p:txBody>
      </p:sp>
      <p:sp>
        <p:nvSpPr>
          <p:cNvPr id="4" name="Footer Placeholder 3"/>
          <p:cNvSpPr>
            <a:spLocks noGrp="1"/>
          </p:cNvSpPr>
          <p:nvPr>
            <p:ph type="ftr" sz="quarter" idx="3"/>
          </p:nvPr>
        </p:nvSpPr>
        <p:spPr/>
        <p:txBody>
          <a:bodyPr/>
          <a:lstStyle/>
          <a:p>
            <a:r>
              <a:rPr lang="en-US" smtClean="0"/>
              <a:t>© 2020 Cognizant</a:t>
            </a:r>
            <a:endParaRPr lang="en-US" dirty="0"/>
          </a:p>
        </p:txBody>
      </p:sp>
      <p:sp>
        <p:nvSpPr>
          <p:cNvPr id="5" name="Slide Number Placeholder 4"/>
          <p:cNvSpPr>
            <a:spLocks noGrp="1"/>
          </p:cNvSpPr>
          <p:nvPr>
            <p:ph type="sldNum" sz="quarter" idx="4"/>
          </p:nvPr>
        </p:nvSpPr>
        <p:spPr/>
        <p:txBody>
          <a:bodyPr/>
          <a:lstStyle/>
          <a:p>
            <a:fld id="{2EFEF571-C9B4-4D92-A7F7-315B894862A8}" type="slidenum">
              <a:rPr lang="en-US" smtClean="0"/>
              <a:pPr/>
              <a:t>9</a:t>
            </a:fld>
            <a:endParaRPr lang="en-US" dirty="0"/>
          </a:p>
        </p:txBody>
      </p:sp>
      <p:pic>
        <p:nvPicPr>
          <p:cNvPr id="6" name="Picture 5"/>
          <p:cNvPicPr>
            <a:picLocks noChangeAspect="1"/>
          </p:cNvPicPr>
          <p:nvPr/>
        </p:nvPicPr>
        <p:blipFill>
          <a:blip r:embed="rId2"/>
          <a:stretch>
            <a:fillRect/>
          </a:stretch>
        </p:blipFill>
        <p:spPr>
          <a:xfrm>
            <a:off x="332083" y="684054"/>
            <a:ext cx="8407067" cy="3880966"/>
          </a:xfrm>
          <a:prstGeom prst="rect">
            <a:avLst/>
          </a:prstGeom>
        </p:spPr>
      </p:pic>
    </p:spTree>
    <p:extLst>
      <p:ext uri="{BB962C8B-B14F-4D97-AF65-F5344CB8AC3E}">
        <p14:creationId xmlns:p14="http://schemas.microsoft.com/office/powerpoint/2010/main" val="206048437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heme/theme1.xml><?xml version="1.0" encoding="utf-8"?>
<a:theme xmlns:a="http://schemas.openxmlformats.org/drawingml/2006/main" name="Cognizantnewbrand">
  <a:themeElements>
    <a:clrScheme name="Cognizant Colors 2020">
      <a:dk1>
        <a:srgbClr val="0033A0"/>
      </a:dk1>
      <a:lt1>
        <a:srgbClr val="FFFFFF"/>
      </a:lt1>
      <a:dk2>
        <a:srgbClr val="000000"/>
      </a:dk2>
      <a:lt2>
        <a:srgbClr val="FFFFFF"/>
      </a:lt2>
      <a:accent1>
        <a:srgbClr val="000063"/>
      </a:accent1>
      <a:accent2>
        <a:srgbClr val="0033A0"/>
      </a:accent2>
      <a:accent3>
        <a:srgbClr val="2C67FF"/>
      </a:accent3>
      <a:accent4>
        <a:srgbClr val="328DFF"/>
      </a:accent4>
      <a:accent5>
        <a:srgbClr val="404040"/>
      </a:accent5>
      <a:accent6>
        <a:srgbClr val="D9D9D9"/>
      </a:accent6>
      <a:hlink>
        <a:srgbClr val="0033B4"/>
      </a:hlink>
      <a:folHlink>
        <a:srgbClr val="7BA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Cognizantnewbrand" id="{34464321-73E4-410E-B743-CF8D3DC5F44C}" vid="{66CDC2FA-A042-42D3-A5C3-2B3348401B6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40CA51CAFEEE94B838F52828BC75A23" ma:contentTypeVersion="10" ma:contentTypeDescription="Create a new document." ma:contentTypeScope="" ma:versionID="9a32c0057ddd0a73e9e62f622a35881a">
  <xsd:schema xmlns:xsd="http://www.w3.org/2001/XMLSchema" xmlns:xs="http://www.w3.org/2001/XMLSchema" xmlns:p="http://schemas.microsoft.com/office/2006/metadata/properties" xmlns:ns3="6280f6e6-e634-4964-961b-e29d01238399" targetNamespace="http://schemas.microsoft.com/office/2006/metadata/properties" ma:root="true" ma:fieldsID="b4f22acf86b69da71444c91bcdc47ad5" ns3:_="">
    <xsd:import namespace="6280f6e6-e634-4964-961b-e29d01238399"/>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Location"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80f6e6-e634-4964-961b-e29d0123839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AutoTags" ma:index="12" nillable="true" ma:displayName="MediaServiceAutoTags" ma:internalName="MediaServiceAutoTags"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CB683CF-7DFD-4974-9672-9F63D2D5A38C}">
  <ds:schemaRefs>
    <ds:schemaRef ds:uri="http://schemas.microsoft.com/sharepoint/v3/contenttype/forms"/>
  </ds:schemaRefs>
</ds:datastoreItem>
</file>

<file path=customXml/itemProps2.xml><?xml version="1.0" encoding="utf-8"?>
<ds:datastoreItem xmlns:ds="http://schemas.openxmlformats.org/officeDocument/2006/customXml" ds:itemID="{E199C0D3-8D7A-4A60-BBF5-294EA956410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280f6e6-e634-4964-961b-e29d012383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A421221-6257-44B8-A0C2-D26A1BFC5168}">
  <ds:schemaRefs>
    <ds:schemaRef ds:uri="http://schemas.microsoft.com/office/infopath/2007/PartnerControls"/>
    <ds:schemaRef ds:uri="http://schemas.openxmlformats.org/package/2006/metadata/core-properties"/>
    <ds:schemaRef ds:uri="http://schemas.microsoft.com/office/2006/documentManagement/types"/>
    <ds:schemaRef ds:uri="http://purl.org/dc/terms/"/>
    <ds:schemaRef ds:uri="http://purl.org/dc/dcmitype/"/>
    <ds:schemaRef ds:uri="http://www.w3.org/XML/1998/namespace"/>
    <ds:schemaRef ds:uri="6280f6e6-e634-4964-961b-e29d01238399"/>
    <ds:schemaRef ds:uri="http://schemas.microsoft.com/office/2006/metadata/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53845</TotalTime>
  <Words>5035</Words>
  <Application>Microsoft Office PowerPoint</Application>
  <PresentationFormat>On-screen Show (16:9)</PresentationFormat>
  <Paragraphs>1148</Paragraphs>
  <Slides>33</Slides>
  <Notes>0</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33</vt:i4>
      </vt:variant>
    </vt:vector>
  </HeadingPairs>
  <TitlesOfParts>
    <vt:vector size="44" baseType="lpstr">
      <vt:lpstr>ＭＳ Ｐゴシック</vt:lpstr>
      <vt:lpstr>Arial</vt:lpstr>
      <vt:lpstr>Arial Regular</vt:lpstr>
      <vt:lpstr>Calibri</vt:lpstr>
      <vt:lpstr>Cambria Math</vt:lpstr>
      <vt:lpstr>Courier New</vt:lpstr>
      <vt:lpstr>굴림</vt:lpstr>
      <vt:lpstr>Verdana</vt:lpstr>
      <vt:lpstr>Wingdings</vt:lpstr>
      <vt:lpstr>Wingdings 2</vt:lpstr>
      <vt:lpstr>Cognizantnewbrand</vt:lpstr>
      <vt:lpstr>BHF –Transition Handover</vt:lpstr>
      <vt:lpstr>Agenda </vt:lpstr>
      <vt:lpstr>BHF – Company Overview  </vt:lpstr>
      <vt:lpstr>Brighthouse Financial - Overview</vt:lpstr>
      <vt:lpstr>Brighthouse Financial - Timeline</vt:lpstr>
      <vt:lpstr>BHF comparison with peers as per 2017 Asset under mgmt. data </vt:lpstr>
      <vt:lpstr>Business and Digital Strategy</vt:lpstr>
      <vt:lpstr>Brighthouse Financial Organization Structure</vt:lpstr>
      <vt:lpstr>BHF Project Team</vt:lpstr>
      <vt:lpstr>BHF Locations</vt:lpstr>
      <vt:lpstr>Current State Summary </vt:lpstr>
      <vt:lpstr>End User Computing</vt:lpstr>
      <vt:lpstr>Network Services</vt:lpstr>
      <vt:lpstr>Cloud Computing</vt:lpstr>
      <vt:lpstr>Security</vt:lpstr>
      <vt:lpstr>Proposed Tools &amp; FRM  </vt:lpstr>
      <vt:lpstr>Tools- Current vs Target</vt:lpstr>
      <vt:lpstr>Tools- Current vs Target (Contd.)</vt:lpstr>
      <vt:lpstr>FRM Summary (1/3)</vt:lpstr>
      <vt:lpstr>FRM Summary (2/3)</vt:lpstr>
      <vt:lpstr>FRM Summary (3/3)</vt:lpstr>
      <vt:lpstr>Architecture – Reference View  </vt:lpstr>
      <vt:lpstr>PowerPoint Presentation</vt:lpstr>
      <vt:lpstr>End User Computing Current vs Target Environment</vt:lpstr>
      <vt:lpstr>Delivery Locations  </vt:lpstr>
      <vt:lpstr>Delivery Location &amp; Roles</vt:lpstr>
      <vt:lpstr>Tower Wise – Focus Areas  </vt:lpstr>
      <vt:lpstr>Cloud</vt:lpstr>
      <vt:lpstr>Network</vt:lpstr>
      <vt:lpstr>Network</vt:lpstr>
      <vt:lpstr>End User Computing</vt:lpstr>
      <vt:lpstr>Security</vt:lpstr>
      <vt:lpstr>Thank You</vt:lpstr>
    </vt:vector>
  </TitlesOfParts>
  <Manager/>
  <Company>Cognizant Technology Solution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CM CoE - Capabilities</dc:title>
  <dc:subject/>
  <dc:creator>Cole, Ladawna (Cognizant)</dc:creator>
  <cp:keywords/>
  <dc:description/>
  <cp:lastModifiedBy>Tanjore Guruswamy, Ravi Shankar (Cognizant)</cp:lastModifiedBy>
  <cp:revision>2458</cp:revision>
  <cp:lastPrinted>2020-03-26T13:28:36Z</cp:lastPrinted>
  <dcterms:created xsi:type="dcterms:W3CDTF">2018-08-01T04:55:58Z</dcterms:created>
  <dcterms:modified xsi:type="dcterms:W3CDTF">2020-05-19T16:54:2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0CA51CAFEEE94B838F52828BC75A23</vt:lpwstr>
  </property>
</Properties>
</file>